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s/slide2.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1.xml" ContentType="application/vnd.openxmlformats-officedocument.presentationml.slide+xml"/>
  <Override PartName="/ppt/slides/slide1.xml" ContentType="application/vnd.openxmlformats-officedocument.presentationml.slide+xml"/>
  <Override PartName="/ppt/slides/slide10.xml" ContentType="application/vnd.openxmlformats-officedocument.presentationml.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1.xml" ContentType="application/vnd.openxmlformats-officedocument.presentationml.notesSlide+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7.xml" ContentType="application/vnd.openxmlformats-officedocument.presentationml.slideLayout+xml"/>
  <Override PartName="/ppt/slideLayouts/slideLayout78.xml" ContentType="application/vnd.openxmlformats-officedocument.presentationml.slideLayout+xml"/>
  <Override PartName="/ppt/slideLayouts/slideLayout77.xml" ContentType="application/vnd.openxmlformats-officedocument.presentationml.slideLayout+xml"/>
  <Override PartName="/ppt/slideLayouts/slideLayout7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88.xml" ContentType="application/vnd.openxmlformats-officedocument.presentationml.slideLayout+xml"/>
  <Override PartName="/ppt/slideLayouts/slideLayout86.xml" ContentType="application/vnd.openxmlformats-officedocument.presentationml.slideLayout+xml"/>
  <Override PartName="/ppt/slideLayouts/slideLayout90.xml" ContentType="application/vnd.openxmlformats-officedocument.presentationml.slideLayout+xml"/>
  <Override PartName="/ppt/slideLayouts/slideLayout152.xml" ContentType="application/vnd.openxmlformats-officedocument.presentationml.slideLayout+xml"/>
  <Override PartName="/ppt/slideLayouts/slideLayout151.xml" ContentType="application/vnd.openxmlformats-officedocument.presentationml.slideLayout+xml"/>
  <Override PartName="/ppt/slideLayouts/slideLayout150.xml" ContentType="application/vnd.openxmlformats-officedocument.presentationml.slideLayout+xml"/>
  <Override PartName="/ppt/slideLayouts/slideLayout149.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48.xml" ContentType="application/vnd.openxmlformats-officedocument.presentationml.slideLayout+xml"/>
  <Override PartName="/ppt/slideLayouts/slideLayout147.xml" ContentType="application/vnd.openxmlformats-officedocument.presentationml.slideLayout+xml"/>
  <Override PartName="/ppt/slideLayouts/slideLayout14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77.xml" ContentType="application/vnd.openxmlformats-officedocument.presentationml.slideLayout+xml"/>
  <Override PartName="/ppt/slideLayouts/slideLayout176.xml" ContentType="application/vnd.openxmlformats-officedocument.presentationml.slideLayout+xml"/>
  <Override PartName="/ppt/slideLayouts/slideLayout175.xml" ContentType="application/vnd.openxmlformats-officedocument.presentationml.slideLayout+xml"/>
  <Override PartName="/ppt/slideLayouts/slideLayout174.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73.xml" ContentType="application/vnd.openxmlformats-officedocument.presentationml.slideLayout+xml"/>
  <Override PartName="/ppt/slideLayouts/slideLayout172.xml" ContentType="application/vnd.openxmlformats-officedocument.presentationml.slideLayout+xml"/>
  <Override PartName="/ppt/slideLayouts/slideLayout17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89.xml" ContentType="application/vnd.openxmlformats-officedocument.presentationml.slideLayout+xml"/>
  <Override PartName="/ppt/slideLayouts/slideLayout136.xml" ContentType="application/vnd.openxmlformats-officedocument.presentationml.slideLayout+xml"/>
  <Override PartName="/ppt/slideLayouts/slideLayout134.xml" ContentType="application/vnd.openxmlformats-officedocument.presentationml.slideLayout+xml"/>
  <Override PartName="/ppt/slideLayouts/slideLayout106.xml" ContentType="application/vnd.openxmlformats-officedocument.presentationml.slideLayout+xml"/>
  <Override PartName="/ppt/slideLayouts/slideLayout105.xml" ContentType="application/vnd.openxmlformats-officedocument.presentationml.slideLayout+xml"/>
  <Override PartName="/ppt/slideLayouts/slideLayout104.xml" ContentType="application/vnd.openxmlformats-officedocument.presentationml.slideLayout+xml"/>
  <Override PartName="/ppt/slideLayouts/slideLayout103.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02.xml" ContentType="application/vnd.openxmlformats-officedocument.presentationml.slideLayout+xml"/>
  <Override PartName="/ppt/slideLayouts/slideLayout101.xml" ContentType="application/vnd.openxmlformats-officedocument.presentationml.slideLayout+xml"/>
  <Override PartName="/ppt/slideLayouts/slideLayout10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35.xml" ContentType="application/vnd.openxmlformats-officedocument.presentationml.slideLayout+xml"/>
  <Override PartName="/ppt/slideLayouts/slideLayout113.xml" ContentType="application/vnd.openxmlformats-officedocument.presentationml.slideLayout+xml"/>
  <Override PartName="/ppt/slideLayouts/slideLayout115.xml" ContentType="application/vnd.openxmlformats-officedocument.presentationml.slideLayout+xml"/>
  <Override PartName="/ppt/slideLayouts/slideLayout127.xml" ContentType="application/vnd.openxmlformats-officedocument.presentationml.slideLayout+xml"/>
  <Override PartName="/ppt/slideLayouts/slideLayout126.xml" ContentType="application/vnd.openxmlformats-officedocument.presentationml.slideLayout+xml"/>
  <Override PartName="/ppt/slideLayouts/slideLayout125.xml" ContentType="application/vnd.openxmlformats-officedocument.presentationml.slideLayout+xml"/>
  <Override PartName="/ppt/slideLayouts/slideLayout124.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23.xml" ContentType="application/vnd.openxmlformats-officedocument.presentationml.slideLayout+xml"/>
  <Override PartName="/ppt/slideLayouts/slideLayout122.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4.xml" ContentType="application/vnd.openxmlformats-officedocument.presentationml.slideLayout+xml"/>
  <Override PartName="/ppt/slideLayouts/slideLayout121.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notesMasters/notesMaster1.xml" ContentType="application/vnd.openxmlformats-officedocument.presentationml.notesMaster+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charts/chart3.xml" ContentType="application/vnd.openxmlformats-officedocument.drawingml.chart+xml"/>
  <Override PartName="/ppt/charts/chart2.xml" ContentType="application/vnd.openxmlformats-officedocument.drawingml.chart+xml"/>
  <Override PartName="/ppt/theme/theme1.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94.xml" ContentType="application/vnd.openxmlformats-officedocument.presentationml.tags+xml"/>
  <Override PartName="/ppt/tags/tag122.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3.xml" ContentType="application/vnd.openxmlformats-officedocument.presentationml.tags+xml"/>
  <Override PartName="/ppt/tags/tag126.xml" ContentType="application/vnd.openxmlformats-officedocument.presentationml.tags+xml"/>
  <Override PartName="/ppt/tags/tag120.xml" ContentType="application/vnd.openxmlformats-officedocument.presentationml.tags+xml"/>
  <Override PartName="/ppt/tags/tag119.xml" ContentType="application/vnd.openxmlformats-officedocument.presentationml.tags+xml"/>
  <Override PartName="/ppt/tags/tag118.xml" ContentType="application/vnd.openxmlformats-officedocument.presentationml.tags+xml"/>
  <Override PartName="/ppt/tags/tag117.xml" ContentType="application/vnd.openxmlformats-officedocument.presentationml.tags+xml"/>
  <Override PartName="/ppt/tags/tag121.xml" ContentType="application/vnd.openxmlformats-officedocument.presentationml.tags+xml"/>
  <Override PartName="/ppt/tags/tag116.xml" ContentType="application/vnd.openxmlformats-officedocument.presentationml.tags+xml"/>
  <Override PartName="/ppt/tags/tag128.xml" ContentType="application/vnd.openxmlformats-officedocument.presentationml.tags+xml"/>
  <Override PartName="/ppt/tags/tag136.xml" ContentType="application/vnd.openxmlformats-officedocument.presentationml.tags+xml"/>
  <Override PartName="/ppt/tags/tag135.xml" ContentType="application/vnd.openxmlformats-officedocument.presentationml.tags+xml"/>
  <Override PartName="/ppt/tags/tag134.xml" ContentType="application/vnd.openxmlformats-officedocument.presentationml.tags+xml"/>
  <Override PartName="/ppt/tags/tag133.xml" ContentType="application/vnd.openxmlformats-officedocument.presentationml.tags+xml"/>
  <Override PartName="/ppt/tags/tag132.xml" ContentType="application/vnd.openxmlformats-officedocument.presentationml.tags+xml"/>
  <Override PartName="/ppt/tags/tag131.xml" ContentType="application/vnd.openxmlformats-officedocument.presentationml.tags+xml"/>
  <Override PartName="/ppt/tags/tag130.xml" ContentType="application/vnd.openxmlformats-officedocument.presentationml.tags+xml"/>
  <Override PartName="/ppt/tags/tag129.xml" ContentType="application/vnd.openxmlformats-officedocument.presentationml.tags+xml"/>
  <Override PartName="/ppt/tags/tag127.xml" ContentType="application/vnd.openxmlformats-officedocument.presentationml.tags+xml"/>
  <Override PartName="/ppt/tags/tag105.xml" ContentType="application/vnd.openxmlformats-officedocument.presentationml.tags+xml"/>
  <Override PartName="/ppt/tags/tag114.xml" ContentType="application/vnd.openxmlformats-officedocument.presentationml.tags+xml"/>
  <Override PartName="/ppt/tags/tag102.xml" ContentType="application/vnd.openxmlformats-officedocument.presentationml.tags+xml"/>
  <Override PartName="/ppt/tags/tag101.xml" ContentType="application/vnd.openxmlformats-officedocument.presentationml.tags+xml"/>
  <Override PartName="/ppt/tags/tag100.xml" ContentType="application/vnd.openxmlformats-officedocument.presentationml.tags+xml"/>
  <Override PartName="/ppt/tags/tag99.xml" ContentType="application/vnd.openxmlformats-officedocument.presentationml.tags+xml"/>
  <Override PartName="/ppt/tags/tag98.xml" ContentType="application/vnd.openxmlformats-officedocument.presentationml.tags+xml"/>
  <Override PartName="/ppt/tags/tag97.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94.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37.xml" ContentType="application/vnd.openxmlformats-officedocument.presentationml.tags+xml"/>
  <Override PartName="/ppt/tags/tag113.xml" ContentType="application/vnd.openxmlformats-officedocument.presentationml.tags+xml"/>
  <Override PartName="/ppt/tags/tag112.xml" ContentType="application/vnd.openxmlformats-officedocument.presentationml.tags+xml"/>
  <Override PartName="/ppt/tags/tag111.xml" ContentType="application/vnd.openxmlformats-officedocument.presentationml.tags+xml"/>
  <Override PartName="/ppt/tags/tag110.xml" ContentType="application/vnd.openxmlformats-officedocument.presentationml.tags+xml"/>
  <Override PartName="/ppt/tags/tag109.xml" ContentType="application/vnd.openxmlformats-officedocument.presentationml.tags+xml"/>
  <Override PartName="/ppt/tags/tag108.xml" ContentType="application/vnd.openxmlformats-officedocument.presentationml.tags+xml"/>
  <Override PartName="/ppt/tags/tag107.xml" ContentType="application/vnd.openxmlformats-officedocument.presentationml.tags+xml"/>
  <Override PartName="/ppt/tags/tag106.xml" ContentType="application/vnd.openxmlformats-officedocument.presentationml.tags+xml"/>
  <Override PartName="/ppt/tags/tag115.xml" ContentType="application/vnd.openxmlformats-officedocument.presentationml.tags+xml"/>
  <Override PartName="/ppt/tags/tag148.xml" ContentType="application/vnd.openxmlformats-officedocument.presentationml.tags+xml"/>
  <Override PartName="/ppt/tags/tag139.xml" ContentType="application/vnd.openxmlformats-officedocument.presentationml.tags+xml"/>
  <Override PartName="/ppt/tags/tag171.xml" ContentType="application/vnd.openxmlformats-officedocument.presentationml.tags+xml"/>
  <Override PartName="/ppt/tags/tag170.xml" ContentType="application/vnd.openxmlformats-officedocument.presentationml.tags+xml"/>
  <Override PartName="/ppt/tags/tag169.xml" ContentType="application/vnd.openxmlformats-officedocument.presentationml.tags+xml"/>
  <Override PartName="/ppt/tags/tag168.xml" ContentType="application/vnd.openxmlformats-officedocument.presentationml.tags+xml"/>
  <Override PartName="/ppt/tags/tag167.xml" ContentType="application/vnd.openxmlformats-officedocument.presentationml.tags+xml"/>
  <Override PartName="/ppt/tags/tag166.xml" ContentType="application/vnd.openxmlformats-officedocument.presentationml.tags+xml"/>
  <Override PartName="/ppt/tags/tag165.xml" ContentType="application/vnd.openxmlformats-officedocument.presentationml.tags+xml"/>
  <Override PartName="/ppt/tags/tag164.xml" ContentType="application/vnd.openxmlformats-officedocument.presentationml.tags+xml"/>
  <Override PartName="/ppt/tags/tag163.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83.xml" ContentType="application/vnd.openxmlformats-officedocument.presentationml.tags+xml"/>
  <Override PartName="/ppt/tags/tag182.xml" ContentType="application/vnd.openxmlformats-officedocument.presentationml.tags+xml"/>
  <Override PartName="/ppt/tags/tag181.xml" ContentType="application/vnd.openxmlformats-officedocument.presentationml.tags+xml"/>
  <Override PartName="/ppt/tags/tag180.xml" ContentType="application/vnd.openxmlformats-officedocument.presentationml.tags+xml"/>
  <Override PartName="/ppt/tags/tag179.xml" ContentType="application/vnd.openxmlformats-officedocument.presentationml.tags+xml"/>
  <Override PartName="/ppt/tags/tag178.xml" ContentType="application/vnd.openxmlformats-officedocument.presentationml.tags+xml"/>
  <Override PartName="/ppt/tags/tag177.xml" ContentType="application/vnd.openxmlformats-officedocument.presentationml.tags+xml"/>
  <Override PartName="/ppt/tags/tag176.xml" ContentType="application/vnd.openxmlformats-officedocument.presentationml.tags+xml"/>
  <Override PartName="/ppt/tags/tag175.xml" ContentType="application/vnd.openxmlformats-officedocument.presentationml.tags+xml"/>
  <Override PartName="/ppt/tags/tag162.xml" ContentType="application/vnd.openxmlformats-officedocument.presentationml.tags+xml"/>
  <Override PartName="/ppt/tags/tag161.xml" ContentType="application/vnd.openxmlformats-officedocument.presentationml.tags+xml"/>
  <Override PartName="/ppt/tags/tag160.xml" ContentType="application/vnd.openxmlformats-officedocument.presentationml.tags+xml"/>
  <Override PartName="/ppt/tags/tag93.xml" ContentType="application/vnd.openxmlformats-officedocument.presentationml.tags+xml"/>
  <Override PartName="/ppt/tags/tag147.xml" ContentType="application/vnd.openxmlformats-officedocument.presentationml.tags+xml"/>
  <Override PartName="/ppt/tags/tag146.xml" ContentType="application/vnd.openxmlformats-officedocument.presentationml.tags+xml"/>
  <Override PartName="/ppt/tags/tag145.xml" ContentType="application/vnd.openxmlformats-officedocument.presentationml.tags+xml"/>
  <Override PartName="/ppt/tags/tag144.xml" ContentType="application/vnd.openxmlformats-officedocument.presentationml.tags+xml"/>
  <Override PartName="/ppt/tags/tag143.xml" ContentType="application/vnd.openxmlformats-officedocument.presentationml.tags+xml"/>
  <Override PartName="/ppt/tags/tag142.xml" ContentType="application/vnd.openxmlformats-officedocument.presentationml.tags+xml"/>
  <Override PartName="/ppt/tags/tag141.xml" ContentType="application/vnd.openxmlformats-officedocument.presentationml.tags+xml"/>
  <Override PartName="/ppt/tags/tag140.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9.xml" ContentType="application/vnd.openxmlformats-officedocument.presentationml.tags+xml"/>
  <Override PartName="/ppt/tags/tag158.xml" ContentType="application/vnd.openxmlformats-officedocument.presentationml.tags+xml"/>
  <Override PartName="/ppt/tags/tag157.xml" ContentType="application/vnd.openxmlformats-officedocument.presentationml.tags+xml"/>
  <Override PartName="/ppt/tags/tag156.xml" ContentType="application/vnd.openxmlformats-officedocument.presentationml.tags+xml"/>
  <Override PartName="/ppt/tags/tag155.xml" ContentType="application/vnd.openxmlformats-officedocument.presentationml.tags+xml"/>
  <Override PartName="/ppt/tags/tag154.xml" ContentType="application/vnd.openxmlformats-officedocument.presentationml.tags+xml"/>
  <Override PartName="/ppt/tags/tag153.xml" ContentType="application/vnd.openxmlformats-officedocument.presentationml.tags+xml"/>
  <Override PartName="/ppt/tags/tag152.xml" ContentType="application/vnd.openxmlformats-officedocument.presentationml.tags+xml"/>
  <Override PartName="/ppt/tags/tag138.xml" ContentType="application/vnd.openxmlformats-officedocument.presentationml.tags+xml"/>
  <Override PartName="/ppt/tags/tag82.xml" ContentType="application/vnd.openxmlformats-officedocument.presentationml.tags+xml"/>
  <Override PartName="/ppt/tags/tag91.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90.xml" ContentType="application/vnd.openxmlformats-officedocument.presentationml.tags+xml"/>
  <Override PartName="/ppt/tags/tag89.xml" ContentType="application/vnd.openxmlformats-officedocument.presentationml.tags+xml"/>
  <Override PartName="/ppt/tags/tag88.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84.xml" ContentType="application/vnd.openxmlformats-officedocument.presentationml.tags+xml"/>
  <Override PartName="/ppt/tags/tag83.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92.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262.xml" ContentType="application/vnd.openxmlformats-officedocument.presentationml.tags+xml"/>
  <Override PartName="/ppt/tags/tag261.xml" ContentType="application/vnd.openxmlformats-officedocument.presentationml.tags+xml"/>
  <Override PartName="/ppt/tags/tag260.xml" ContentType="application/vnd.openxmlformats-officedocument.presentationml.tags+xml"/>
  <Override PartName="/ppt/tags/tag259.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58.xml" ContentType="application/vnd.openxmlformats-officedocument.presentationml.tags+xml"/>
  <Override PartName="/ppt/tags/tag257.xml" ContentType="application/vnd.openxmlformats-officedocument.presentationml.tags+xml"/>
  <Override PartName="/ppt/tags/tag256.xml" ContentType="application/vnd.openxmlformats-officedocument.presentationml.tags+xml"/>
  <Override PartName="/ppt/tags/tag249.xml" ContentType="application/vnd.openxmlformats-officedocument.presentationml.tags+xml"/>
  <Override PartName="/ppt/tags/tag248.xml" ContentType="application/vnd.openxmlformats-officedocument.presentationml.tags+xml"/>
  <Override PartName="/ppt/tags/tag247.xml" ContentType="application/vnd.openxmlformats-officedocument.presentationml.tags+xml"/>
  <Override PartName="/ppt/tags/tag246.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87.xml" ContentType="application/vnd.openxmlformats-officedocument.presentationml.tags+xml"/>
  <Override PartName="/ppt/tags/tag286.xml" ContentType="application/vnd.openxmlformats-officedocument.presentationml.tags+xml"/>
  <Override PartName="/ppt/tags/tag285.xml" ContentType="application/vnd.openxmlformats-officedocument.presentationml.tags+xml"/>
  <Override PartName="/ppt/tags/tag284.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83.xml" ContentType="application/vnd.openxmlformats-officedocument.presentationml.tags+xml"/>
  <Override PartName="/ppt/tags/tag282.xml" ContentType="application/vnd.openxmlformats-officedocument.presentationml.tags+xml"/>
  <Override PartName="/ppt/tags/tag28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45.xml" ContentType="application/vnd.openxmlformats-officedocument.presentationml.tags+xml"/>
  <Override PartName="/ppt/tags/tag244.xml" ContentType="application/vnd.openxmlformats-officedocument.presentationml.tags+xml"/>
  <Override PartName="/ppt/tags/tag243.xml" ContentType="application/vnd.openxmlformats-officedocument.presentationml.tags+xml"/>
  <Override PartName="/ppt/tags/tag211.xml" ContentType="application/vnd.openxmlformats-officedocument.presentationml.tags+xml"/>
  <Override PartName="/ppt/tags/tag210.xml" ContentType="application/vnd.openxmlformats-officedocument.presentationml.tags+xml"/>
  <Override PartName="/ppt/tags/tag209.xml" ContentType="application/vnd.openxmlformats-officedocument.presentationml.tags+xml"/>
  <Override PartName="/ppt/tags/tag208.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07.xml" ContentType="application/vnd.openxmlformats-officedocument.presentationml.tags+xml"/>
  <Override PartName="/ppt/tags/tag206.xml" ContentType="application/vnd.openxmlformats-officedocument.presentationml.tags+xml"/>
  <Override PartName="/ppt/tags/tag205.xml" ContentType="application/vnd.openxmlformats-officedocument.presentationml.tags+xml"/>
  <Override PartName="/ppt/tags/tag198.xml" ContentType="application/vnd.openxmlformats-officedocument.presentationml.tags+xml"/>
  <Override PartName="/ppt/tags/tag197.xml" ContentType="application/vnd.openxmlformats-officedocument.presentationml.tags+xml"/>
  <Override PartName="/ppt/tags/tag196.xml" ContentType="application/vnd.openxmlformats-officedocument.presentationml.tags+xml"/>
  <Override PartName="/ppt/tags/tag195.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36.xml" ContentType="application/vnd.openxmlformats-officedocument.presentationml.tags+xml"/>
  <Override PartName="/ppt/tags/tag235.xml" ContentType="application/vnd.openxmlformats-officedocument.presentationml.tags+xml"/>
  <Override PartName="/ppt/tags/tag234.xml" ContentType="application/vnd.openxmlformats-officedocument.presentationml.tags+xml"/>
  <Override PartName="/ppt/tags/tag233.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32.xml" ContentType="application/vnd.openxmlformats-officedocument.presentationml.tags+xml"/>
  <Override PartName="/ppt/tags/tag231.xml" ContentType="application/vnd.openxmlformats-officedocument.presentationml.tags+xml"/>
  <Override PartName="/ppt/tags/tag23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364.xml" ContentType="application/vnd.openxmlformats-officedocument.presentationml.tags+xml"/>
  <Override PartName="/ppt/tags/tag363.xml" ContentType="application/vnd.openxmlformats-officedocument.presentationml.tags+xml"/>
  <Override PartName="/ppt/tags/tag362.xml" ContentType="application/vnd.openxmlformats-officedocument.presentationml.tags+xml"/>
  <Override PartName="/ppt/tags/tag361.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60.xml" ContentType="application/vnd.openxmlformats-officedocument.presentationml.tags+xml"/>
  <Override PartName="/ppt/tags/tag359.xml" ContentType="application/vnd.openxmlformats-officedocument.presentationml.tags+xml"/>
  <Override PartName="/ppt/tags/tag358.xml" ContentType="application/vnd.openxmlformats-officedocument.presentationml.tags+xml"/>
  <Override PartName="/ppt/tags/tag351.xml" ContentType="application/vnd.openxmlformats-officedocument.presentationml.tags+xml"/>
  <Override PartName="/ppt/tags/tag350.xml" ContentType="application/vnd.openxmlformats-officedocument.presentationml.tags+xml"/>
  <Override PartName="/ppt/tags/tag349.xml" ContentType="application/vnd.openxmlformats-officedocument.presentationml.tags+xml"/>
  <Override PartName="/ppt/tags/tag348.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386.xml" ContentType="application/vnd.openxmlformats-officedocument.presentationml.tags+xml"/>
  <Override PartName="/ppt/tags/tag19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89.xml" ContentType="application/vnd.openxmlformats-officedocument.presentationml.tags+xml"/>
  <Override PartName="/ppt/tags/tag188.xml" ContentType="application/vnd.openxmlformats-officedocument.presentationml.tags+xml"/>
  <Override PartName="/ppt/tags/tag187.xml" ContentType="application/vnd.openxmlformats-officedocument.presentationml.tags+xml"/>
  <Override PartName="/ppt/tags/tag385.xml" ContentType="application/vnd.openxmlformats-officedocument.presentationml.tags+xml"/>
  <Override PartName="/ppt/tags/tag384.xml" ContentType="application/vnd.openxmlformats-officedocument.presentationml.tags+xml"/>
  <Override PartName="/ppt/tags/tag38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47.xml" ContentType="application/vnd.openxmlformats-officedocument.presentationml.tags+xml"/>
  <Override PartName="/ppt/tags/tag346.xml" ContentType="application/vnd.openxmlformats-officedocument.presentationml.tags+xml"/>
  <Override PartName="/ppt/tags/tag345.xml" ContentType="application/vnd.openxmlformats-officedocument.presentationml.tags+xml"/>
  <Override PartName="/ppt/tags/tag313.xml" ContentType="application/vnd.openxmlformats-officedocument.presentationml.tags+xml"/>
  <Override PartName="/ppt/tags/tag312.xml" ContentType="application/vnd.openxmlformats-officedocument.presentationml.tags+xml"/>
  <Override PartName="/ppt/tags/tag311.xml" ContentType="application/vnd.openxmlformats-officedocument.presentationml.tags+xml"/>
  <Override PartName="/ppt/tags/tag310.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09.xml" ContentType="application/vnd.openxmlformats-officedocument.presentationml.tags+xml"/>
  <Override PartName="/ppt/tags/tag308.xml" ContentType="application/vnd.openxmlformats-officedocument.presentationml.tags+xml"/>
  <Override PartName="/ppt/tags/tag307.xml" ContentType="application/vnd.openxmlformats-officedocument.presentationml.tags+xml"/>
  <Override PartName="/ppt/tags/tag300.xml" ContentType="application/vnd.openxmlformats-officedocument.presentationml.tags+xml"/>
  <Override PartName="/ppt/tags/tag299.xml" ContentType="application/vnd.openxmlformats-officedocument.presentationml.tags+xml"/>
  <Override PartName="/ppt/tags/tag298.xml" ContentType="application/vnd.openxmlformats-officedocument.presentationml.tags+xml"/>
  <Override PartName="/ppt/tags/tag297.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38.xml" ContentType="application/vnd.openxmlformats-officedocument.presentationml.tags+xml"/>
  <Override PartName="/ppt/tags/tag337.xml" ContentType="application/vnd.openxmlformats-officedocument.presentationml.tags+xml"/>
  <Override PartName="/ppt/tags/tag336.xml" ContentType="application/vnd.openxmlformats-officedocument.presentationml.tags+xml"/>
  <Override PartName="/ppt/tags/tag335.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34.xml" ContentType="application/vnd.openxmlformats-officedocument.presentationml.tags+xml"/>
  <Override PartName="/ppt/tags/tag333.xml" ContentType="application/vnd.openxmlformats-officedocument.presentationml.tags+xml"/>
  <Override PartName="/ppt/tags/tag33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18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10" r:id="rId1"/>
    <p:sldMasterId id="2147484137" r:id="rId2"/>
    <p:sldMasterId id="2147484163" r:id="rId3"/>
  </p:sldMasterIdLst>
  <p:notesMasterIdLst>
    <p:notesMasterId r:id="rId15"/>
  </p:notesMasterIdLst>
  <p:sldIdLst>
    <p:sldId id="413" r:id="rId4"/>
    <p:sldId id="414" r:id="rId5"/>
    <p:sldId id="422" r:id="rId6"/>
    <p:sldId id="416" r:id="rId7"/>
    <p:sldId id="423" r:id="rId8"/>
    <p:sldId id="424" r:id="rId9"/>
    <p:sldId id="412" r:id="rId10"/>
    <p:sldId id="302" r:id="rId11"/>
    <p:sldId id="419" r:id="rId12"/>
    <p:sldId id="425" r:id="rId13"/>
    <p:sldId id="418" r:id="rId14"/>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5C8C"/>
    <a:srgbClr val="FBBB4C"/>
    <a:srgbClr val="99D8F3"/>
    <a:srgbClr val="D80F5F"/>
    <a:srgbClr val="92B602"/>
    <a:srgbClr val="AFAF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065" autoAdjust="0"/>
    <p:restoredTop sz="94632" autoAdjust="0"/>
  </p:normalViewPr>
  <p:slideViewPr>
    <p:cSldViewPr snapToGrid="0" snapToObjects="1">
      <p:cViewPr varScale="1">
        <p:scale>
          <a:sx n="96" d="100"/>
          <a:sy n="96" d="100"/>
        </p:scale>
        <p:origin x="-96" y="-204"/>
      </p:cViewPr>
      <p:guideLst>
        <p:guide orient="horz" pos="4256"/>
        <p:guide orient="horz" pos="251"/>
        <p:guide orient="horz" pos="1157"/>
        <p:guide orient="horz" pos="4057"/>
        <p:guide orient="horz" pos="3514"/>
        <p:guide orient="horz" pos="445"/>
        <p:guide orient="horz" pos="4142"/>
        <p:guide orient="horz" pos="3412"/>
        <p:guide orient="horz" pos="1699"/>
        <p:guide pos="232"/>
        <p:guide pos="2985"/>
        <p:guide pos="1622"/>
        <p:guide pos="1292"/>
        <p:guide pos="439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244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customXml" Target="../customXml/item2.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80359530530382E-2"/>
          <c:y val="5.8188038995125611E-2"/>
          <c:w val="0.93086392240802185"/>
          <c:h val="0.85010748656417945"/>
        </c:manualLayout>
      </c:layout>
      <c:lineChart>
        <c:grouping val="standard"/>
        <c:varyColors val="0"/>
        <c:ser>
          <c:idx val="0"/>
          <c:order val="0"/>
          <c:tx>
            <c:strRef>
              <c:f>Sheet1!$B$1</c:f>
              <c:strCache>
                <c:ptCount val="1"/>
                <c:pt idx="0">
                  <c:v>Reference</c:v>
                </c:pt>
              </c:strCache>
            </c:strRef>
          </c:tx>
          <c:spPr>
            <a:ln w="12700">
              <a:solidFill>
                <a:schemeClr val="accent1"/>
              </a:solidFill>
              <a:prstDash val="solid"/>
            </a:ln>
          </c:spPr>
          <c:marker>
            <c:symbol val="none"/>
          </c:marker>
          <c:cat>
            <c:numRef>
              <c:f>Sheet1!$A$2:$A$1247</c:f>
              <c:numCache>
                <c:formatCode>m/d/yyyy</c:formatCode>
                <c:ptCount val="1246"/>
                <c:pt idx="0">
                  <c:v>40179</c:v>
                </c:pt>
                <c:pt idx="1">
                  <c:v>40182</c:v>
                </c:pt>
                <c:pt idx="2">
                  <c:v>40183</c:v>
                </c:pt>
                <c:pt idx="3">
                  <c:v>40184</c:v>
                </c:pt>
                <c:pt idx="4">
                  <c:v>40185</c:v>
                </c:pt>
                <c:pt idx="5">
                  <c:v>40186</c:v>
                </c:pt>
                <c:pt idx="6">
                  <c:v>40189</c:v>
                </c:pt>
                <c:pt idx="7">
                  <c:v>40190</c:v>
                </c:pt>
                <c:pt idx="8">
                  <c:v>40191</c:v>
                </c:pt>
                <c:pt idx="9">
                  <c:v>40192</c:v>
                </c:pt>
                <c:pt idx="10">
                  <c:v>40193</c:v>
                </c:pt>
                <c:pt idx="11">
                  <c:v>40196</c:v>
                </c:pt>
                <c:pt idx="12">
                  <c:v>40197</c:v>
                </c:pt>
                <c:pt idx="13">
                  <c:v>40198</c:v>
                </c:pt>
                <c:pt idx="14">
                  <c:v>40199</c:v>
                </c:pt>
                <c:pt idx="15">
                  <c:v>40200</c:v>
                </c:pt>
                <c:pt idx="16">
                  <c:v>40203</c:v>
                </c:pt>
                <c:pt idx="17">
                  <c:v>40204</c:v>
                </c:pt>
                <c:pt idx="18">
                  <c:v>40205</c:v>
                </c:pt>
                <c:pt idx="19">
                  <c:v>40206</c:v>
                </c:pt>
                <c:pt idx="20">
                  <c:v>40207</c:v>
                </c:pt>
                <c:pt idx="21">
                  <c:v>40210</c:v>
                </c:pt>
                <c:pt idx="22">
                  <c:v>40211</c:v>
                </c:pt>
                <c:pt idx="23">
                  <c:v>40212</c:v>
                </c:pt>
                <c:pt idx="24">
                  <c:v>40213</c:v>
                </c:pt>
                <c:pt idx="25">
                  <c:v>40214</c:v>
                </c:pt>
                <c:pt idx="26">
                  <c:v>40217</c:v>
                </c:pt>
                <c:pt idx="27">
                  <c:v>40218</c:v>
                </c:pt>
                <c:pt idx="28">
                  <c:v>40219</c:v>
                </c:pt>
                <c:pt idx="29">
                  <c:v>40220</c:v>
                </c:pt>
                <c:pt idx="30">
                  <c:v>40221</c:v>
                </c:pt>
                <c:pt idx="31">
                  <c:v>40224</c:v>
                </c:pt>
                <c:pt idx="32">
                  <c:v>40225</c:v>
                </c:pt>
                <c:pt idx="33">
                  <c:v>40226</c:v>
                </c:pt>
                <c:pt idx="34">
                  <c:v>40227</c:v>
                </c:pt>
                <c:pt idx="35">
                  <c:v>40228</c:v>
                </c:pt>
                <c:pt idx="36">
                  <c:v>40231</c:v>
                </c:pt>
                <c:pt idx="37">
                  <c:v>40232</c:v>
                </c:pt>
                <c:pt idx="38">
                  <c:v>40233</c:v>
                </c:pt>
                <c:pt idx="39">
                  <c:v>40234</c:v>
                </c:pt>
                <c:pt idx="40">
                  <c:v>40235</c:v>
                </c:pt>
                <c:pt idx="41">
                  <c:v>40238</c:v>
                </c:pt>
                <c:pt idx="42">
                  <c:v>40239</c:v>
                </c:pt>
                <c:pt idx="43">
                  <c:v>40240</c:v>
                </c:pt>
                <c:pt idx="44">
                  <c:v>40241</c:v>
                </c:pt>
                <c:pt idx="45">
                  <c:v>40242</c:v>
                </c:pt>
                <c:pt idx="46">
                  <c:v>40245</c:v>
                </c:pt>
                <c:pt idx="47">
                  <c:v>40246</c:v>
                </c:pt>
                <c:pt idx="48">
                  <c:v>40247</c:v>
                </c:pt>
                <c:pt idx="49">
                  <c:v>40248</c:v>
                </c:pt>
                <c:pt idx="50">
                  <c:v>40249</c:v>
                </c:pt>
                <c:pt idx="51">
                  <c:v>40252</c:v>
                </c:pt>
                <c:pt idx="52">
                  <c:v>40253</c:v>
                </c:pt>
                <c:pt idx="53">
                  <c:v>40254</c:v>
                </c:pt>
                <c:pt idx="54">
                  <c:v>40255</c:v>
                </c:pt>
                <c:pt idx="55">
                  <c:v>40256</c:v>
                </c:pt>
                <c:pt idx="56">
                  <c:v>40259</c:v>
                </c:pt>
                <c:pt idx="57">
                  <c:v>40260</c:v>
                </c:pt>
                <c:pt idx="58">
                  <c:v>40261</c:v>
                </c:pt>
                <c:pt idx="59">
                  <c:v>40262</c:v>
                </c:pt>
                <c:pt idx="60">
                  <c:v>40263</c:v>
                </c:pt>
                <c:pt idx="61">
                  <c:v>40266</c:v>
                </c:pt>
                <c:pt idx="62">
                  <c:v>40267</c:v>
                </c:pt>
                <c:pt idx="63">
                  <c:v>40268</c:v>
                </c:pt>
                <c:pt idx="64">
                  <c:v>40269</c:v>
                </c:pt>
                <c:pt idx="65">
                  <c:v>40270</c:v>
                </c:pt>
                <c:pt idx="66">
                  <c:v>40273</c:v>
                </c:pt>
                <c:pt idx="67">
                  <c:v>40274</c:v>
                </c:pt>
                <c:pt idx="68">
                  <c:v>40275</c:v>
                </c:pt>
                <c:pt idx="69">
                  <c:v>40276</c:v>
                </c:pt>
                <c:pt idx="70">
                  <c:v>40277</c:v>
                </c:pt>
                <c:pt idx="71">
                  <c:v>40280</c:v>
                </c:pt>
                <c:pt idx="72">
                  <c:v>40281</c:v>
                </c:pt>
                <c:pt idx="73">
                  <c:v>40282</c:v>
                </c:pt>
                <c:pt idx="74">
                  <c:v>40283</c:v>
                </c:pt>
                <c:pt idx="75">
                  <c:v>40284</c:v>
                </c:pt>
                <c:pt idx="76">
                  <c:v>40287</c:v>
                </c:pt>
                <c:pt idx="77">
                  <c:v>40288</c:v>
                </c:pt>
                <c:pt idx="78">
                  <c:v>40289</c:v>
                </c:pt>
                <c:pt idx="79">
                  <c:v>40290</c:v>
                </c:pt>
                <c:pt idx="80">
                  <c:v>40291</c:v>
                </c:pt>
                <c:pt idx="81">
                  <c:v>40294</c:v>
                </c:pt>
                <c:pt idx="82">
                  <c:v>40295</c:v>
                </c:pt>
                <c:pt idx="83">
                  <c:v>40296</c:v>
                </c:pt>
                <c:pt idx="84">
                  <c:v>40297</c:v>
                </c:pt>
                <c:pt idx="85">
                  <c:v>40298</c:v>
                </c:pt>
                <c:pt idx="86">
                  <c:v>40301</c:v>
                </c:pt>
                <c:pt idx="87">
                  <c:v>40302</c:v>
                </c:pt>
                <c:pt idx="88">
                  <c:v>40303</c:v>
                </c:pt>
                <c:pt idx="89">
                  <c:v>40304</c:v>
                </c:pt>
                <c:pt idx="90">
                  <c:v>40305</c:v>
                </c:pt>
                <c:pt idx="91">
                  <c:v>40308</c:v>
                </c:pt>
                <c:pt idx="92">
                  <c:v>40309</c:v>
                </c:pt>
                <c:pt idx="93">
                  <c:v>40310</c:v>
                </c:pt>
                <c:pt idx="94">
                  <c:v>40311</c:v>
                </c:pt>
                <c:pt idx="95">
                  <c:v>40312</c:v>
                </c:pt>
                <c:pt idx="96">
                  <c:v>40315</c:v>
                </c:pt>
                <c:pt idx="97">
                  <c:v>40316</c:v>
                </c:pt>
                <c:pt idx="98">
                  <c:v>40317</c:v>
                </c:pt>
                <c:pt idx="99">
                  <c:v>40318</c:v>
                </c:pt>
                <c:pt idx="100">
                  <c:v>40319</c:v>
                </c:pt>
                <c:pt idx="101">
                  <c:v>40322</c:v>
                </c:pt>
                <c:pt idx="102">
                  <c:v>40323</c:v>
                </c:pt>
                <c:pt idx="103">
                  <c:v>40324</c:v>
                </c:pt>
                <c:pt idx="104">
                  <c:v>40325</c:v>
                </c:pt>
                <c:pt idx="105">
                  <c:v>40326</c:v>
                </c:pt>
                <c:pt idx="106">
                  <c:v>40329</c:v>
                </c:pt>
                <c:pt idx="107">
                  <c:v>40330</c:v>
                </c:pt>
                <c:pt idx="108">
                  <c:v>40331</c:v>
                </c:pt>
                <c:pt idx="109">
                  <c:v>40332</c:v>
                </c:pt>
                <c:pt idx="110">
                  <c:v>40333</c:v>
                </c:pt>
                <c:pt idx="111">
                  <c:v>40336</c:v>
                </c:pt>
                <c:pt idx="112">
                  <c:v>40337</c:v>
                </c:pt>
                <c:pt idx="113">
                  <c:v>40338</c:v>
                </c:pt>
                <c:pt idx="114">
                  <c:v>40339</c:v>
                </c:pt>
                <c:pt idx="115">
                  <c:v>40340</c:v>
                </c:pt>
                <c:pt idx="116">
                  <c:v>40343</c:v>
                </c:pt>
                <c:pt idx="117">
                  <c:v>40344</c:v>
                </c:pt>
                <c:pt idx="118">
                  <c:v>40345</c:v>
                </c:pt>
                <c:pt idx="119">
                  <c:v>40346</c:v>
                </c:pt>
                <c:pt idx="120">
                  <c:v>40347</c:v>
                </c:pt>
                <c:pt idx="121">
                  <c:v>40350</c:v>
                </c:pt>
                <c:pt idx="122">
                  <c:v>40351</c:v>
                </c:pt>
                <c:pt idx="123">
                  <c:v>40352</c:v>
                </c:pt>
                <c:pt idx="124">
                  <c:v>40353</c:v>
                </c:pt>
                <c:pt idx="125">
                  <c:v>40354</c:v>
                </c:pt>
                <c:pt idx="126">
                  <c:v>40357</c:v>
                </c:pt>
                <c:pt idx="127">
                  <c:v>40358</c:v>
                </c:pt>
                <c:pt idx="128">
                  <c:v>40359</c:v>
                </c:pt>
                <c:pt idx="129">
                  <c:v>40360</c:v>
                </c:pt>
                <c:pt idx="130">
                  <c:v>40361</c:v>
                </c:pt>
                <c:pt idx="131">
                  <c:v>40364</c:v>
                </c:pt>
                <c:pt idx="132">
                  <c:v>40365</c:v>
                </c:pt>
                <c:pt idx="133">
                  <c:v>40366</c:v>
                </c:pt>
                <c:pt idx="134">
                  <c:v>40367</c:v>
                </c:pt>
                <c:pt idx="135">
                  <c:v>40368</c:v>
                </c:pt>
                <c:pt idx="136">
                  <c:v>40371</c:v>
                </c:pt>
                <c:pt idx="137">
                  <c:v>40372</c:v>
                </c:pt>
                <c:pt idx="138">
                  <c:v>40373</c:v>
                </c:pt>
                <c:pt idx="139">
                  <c:v>40374</c:v>
                </c:pt>
                <c:pt idx="140">
                  <c:v>40375</c:v>
                </c:pt>
                <c:pt idx="141">
                  <c:v>40378</c:v>
                </c:pt>
                <c:pt idx="142">
                  <c:v>40379</c:v>
                </c:pt>
                <c:pt idx="143">
                  <c:v>40380</c:v>
                </c:pt>
                <c:pt idx="144">
                  <c:v>40381</c:v>
                </c:pt>
                <c:pt idx="145">
                  <c:v>40382</c:v>
                </c:pt>
                <c:pt idx="146">
                  <c:v>40385</c:v>
                </c:pt>
                <c:pt idx="147">
                  <c:v>40386</c:v>
                </c:pt>
                <c:pt idx="148">
                  <c:v>40387</c:v>
                </c:pt>
                <c:pt idx="149">
                  <c:v>40388</c:v>
                </c:pt>
                <c:pt idx="150">
                  <c:v>40389</c:v>
                </c:pt>
                <c:pt idx="151">
                  <c:v>40392</c:v>
                </c:pt>
                <c:pt idx="152">
                  <c:v>40393</c:v>
                </c:pt>
                <c:pt idx="153">
                  <c:v>40394</c:v>
                </c:pt>
                <c:pt idx="154">
                  <c:v>40395</c:v>
                </c:pt>
                <c:pt idx="155">
                  <c:v>40396</c:v>
                </c:pt>
                <c:pt idx="156">
                  <c:v>40399</c:v>
                </c:pt>
                <c:pt idx="157">
                  <c:v>40400</c:v>
                </c:pt>
                <c:pt idx="158">
                  <c:v>40401</c:v>
                </c:pt>
                <c:pt idx="159">
                  <c:v>40402</c:v>
                </c:pt>
                <c:pt idx="160">
                  <c:v>40403</c:v>
                </c:pt>
                <c:pt idx="161">
                  <c:v>40406</c:v>
                </c:pt>
                <c:pt idx="162">
                  <c:v>40407</c:v>
                </c:pt>
                <c:pt idx="163">
                  <c:v>40408</c:v>
                </c:pt>
                <c:pt idx="164">
                  <c:v>40409</c:v>
                </c:pt>
                <c:pt idx="165">
                  <c:v>40410</c:v>
                </c:pt>
                <c:pt idx="166">
                  <c:v>40413</c:v>
                </c:pt>
                <c:pt idx="167">
                  <c:v>40414</c:v>
                </c:pt>
                <c:pt idx="168">
                  <c:v>40415</c:v>
                </c:pt>
                <c:pt idx="169">
                  <c:v>40416</c:v>
                </c:pt>
                <c:pt idx="170">
                  <c:v>40417</c:v>
                </c:pt>
                <c:pt idx="171">
                  <c:v>40420</c:v>
                </c:pt>
                <c:pt idx="172">
                  <c:v>40421</c:v>
                </c:pt>
                <c:pt idx="173">
                  <c:v>40422</c:v>
                </c:pt>
                <c:pt idx="174">
                  <c:v>40423</c:v>
                </c:pt>
                <c:pt idx="175">
                  <c:v>40424</c:v>
                </c:pt>
                <c:pt idx="176">
                  <c:v>40427</c:v>
                </c:pt>
                <c:pt idx="177">
                  <c:v>40428</c:v>
                </c:pt>
                <c:pt idx="178">
                  <c:v>40429</c:v>
                </c:pt>
                <c:pt idx="179">
                  <c:v>40430</c:v>
                </c:pt>
                <c:pt idx="180">
                  <c:v>40431</c:v>
                </c:pt>
                <c:pt idx="181">
                  <c:v>40434</c:v>
                </c:pt>
                <c:pt idx="182">
                  <c:v>40435</c:v>
                </c:pt>
                <c:pt idx="183">
                  <c:v>40436</c:v>
                </c:pt>
                <c:pt idx="184">
                  <c:v>40437</c:v>
                </c:pt>
                <c:pt idx="185">
                  <c:v>40438</c:v>
                </c:pt>
                <c:pt idx="186">
                  <c:v>40441</c:v>
                </c:pt>
                <c:pt idx="187">
                  <c:v>40442</c:v>
                </c:pt>
                <c:pt idx="188">
                  <c:v>40443</c:v>
                </c:pt>
                <c:pt idx="189">
                  <c:v>40444</c:v>
                </c:pt>
                <c:pt idx="190">
                  <c:v>40445</c:v>
                </c:pt>
                <c:pt idx="191">
                  <c:v>40448</c:v>
                </c:pt>
                <c:pt idx="192">
                  <c:v>40449</c:v>
                </c:pt>
                <c:pt idx="193">
                  <c:v>40450</c:v>
                </c:pt>
                <c:pt idx="194">
                  <c:v>40451</c:v>
                </c:pt>
                <c:pt idx="195">
                  <c:v>40452</c:v>
                </c:pt>
                <c:pt idx="196">
                  <c:v>40455</c:v>
                </c:pt>
                <c:pt idx="197">
                  <c:v>40456</c:v>
                </c:pt>
                <c:pt idx="198">
                  <c:v>40457</c:v>
                </c:pt>
                <c:pt idx="199">
                  <c:v>40458</c:v>
                </c:pt>
                <c:pt idx="200">
                  <c:v>40459</c:v>
                </c:pt>
                <c:pt idx="201">
                  <c:v>40462</c:v>
                </c:pt>
                <c:pt idx="202">
                  <c:v>40463</c:v>
                </c:pt>
                <c:pt idx="203">
                  <c:v>40464</c:v>
                </c:pt>
                <c:pt idx="204">
                  <c:v>40465</c:v>
                </c:pt>
                <c:pt idx="205">
                  <c:v>40466</c:v>
                </c:pt>
                <c:pt idx="206">
                  <c:v>40469</c:v>
                </c:pt>
                <c:pt idx="207">
                  <c:v>40470</c:v>
                </c:pt>
                <c:pt idx="208">
                  <c:v>40471</c:v>
                </c:pt>
                <c:pt idx="209">
                  <c:v>40472</c:v>
                </c:pt>
                <c:pt idx="210">
                  <c:v>40473</c:v>
                </c:pt>
                <c:pt idx="211">
                  <c:v>40476</c:v>
                </c:pt>
                <c:pt idx="212">
                  <c:v>40477</c:v>
                </c:pt>
                <c:pt idx="213">
                  <c:v>40478</c:v>
                </c:pt>
                <c:pt idx="214">
                  <c:v>40479</c:v>
                </c:pt>
                <c:pt idx="215">
                  <c:v>40480</c:v>
                </c:pt>
                <c:pt idx="216">
                  <c:v>40483</c:v>
                </c:pt>
                <c:pt idx="217">
                  <c:v>40484</c:v>
                </c:pt>
                <c:pt idx="218">
                  <c:v>40485</c:v>
                </c:pt>
                <c:pt idx="219">
                  <c:v>40486</c:v>
                </c:pt>
                <c:pt idx="220">
                  <c:v>40487</c:v>
                </c:pt>
                <c:pt idx="221">
                  <c:v>40490</c:v>
                </c:pt>
                <c:pt idx="222">
                  <c:v>40491</c:v>
                </c:pt>
                <c:pt idx="223">
                  <c:v>40492</c:v>
                </c:pt>
                <c:pt idx="224">
                  <c:v>40493</c:v>
                </c:pt>
                <c:pt idx="225">
                  <c:v>40494</c:v>
                </c:pt>
                <c:pt idx="226">
                  <c:v>40497</c:v>
                </c:pt>
                <c:pt idx="227">
                  <c:v>40498</c:v>
                </c:pt>
                <c:pt idx="228">
                  <c:v>40499</c:v>
                </c:pt>
                <c:pt idx="229">
                  <c:v>40500</c:v>
                </c:pt>
                <c:pt idx="230">
                  <c:v>40501</c:v>
                </c:pt>
                <c:pt idx="231">
                  <c:v>40504</c:v>
                </c:pt>
                <c:pt idx="232">
                  <c:v>40505</c:v>
                </c:pt>
                <c:pt idx="233">
                  <c:v>40506</c:v>
                </c:pt>
                <c:pt idx="234">
                  <c:v>40507</c:v>
                </c:pt>
                <c:pt idx="235">
                  <c:v>40508</c:v>
                </c:pt>
                <c:pt idx="236">
                  <c:v>40511</c:v>
                </c:pt>
                <c:pt idx="237">
                  <c:v>40512</c:v>
                </c:pt>
                <c:pt idx="238">
                  <c:v>40513</c:v>
                </c:pt>
                <c:pt idx="239">
                  <c:v>40514</c:v>
                </c:pt>
                <c:pt idx="240">
                  <c:v>40515</c:v>
                </c:pt>
                <c:pt idx="241">
                  <c:v>40518</c:v>
                </c:pt>
                <c:pt idx="242">
                  <c:v>40519</c:v>
                </c:pt>
                <c:pt idx="243">
                  <c:v>40520</c:v>
                </c:pt>
                <c:pt idx="244">
                  <c:v>40521</c:v>
                </c:pt>
                <c:pt idx="245">
                  <c:v>40522</c:v>
                </c:pt>
                <c:pt idx="246">
                  <c:v>40525</c:v>
                </c:pt>
                <c:pt idx="247">
                  <c:v>40526</c:v>
                </c:pt>
                <c:pt idx="248">
                  <c:v>40527</c:v>
                </c:pt>
                <c:pt idx="249">
                  <c:v>40528</c:v>
                </c:pt>
                <c:pt idx="250">
                  <c:v>40529</c:v>
                </c:pt>
                <c:pt idx="251">
                  <c:v>40532</c:v>
                </c:pt>
                <c:pt idx="252">
                  <c:v>40533</c:v>
                </c:pt>
                <c:pt idx="253">
                  <c:v>40534</c:v>
                </c:pt>
                <c:pt idx="254">
                  <c:v>40535</c:v>
                </c:pt>
                <c:pt idx="255">
                  <c:v>40536</c:v>
                </c:pt>
                <c:pt idx="256">
                  <c:v>40539</c:v>
                </c:pt>
                <c:pt idx="257">
                  <c:v>40540</c:v>
                </c:pt>
                <c:pt idx="258">
                  <c:v>40541</c:v>
                </c:pt>
                <c:pt idx="259">
                  <c:v>40542</c:v>
                </c:pt>
                <c:pt idx="260">
                  <c:v>40543</c:v>
                </c:pt>
                <c:pt idx="261">
                  <c:v>40546</c:v>
                </c:pt>
                <c:pt idx="262">
                  <c:v>40547</c:v>
                </c:pt>
                <c:pt idx="263">
                  <c:v>40548</c:v>
                </c:pt>
                <c:pt idx="264">
                  <c:v>40549</c:v>
                </c:pt>
                <c:pt idx="265">
                  <c:v>40550</c:v>
                </c:pt>
                <c:pt idx="266">
                  <c:v>40553</c:v>
                </c:pt>
                <c:pt idx="267">
                  <c:v>40554</c:v>
                </c:pt>
                <c:pt idx="268">
                  <c:v>40555</c:v>
                </c:pt>
                <c:pt idx="269">
                  <c:v>40556</c:v>
                </c:pt>
                <c:pt idx="270">
                  <c:v>40557</c:v>
                </c:pt>
                <c:pt idx="271">
                  <c:v>40560</c:v>
                </c:pt>
                <c:pt idx="272">
                  <c:v>40561</c:v>
                </c:pt>
                <c:pt idx="273">
                  <c:v>40562</c:v>
                </c:pt>
                <c:pt idx="274">
                  <c:v>40563</c:v>
                </c:pt>
                <c:pt idx="275">
                  <c:v>40564</c:v>
                </c:pt>
                <c:pt idx="276">
                  <c:v>40567</c:v>
                </c:pt>
                <c:pt idx="277">
                  <c:v>40568</c:v>
                </c:pt>
                <c:pt idx="278">
                  <c:v>40569</c:v>
                </c:pt>
                <c:pt idx="279">
                  <c:v>40570</c:v>
                </c:pt>
                <c:pt idx="280">
                  <c:v>40571</c:v>
                </c:pt>
                <c:pt idx="281">
                  <c:v>40574</c:v>
                </c:pt>
                <c:pt idx="282">
                  <c:v>40575</c:v>
                </c:pt>
                <c:pt idx="283">
                  <c:v>40576</c:v>
                </c:pt>
                <c:pt idx="284">
                  <c:v>40577</c:v>
                </c:pt>
                <c:pt idx="285">
                  <c:v>40578</c:v>
                </c:pt>
                <c:pt idx="286">
                  <c:v>40581</c:v>
                </c:pt>
                <c:pt idx="287">
                  <c:v>40582</c:v>
                </c:pt>
                <c:pt idx="288">
                  <c:v>40583</c:v>
                </c:pt>
                <c:pt idx="289">
                  <c:v>40584</c:v>
                </c:pt>
                <c:pt idx="290">
                  <c:v>40585</c:v>
                </c:pt>
                <c:pt idx="291">
                  <c:v>40588</c:v>
                </c:pt>
                <c:pt idx="292">
                  <c:v>40589</c:v>
                </c:pt>
                <c:pt idx="293">
                  <c:v>40590</c:v>
                </c:pt>
                <c:pt idx="294">
                  <c:v>40591</c:v>
                </c:pt>
                <c:pt idx="295">
                  <c:v>40592</c:v>
                </c:pt>
                <c:pt idx="296">
                  <c:v>40595</c:v>
                </c:pt>
                <c:pt idx="297">
                  <c:v>40596</c:v>
                </c:pt>
                <c:pt idx="298">
                  <c:v>40597</c:v>
                </c:pt>
                <c:pt idx="299">
                  <c:v>40598</c:v>
                </c:pt>
                <c:pt idx="300">
                  <c:v>40599</c:v>
                </c:pt>
                <c:pt idx="301">
                  <c:v>40602</c:v>
                </c:pt>
                <c:pt idx="302">
                  <c:v>40603</c:v>
                </c:pt>
                <c:pt idx="303">
                  <c:v>40604</c:v>
                </c:pt>
                <c:pt idx="304">
                  <c:v>40605</c:v>
                </c:pt>
                <c:pt idx="305">
                  <c:v>40606</c:v>
                </c:pt>
                <c:pt idx="306">
                  <c:v>40609</c:v>
                </c:pt>
                <c:pt idx="307">
                  <c:v>40610</c:v>
                </c:pt>
                <c:pt idx="308">
                  <c:v>40611</c:v>
                </c:pt>
                <c:pt idx="309">
                  <c:v>40612</c:v>
                </c:pt>
                <c:pt idx="310">
                  <c:v>40613</c:v>
                </c:pt>
                <c:pt idx="311">
                  <c:v>40616</c:v>
                </c:pt>
                <c:pt idx="312">
                  <c:v>40617</c:v>
                </c:pt>
                <c:pt idx="313">
                  <c:v>40618</c:v>
                </c:pt>
                <c:pt idx="314">
                  <c:v>40619</c:v>
                </c:pt>
                <c:pt idx="315">
                  <c:v>40620</c:v>
                </c:pt>
                <c:pt idx="316">
                  <c:v>40623</c:v>
                </c:pt>
                <c:pt idx="317">
                  <c:v>40624</c:v>
                </c:pt>
                <c:pt idx="318">
                  <c:v>40625</c:v>
                </c:pt>
                <c:pt idx="319">
                  <c:v>40626</c:v>
                </c:pt>
                <c:pt idx="320">
                  <c:v>40627</c:v>
                </c:pt>
                <c:pt idx="321">
                  <c:v>40630</c:v>
                </c:pt>
                <c:pt idx="322">
                  <c:v>40631</c:v>
                </c:pt>
                <c:pt idx="323">
                  <c:v>40632</c:v>
                </c:pt>
                <c:pt idx="324">
                  <c:v>40633</c:v>
                </c:pt>
                <c:pt idx="325">
                  <c:v>40634</c:v>
                </c:pt>
                <c:pt idx="326">
                  <c:v>40637</c:v>
                </c:pt>
                <c:pt idx="327">
                  <c:v>40638</c:v>
                </c:pt>
                <c:pt idx="328">
                  <c:v>40639</c:v>
                </c:pt>
                <c:pt idx="329">
                  <c:v>40640</c:v>
                </c:pt>
                <c:pt idx="330">
                  <c:v>40641</c:v>
                </c:pt>
                <c:pt idx="331">
                  <c:v>40644</c:v>
                </c:pt>
                <c:pt idx="332">
                  <c:v>40645</c:v>
                </c:pt>
                <c:pt idx="333">
                  <c:v>40646</c:v>
                </c:pt>
                <c:pt idx="334">
                  <c:v>40647</c:v>
                </c:pt>
                <c:pt idx="335">
                  <c:v>40648</c:v>
                </c:pt>
                <c:pt idx="336">
                  <c:v>40651</c:v>
                </c:pt>
                <c:pt idx="337">
                  <c:v>40652</c:v>
                </c:pt>
                <c:pt idx="338">
                  <c:v>40653</c:v>
                </c:pt>
                <c:pt idx="339">
                  <c:v>40654</c:v>
                </c:pt>
                <c:pt idx="340">
                  <c:v>40659</c:v>
                </c:pt>
                <c:pt idx="341">
                  <c:v>40660</c:v>
                </c:pt>
                <c:pt idx="342">
                  <c:v>40661</c:v>
                </c:pt>
                <c:pt idx="343">
                  <c:v>40662</c:v>
                </c:pt>
                <c:pt idx="344">
                  <c:v>40665</c:v>
                </c:pt>
                <c:pt idx="345">
                  <c:v>40666</c:v>
                </c:pt>
                <c:pt idx="346">
                  <c:v>40667</c:v>
                </c:pt>
                <c:pt idx="347">
                  <c:v>40668</c:v>
                </c:pt>
                <c:pt idx="348">
                  <c:v>40669</c:v>
                </c:pt>
                <c:pt idx="349">
                  <c:v>40672</c:v>
                </c:pt>
                <c:pt idx="350">
                  <c:v>40673</c:v>
                </c:pt>
                <c:pt idx="351">
                  <c:v>40674</c:v>
                </c:pt>
                <c:pt idx="352">
                  <c:v>40675</c:v>
                </c:pt>
                <c:pt idx="353">
                  <c:v>40676</c:v>
                </c:pt>
                <c:pt idx="354">
                  <c:v>40679</c:v>
                </c:pt>
                <c:pt idx="355">
                  <c:v>40680</c:v>
                </c:pt>
                <c:pt idx="356">
                  <c:v>40681</c:v>
                </c:pt>
                <c:pt idx="357">
                  <c:v>40682</c:v>
                </c:pt>
                <c:pt idx="358">
                  <c:v>40683</c:v>
                </c:pt>
                <c:pt idx="359">
                  <c:v>40686</c:v>
                </c:pt>
                <c:pt idx="360">
                  <c:v>40687</c:v>
                </c:pt>
                <c:pt idx="361">
                  <c:v>40688</c:v>
                </c:pt>
                <c:pt idx="362">
                  <c:v>40689</c:v>
                </c:pt>
                <c:pt idx="363">
                  <c:v>40690</c:v>
                </c:pt>
                <c:pt idx="364">
                  <c:v>40693</c:v>
                </c:pt>
                <c:pt idx="365">
                  <c:v>40694</c:v>
                </c:pt>
                <c:pt idx="366">
                  <c:v>40695</c:v>
                </c:pt>
                <c:pt idx="367">
                  <c:v>40696</c:v>
                </c:pt>
                <c:pt idx="368">
                  <c:v>40697</c:v>
                </c:pt>
                <c:pt idx="369">
                  <c:v>40700</c:v>
                </c:pt>
                <c:pt idx="370">
                  <c:v>40701</c:v>
                </c:pt>
                <c:pt idx="371">
                  <c:v>40702</c:v>
                </c:pt>
                <c:pt idx="372">
                  <c:v>40703</c:v>
                </c:pt>
                <c:pt idx="373">
                  <c:v>40704</c:v>
                </c:pt>
                <c:pt idx="374">
                  <c:v>40707</c:v>
                </c:pt>
                <c:pt idx="375">
                  <c:v>40708</c:v>
                </c:pt>
                <c:pt idx="376">
                  <c:v>40709</c:v>
                </c:pt>
                <c:pt idx="377">
                  <c:v>40710</c:v>
                </c:pt>
                <c:pt idx="378">
                  <c:v>40711</c:v>
                </c:pt>
                <c:pt idx="379">
                  <c:v>40714</c:v>
                </c:pt>
                <c:pt idx="380">
                  <c:v>40715</c:v>
                </c:pt>
                <c:pt idx="381">
                  <c:v>40716</c:v>
                </c:pt>
                <c:pt idx="382">
                  <c:v>40717</c:v>
                </c:pt>
                <c:pt idx="383">
                  <c:v>40718</c:v>
                </c:pt>
                <c:pt idx="384">
                  <c:v>40721</c:v>
                </c:pt>
                <c:pt idx="385">
                  <c:v>40722</c:v>
                </c:pt>
                <c:pt idx="386">
                  <c:v>40723</c:v>
                </c:pt>
                <c:pt idx="387">
                  <c:v>40724</c:v>
                </c:pt>
                <c:pt idx="388">
                  <c:v>40725</c:v>
                </c:pt>
                <c:pt idx="389">
                  <c:v>40728</c:v>
                </c:pt>
                <c:pt idx="390">
                  <c:v>40729</c:v>
                </c:pt>
                <c:pt idx="391">
                  <c:v>40730</c:v>
                </c:pt>
                <c:pt idx="392">
                  <c:v>40731</c:v>
                </c:pt>
                <c:pt idx="393">
                  <c:v>40732</c:v>
                </c:pt>
                <c:pt idx="394">
                  <c:v>40735</c:v>
                </c:pt>
                <c:pt idx="395">
                  <c:v>40736</c:v>
                </c:pt>
                <c:pt idx="396">
                  <c:v>40737</c:v>
                </c:pt>
                <c:pt idx="397">
                  <c:v>40738</c:v>
                </c:pt>
                <c:pt idx="398">
                  <c:v>40739</c:v>
                </c:pt>
                <c:pt idx="399">
                  <c:v>40742</c:v>
                </c:pt>
                <c:pt idx="400">
                  <c:v>40743</c:v>
                </c:pt>
                <c:pt idx="401">
                  <c:v>40744</c:v>
                </c:pt>
                <c:pt idx="402">
                  <c:v>40745</c:v>
                </c:pt>
                <c:pt idx="403">
                  <c:v>40746</c:v>
                </c:pt>
                <c:pt idx="404">
                  <c:v>40749</c:v>
                </c:pt>
                <c:pt idx="405">
                  <c:v>40750</c:v>
                </c:pt>
                <c:pt idx="406">
                  <c:v>40751</c:v>
                </c:pt>
                <c:pt idx="407">
                  <c:v>40752</c:v>
                </c:pt>
                <c:pt idx="408">
                  <c:v>40753</c:v>
                </c:pt>
                <c:pt idx="409">
                  <c:v>40756</c:v>
                </c:pt>
                <c:pt idx="410">
                  <c:v>40757</c:v>
                </c:pt>
                <c:pt idx="411">
                  <c:v>40758</c:v>
                </c:pt>
                <c:pt idx="412">
                  <c:v>40759</c:v>
                </c:pt>
                <c:pt idx="413">
                  <c:v>40760</c:v>
                </c:pt>
                <c:pt idx="414">
                  <c:v>40763</c:v>
                </c:pt>
                <c:pt idx="415">
                  <c:v>40764</c:v>
                </c:pt>
                <c:pt idx="416">
                  <c:v>40765</c:v>
                </c:pt>
                <c:pt idx="417">
                  <c:v>40766</c:v>
                </c:pt>
                <c:pt idx="418">
                  <c:v>40767</c:v>
                </c:pt>
                <c:pt idx="419">
                  <c:v>40770</c:v>
                </c:pt>
                <c:pt idx="420">
                  <c:v>40771</c:v>
                </c:pt>
                <c:pt idx="421">
                  <c:v>40772</c:v>
                </c:pt>
                <c:pt idx="422">
                  <c:v>40773</c:v>
                </c:pt>
                <c:pt idx="423">
                  <c:v>40774</c:v>
                </c:pt>
                <c:pt idx="424">
                  <c:v>40777</c:v>
                </c:pt>
                <c:pt idx="425">
                  <c:v>40778</c:v>
                </c:pt>
                <c:pt idx="426">
                  <c:v>40779</c:v>
                </c:pt>
                <c:pt idx="427">
                  <c:v>40780</c:v>
                </c:pt>
                <c:pt idx="428">
                  <c:v>40781</c:v>
                </c:pt>
                <c:pt idx="429">
                  <c:v>40784</c:v>
                </c:pt>
                <c:pt idx="430">
                  <c:v>40785</c:v>
                </c:pt>
                <c:pt idx="431">
                  <c:v>40786</c:v>
                </c:pt>
                <c:pt idx="432">
                  <c:v>40787</c:v>
                </c:pt>
                <c:pt idx="433">
                  <c:v>40788</c:v>
                </c:pt>
                <c:pt idx="434">
                  <c:v>40791</c:v>
                </c:pt>
                <c:pt idx="435">
                  <c:v>40792</c:v>
                </c:pt>
                <c:pt idx="436">
                  <c:v>40793</c:v>
                </c:pt>
                <c:pt idx="437">
                  <c:v>40794</c:v>
                </c:pt>
                <c:pt idx="438">
                  <c:v>40795</c:v>
                </c:pt>
                <c:pt idx="439">
                  <c:v>40798</c:v>
                </c:pt>
                <c:pt idx="440">
                  <c:v>40799</c:v>
                </c:pt>
                <c:pt idx="441">
                  <c:v>40800</c:v>
                </c:pt>
                <c:pt idx="442">
                  <c:v>40801</c:v>
                </c:pt>
                <c:pt idx="443">
                  <c:v>40802</c:v>
                </c:pt>
                <c:pt idx="444">
                  <c:v>40805</c:v>
                </c:pt>
                <c:pt idx="445">
                  <c:v>40806</c:v>
                </c:pt>
                <c:pt idx="446">
                  <c:v>40807</c:v>
                </c:pt>
                <c:pt idx="447">
                  <c:v>40808</c:v>
                </c:pt>
                <c:pt idx="448">
                  <c:v>40809</c:v>
                </c:pt>
                <c:pt idx="449">
                  <c:v>40812</c:v>
                </c:pt>
                <c:pt idx="450">
                  <c:v>40813</c:v>
                </c:pt>
                <c:pt idx="451">
                  <c:v>40814</c:v>
                </c:pt>
                <c:pt idx="452">
                  <c:v>40815</c:v>
                </c:pt>
                <c:pt idx="453">
                  <c:v>40816</c:v>
                </c:pt>
                <c:pt idx="454">
                  <c:v>40819</c:v>
                </c:pt>
                <c:pt idx="455">
                  <c:v>40820</c:v>
                </c:pt>
                <c:pt idx="456">
                  <c:v>40821</c:v>
                </c:pt>
                <c:pt idx="457">
                  <c:v>40822</c:v>
                </c:pt>
                <c:pt idx="458">
                  <c:v>40823</c:v>
                </c:pt>
                <c:pt idx="459">
                  <c:v>40826</c:v>
                </c:pt>
                <c:pt idx="460">
                  <c:v>40827</c:v>
                </c:pt>
                <c:pt idx="461">
                  <c:v>40828</c:v>
                </c:pt>
                <c:pt idx="462">
                  <c:v>40829</c:v>
                </c:pt>
                <c:pt idx="463">
                  <c:v>40830</c:v>
                </c:pt>
                <c:pt idx="464">
                  <c:v>40833</c:v>
                </c:pt>
                <c:pt idx="465">
                  <c:v>40834</c:v>
                </c:pt>
                <c:pt idx="466">
                  <c:v>40835</c:v>
                </c:pt>
                <c:pt idx="467">
                  <c:v>40836</c:v>
                </c:pt>
                <c:pt idx="468">
                  <c:v>40837</c:v>
                </c:pt>
                <c:pt idx="469">
                  <c:v>40840</c:v>
                </c:pt>
                <c:pt idx="470">
                  <c:v>40841</c:v>
                </c:pt>
                <c:pt idx="471">
                  <c:v>40842</c:v>
                </c:pt>
                <c:pt idx="472">
                  <c:v>40843</c:v>
                </c:pt>
                <c:pt idx="473">
                  <c:v>40844</c:v>
                </c:pt>
                <c:pt idx="474">
                  <c:v>40847</c:v>
                </c:pt>
                <c:pt idx="475">
                  <c:v>40848</c:v>
                </c:pt>
                <c:pt idx="476">
                  <c:v>40849</c:v>
                </c:pt>
                <c:pt idx="477">
                  <c:v>40850</c:v>
                </c:pt>
                <c:pt idx="478">
                  <c:v>40851</c:v>
                </c:pt>
                <c:pt idx="479">
                  <c:v>40854</c:v>
                </c:pt>
                <c:pt idx="480">
                  <c:v>40855</c:v>
                </c:pt>
                <c:pt idx="481">
                  <c:v>40856</c:v>
                </c:pt>
                <c:pt idx="482">
                  <c:v>40857</c:v>
                </c:pt>
                <c:pt idx="483">
                  <c:v>40858</c:v>
                </c:pt>
                <c:pt idx="484">
                  <c:v>40861</c:v>
                </c:pt>
                <c:pt idx="485">
                  <c:v>40862</c:v>
                </c:pt>
                <c:pt idx="486">
                  <c:v>40863</c:v>
                </c:pt>
                <c:pt idx="487">
                  <c:v>40864</c:v>
                </c:pt>
                <c:pt idx="488">
                  <c:v>40865</c:v>
                </c:pt>
                <c:pt idx="489">
                  <c:v>40868</c:v>
                </c:pt>
                <c:pt idx="490">
                  <c:v>40869</c:v>
                </c:pt>
                <c:pt idx="491">
                  <c:v>40870</c:v>
                </c:pt>
                <c:pt idx="492">
                  <c:v>40871</c:v>
                </c:pt>
                <c:pt idx="493">
                  <c:v>40872</c:v>
                </c:pt>
                <c:pt idx="494">
                  <c:v>40875</c:v>
                </c:pt>
                <c:pt idx="495">
                  <c:v>40876</c:v>
                </c:pt>
                <c:pt idx="496">
                  <c:v>40877</c:v>
                </c:pt>
                <c:pt idx="497">
                  <c:v>40878</c:v>
                </c:pt>
                <c:pt idx="498">
                  <c:v>40879</c:v>
                </c:pt>
                <c:pt idx="499">
                  <c:v>40882</c:v>
                </c:pt>
                <c:pt idx="500">
                  <c:v>40883</c:v>
                </c:pt>
                <c:pt idx="501">
                  <c:v>40884</c:v>
                </c:pt>
                <c:pt idx="502">
                  <c:v>40885</c:v>
                </c:pt>
                <c:pt idx="503">
                  <c:v>40886</c:v>
                </c:pt>
                <c:pt idx="504">
                  <c:v>40889</c:v>
                </c:pt>
                <c:pt idx="505">
                  <c:v>40890</c:v>
                </c:pt>
                <c:pt idx="506">
                  <c:v>40891</c:v>
                </c:pt>
                <c:pt idx="507">
                  <c:v>40892</c:v>
                </c:pt>
                <c:pt idx="508">
                  <c:v>40893</c:v>
                </c:pt>
                <c:pt idx="509">
                  <c:v>40896</c:v>
                </c:pt>
                <c:pt idx="510">
                  <c:v>40897</c:v>
                </c:pt>
                <c:pt idx="511">
                  <c:v>40898</c:v>
                </c:pt>
                <c:pt idx="512">
                  <c:v>40899</c:v>
                </c:pt>
                <c:pt idx="513">
                  <c:v>40900</c:v>
                </c:pt>
                <c:pt idx="514">
                  <c:v>40904</c:v>
                </c:pt>
                <c:pt idx="515">
                  <c:v>40905</c:v>
                </c:pt>
                <c:pt idx="516">
                  <c:v>40906</c:v>
                </c:pt>
                <c:pt idx="517">
                  <c:v>40907</c:v>
                </c:pt>
                <c:pt idx="518">
                  <c:v>40910</c:v>
                </c:pt>
                <c:pt idx="519">
                  <c:v>40911</c:v>
                </c:pt>
                <c:pt idx="520">
                  <c:v>40912</c:v>
                </c:pt>
                <c:pt idx="521">
                  <c:v>40913</c:v>
                </c:pt>
                <c:pt idx="522">
                  <c:v>40914</c:v>
                </c:pt>
                <c:pt idx="523">
                  <c:v>40917</c:v>
                </c:pt>
                <c:pt idx="524">
                  <c:v>40918</c:v>
                </c:pt>
                <c:pt idx="525">
                  <c:v>40919</c:v>
                </c:pt>
                <c:pt idx="526">
                  <c:v>40920</c:v>
                </c:pt>
                <c:pt idx="527">
                  <c:v>40921</c:v>
                </c:pt>
                <c:pt idx="528">
                  <c:v>40924</c:v>
                </c:pt>
                <c:pt idx="529">
                  <c:v>40925</c:v>
                </c:pt>
                <c:pt idx="530">
                  <c:v>40926</c:v>
                </c:pt>
                <c:pt idx="531">
                  <c:v>40927</c:v>
                </c:pt>
                <c:pt idx="532">
                  <c:v>40928</c:v>
                </c:pt>
                <c:pt idx="533">
                  <c:v>40931</c:v>
                </c:pt>
                <c:pt idx="534">
                  <c:v>40932</c:v>
                </c:pt>
                <c:pt idx="535">
                  <c:v>40933</c:v>
                </c:pt>
                <c:pt idx="536">
                  <c:v>40934</c:v>
                </c:pt>
                <c:pt idx="537">
                  <c:v>40935</c:v>
                </c:pt>
                <c:pt idx="538">
                  <c:v>40938</c:v>
                </c:pt>
                <c:pt idx="539">
                  <c:v>40939</c:v>
                </c:pt>
                <c:pt idx="540">
                  <c:v>40940</c:v>
                </c:pt>
                <c:pt idx="541">
                  <c:v>40941</c:v>
                </c:pt>
                <c:pt idx="542">
                  <c:v>40942</c:v>
                </c:pt>
                <c:pt idx="543">
                  <c:v>40945</c:v>
                </c:pt>
                <c:pt idx="544">
                  <c:v>40946</c:v>
                </c:pt>
                <c:pt idx="545">
                  <c:v>40947</c:v>
                </c:pt>
                <c:pt idx="546">
                  <c:v>40948</c:v>
                </c:pt>
                <c:pt idx="547">
                  <c:v>40949</c:v>
                </c:pt>
                <c:pt idx="548">
                  <c:v>40952</c:v>
                </c:pt>
                <c:pt idx="549">
                  <c:v>40953</c:v>
                </c:pt>
                <c:pt idx="550">
                  <c:v>40954</c:v>
                </c:pt>
                <c:pt idx="551">
                  <c:v>40955</c:v>
                </c:pt>
                <c:pt idx="552">
                  <c:v>40956</c:v>
                </c:pt>
                <c:pt idx="553">
                  <c:v>40959</c:v>
                </c:pt>
                <c:pt idx="554">
                  <c:v>40960</c:v>
                </c:pt>
                <c:pt idx="555">
                  <c:v>40961</c:v>
                </c:pt>
                <c:pt idx="556">
                  <c:v>40962</c:v>
                </c:pt>
                <c:pt idx="557">
                  <c:v>40963</c:v>
                </c:pt>
                <c:pt idx="558">
                  <c:v>40966</c:v>
                </c:pt>
                <c:pt idx="559">
                  <c:v>40967</c:v>
                </c:pt>
                <c:pt idx="560">
                  <c:v>40968</c:v>
                </c:pt>
                <c:pt idx="561">
                  <c:v>40969</c:v>
                </c:pt>
                <c:pt idx="562">
                  <c:v>40970</c:v>
                </c:pt>
                <c:pt idx="563">
                  <c:v>40973</c:v>
                </c:pt>
                <c:pt idx="564">
                  <c:v>40974</c:v>
                </c:pt>
                <c:pt idx="565">
                  <c:v>40975</c:v>
                </c:pt>
                <c:pt idx="566">
                  <c:v>40976</c:v>
                </c:pt>
                <c:pt idx="567">
                  <c:v>40977</c:v>
                </c:pt>
                <c:pt idx="568">
                  <c:v>40980</c:v>
                </c:pt>
                <c:pt idx="569">
                  <c:v>40981</c:v>
                </c:pt>
                <c:pt idx="570">
                  <c:v>40982</c:v>
                </c:pt>
                <c:pt idx="571">
                  <c:v>40983</c:v>
                </c:pt>
                <c:pt idx="572">
                  <c:v>40984</c:v>
                </c:pt>
                <c:pt idx="573">
                  <c:v>40987</c:v>
                </c:pt>
                <c:pt idx="574">
                  <c:v>40988</c:v>
                </c:pt>
                <c:pt idx="575">
                  <c:v>40989</c:v>
                </c:pt>
                <c:pt idx="576">
                  <c:v>40990</c:v>
                </c:pt>
                <c:pt idx="577">
                  <c:v>40991</c:v>
                </c:pt>
                <c:pt idx="578">
                  <c:v>40994</c:v>
                </c:pt>
                <c:pt idx="579">
                  <c:v>40995</c:v>
                </c:pt>
                <c:pt idx="580">
                  <c:v>40996</c:v>
                </c:pt>
                <c:pt idx="581">
                  <c:v>40997</c:v>
                </c:pt>
                <c:pt idx="582">
                  <c:v>40998</c:v>
                </c:pt>
                <c:pt idx="583">
                  <c:v>41001</c:v>
                </c:pt>
                <c:pt idx="584">
                  <c:v>41002</c:v>
                </c:pt>
                <c:pt idx="585">
                  <c:v>41003</c:v>
                </c:pt>
                <c:pt idx="586">
                  <c:v>41004</c:v>
                </c:pt>
                <c:pt idx="587">
                  <c:v>41009</c:v>
                </c:pt>
                <c:pt idx="588">
                  <c:v>41010</c:v>
                </c:pt>
                <c:pt idx="589">
                  <c:v>41011</c:v>
                </c:pt>
                <c:pt idx="590">
                  <c:v>41012</c:v>
                </c:pt>
                <c:pt idx="591">
                  <c:v>41015</c:v>
                </c:pt>
                <c:pt idx="592">
                  <c:v>41016</c:v>
                </c:pt>
                <c:pt idx="593">
                  <c:v>41017</c:v>
                </c:pt>
                <c:pt idx="594">
                  <c:v>41018</c:v>
                </c:pt>
                <c:pt idx="595">
                  <c:v>41019</c:v>
                </c:pt>
                <c:pt idx="596">
                  <c:v>41022</c:v>
                </c:pt>
                <c:pt idx="597">
                  <c:v>41023</c:v>
                </c:pt>
                <c:pt idx="598">
                  <c:v>41024</c:v>
                </c:pt>
                <c:pt idx="599">
                  <c:v>41025</c:v>
                </c:pt>
                <c:pt idx="600">
                  <c:v>41026</c:v>
                </c:pt>
                <c:pt idx="601">
                  <c:v>41029</c:v>
                </c:pt>
                <c:pt idx="602">
                  <c:v>41030</c:v>
                </c:pt>
                <c:pt idx="603">
                  <c:v>41031</c:v>
                </c:pt>
                <c:pt idx="604">
                  <c:v>41032</c:v>
                </c:pt>
                <c:pt idx="605">
                  <c:v>41033</c:v>
                </c:pt>
                <c:pt idx="606">
                  <c:v>41036</c:v>
                </c:pt>
                <c:pt idx="607">
                  <c:v>41037</c:v>
                </c:pt>
                <c:pt idx="608">
                  <c:v>41038</c:v>
                </c:pt>
                <c:pt idx="609">
                  <c:v>41039</c:v>
                </c:pt>
                <c:pt idx="610">
                  <c:v>41040</c:v>
                </c:pt>
                <c:pt idx="611">
                  <c:v>41043</c:v>
                </c:pt>
                <c:pt idx="612">
                  <c:v>41044</c:v>
                </c:pt>
                <c:pt idx="613">
                  <c:v>41045</c:v>
                </c:pt>
                <c:pt idx="614">
                  <c:v>41046</c:v>
                </c:pt>
                <c:pt idx="615">
                  <c:v>41047</c:v>
                </c:pt>
                <c:pt idx="616">
                  <c:v>41050</c:v>
                </c:pt>
                <c:pt idx="617">
                  <c:v>41051</c:v>
                </c:pt>
                <c:pt idx="618">
                  <c:v>41052</c:v>
                </c:pt>
                <c:pt idx="619">
                  <c:v>41053</c:v>
                </c:pt>
                <c:pt idx="620">
                  <c:v>41054</c:v>
                </c:pt>
                <c:pt idx="621">
                  <c:v>41057</c:v>
                </c:pt>
                <c:pt idx="622">
                  <c:v>41058</c:v>
                </c:pt>
                <c:pt idx="623">
                  <c:v>41059</c:v>
                </c:pt>
                <c:pt idx="624">
                  <c:v>41060</c:v>
                </c:pt>
                <c:pt idx="625">
                  <c:v>41061</c:v>
                </c:pt>
                <c:pt idx="626">
                  <c:v>41064</c:v>
                </c:pt>
                <c:pt idx="627">
                  <c:v>41065</c:v>
                </c:pt>
                <c:pt idx="628">
                  <c:v>41066</c:v>
                </c:pt>
                <c:pt idx="629">
                  <c:v>41067</c:v>
                </c:pt>
                <c:pt idx="630">
                  <c:v>41068</c:v>
                </c:pt>
                <c:pt idx="631">
                  <c:v>41071</c:v>
                </c:pt>
                <c:pt idx="632">
                  <c:v>41072</c:v>
                </c:pt>
                <c:pt idx="633">
                  <c:v>41073</c:v>
                </c:pt>
                <c:pt idx="634">
                  <c:v>41074</c:v>
                </c:pt>
                <c:pt idx="635">
                  <c:v>41075</c:v>
                </c:pt>
                <c:pt idx="636">
                  <c:v>41078</c:v>
                </c:pt>
                <c:pt idx="637">
                  <c:v>41079</c:v>
                </c:pt>
                <c:pt idx="638">
                  <c:v>41080</c:v>
                </c:pt>
                <c:pt idx="639">
                  <c:v>41081</c:v>
                </c:pt>
                <c:pt idx="640">
                  <c:v>41082</c:v>
                </c:pt>
                <c:pt idx="641">
                  <c:v>41085</c:v>
                </c:pt>
                <c:pt idx="642">
                  <c:v>41086</c:v>
                </c:pt>
                <c:pt idx="643">
                  <c:v>41087</c:v>
                </c:pt>
                <c:pt idx="644">
                  <c:v>41088</c:v>
                </c:pt>
                <c:pt idx="645">
                  <c:v>41089</c:v>
                </c:pt>
                <c:pt idx="646">
                  <c:v>41092</c:v>
                </c:pt>
                <c:pt idx="647">
                  <c:v>41093</c:v>
                </c:pt>
                <c:pt idx="648">
                  <c:v>41094</c:v>
                </c:pt>
                <c:pt idx="649">
                  <c:v>41095</c:v>
                </c:pt>
                <c:pt idx="650">
                  <c:v>41096</c:v>
                </c:pt>
                <c:pt idx="651">
                  <c:v>41099</c:v>
                </c:pt>
                <c:pt idx="652">
                  <c:v>41100</c:v>
                </c:pt>
                <c:pt idx="653">
                  <c:v>41101</c:v>
                </c:pt>
                <c:pt idx="654">
                  <c:v>41102</c:v>
                </c:pt>
                <c:pt idx="655">
                  <c:v>41103</c:v>
                </c:pt>
                <c:pt idx="656">
                  <c:v>41106</c:v>
                </c:pt>
                <c:pt idx="657">
                  <c:v>41107</c:v>
                </c:pt>
                <c:pt idx="658">
                  <c:v>41108</c:v>
                </c:pt>
                <c:pt idx="659">
                  <c:v>41109</c:v>
                </c:pt>
                <c:pt idx="660">
                  <c:v>41110</c:v>
                </c:pt>
                <c:pt idx="661">
                  <c:v>41113</c:v>
                </c:pt>
                <c:pt idx="662">
                  <c:v>41114</c:v>
                </c:pt>
                <c:pt idx="663">
                  <c:v>41115</c:v>
                </c:pt>
                <c:pt idx="664">
                  <c:v>41116</c:v>
                </c:pt>
                <c:pt idx="665">
                  <c:v>41117</c:v>
                </c:pt>
                <c:pt idx="666">
                  <c:v>41120</c:v>
                </c:pt>
                <c:pt idx="667">
                  <c:v>41121</c:v>
                </c:pt>
                <c:pt idx="668">
                  <c:v>41122</c:v>
                </c:pt>
                <c:pt idx="669">
                  <c:v>41123</c:v>
                </c:pt>
                <c:pt idx="670">
                  <c:v>41124</c:v>
                </c:pt>
                <c:pt idx="671">
                  <c:v>41127</c:v>
                </c:pt>
                <c:pt idx="672">
                  <c:v>41128</c:v>
                </c:pt>
                <c:pt idx="673">
                  <c:v>41129</c:v>
                </c:pt>
                <c:pt idx="674">
                  <c:v>41130</c:v>
                </c:pt>
                <c:pt idx="675">
                  <c:v>41131</c:v>
                </c:pt>
                <c:pt idx="676">
                  <c:v>41134</c:v>
                </c:pt>
                <c:pt idx="677">
                  <c:v>41135</c:v>
                </c:pt>
                <c:pt idx="678">
                  <c:v>41136</c:v>
                </c:pt>
                <c:pt idx="679">
                  <c:v>41137</c:v>
                </c:pt>
                <c:pt idx="680">
                  <c:v>41138</c:v>
                </c:pt>
                <c:pt idx="681">
                  <c:v>41141</c:v>
                </c:pt>
                <c:pt idx="682">
                  <c:v>41142</c:v>
                </c:pt>
                <c:pt idx="683">
                  <c:v>41143</c:v>
                </c:pt>
                <c:pt idx="684">
                  <c:v>41144</c:v>
                </c:pt>
                <c:pt idx="685">
                  <c:v>41145</c:v>
                </c:pt>
                <c:pt idx="686">
                  <c:v>41148</c:v>
                </c:pt>
                <c:pt idx="687">
                  <c:v>41149</c:v>
                </c:pt>
                <c:pt idx="688">
                  <c:v>41150</c:v>
                </c:pt>
                <c:pt idx="689">
                  <c:v>41151</c:v>
                </c:pt>
                <c:pt idx="690">
                  <c:v>41152</c:v>
                </c:pt>
                <c:pt idx="691">
                  <c:v>41155</c:v>
                </c:pt>
                <c:pt idx="692">
                  <c:v>41156</c:v>
                </c:pt>
                <c:pt idx="693">
                  <c:v>41157</c:v>
                </c:pt>
                <c:pt idx="694">
                  <c:v>41158</c:v>
                </c:pt>
                <c:pt idx="695">
                  <c:v>41159</c:v>
                </c:pt>
                <c:pt idx="696">
                  <c:v>41162</c:v>
                </c:pt>
                <c:pt idx="697">
                  <c:v>41163</c:v>
                </c:pt>
                <c:pt idx="698">
                  <c:v>41164</c:v>
                </c:pt>
                <c:pt idx="699">
                  <c:v>41165</c:v>
                </c:pt>
                <c:pt idx="700">
                  <c:v>41166</c:v>
                </c:pt>
                <c:pt idx="701">
                  <c:v>41169</c:v>
                </c:pt>
                <c:pt idx="702">
                  <c:v>41170</c:v>
                </c:pt>
                <c:pt idx="703">
                  <c:v>41171</c:v>
                </c:pt>
                <c:pt idx="704">
                  <c:v>41172</c:v>
                </c:pt>
                <c:pt idx="705">
                  <c:v>41173</c:v>
                </c:pt>
                <c:pt idx="706">
                  <c:v>41176</c:v>
                </c:pt>
                <c:pt idx="707">
                  <c:v>41177</c:v>
                </c:pt>
                <c:pt idx="708">
                  <c:v>41178</c:v>
                </c:pt>
                <c:pt idx="709">
                  <c:v>41179</c:v>
                </c:pt>
                <c:pt idx="710">
                  <c:v>41180</c:v>
                </c:pt>
                <c:pt idx="711">
                  <c:v>41183</c:v>
                </c:pt>
                <c:pt idx="712">
                  <c:v>41184</c:v>
                </c:pt>
                <c:pt idx="713">
                  <c:v>41185</c:v>
                </c:pt>
                <c:pt idx="714">
                  <c:v>41186</c:v>
                </c:pt>
                <c:pt idx="715">
                  <c:v>41187</c:v>
                </c:pt>
                <c:pt idx="716">
                  <c:v>41190</c:v>
                </c:pt>
                <c:pt idx="717">
                  <c:v>41191</c:v>
                </c:pt>
                <c:pt idx="718">
                  <c:v>41192</c:v>
                </c:pt>
                <c:pt idx="719">
                  <c:v>41193</c:v>
                </c:pt>
                <c:pt idx="720">
                  <c:v>41194</c:v>
                </c:pt>
                <c:pt idx="721">
                  <c:v>41197</c:v>
                </c:pt>
                <c:pt idx="722">
                  <c:v>41198</c:v>
                </c:pt>
                <c:pt idx="723">
                  <c:v>41199</c:v>
                </c:pt>
                <c:pt idx="724">
                  <c:v>41200</c:v>
                </c:pt>
                <c:pt idx="725">
                  <c:v>41201</c:v>
                </c:pt>
                <c:pt idx="726">
                  <c:v>41204</c:v>
                </c:pt>
                <c:pt idx="727">
                  <c:v>41205</c:v>
                </c:pt>
                <c:pt idx="728">
                  <c:v>41206</c:v>
                </c:pt>
                <c:pt idx="729">
                  <c:v>41207</c:v>
                </c:pt>
                <c:pt idx="730">
                  <c:v>41208</c:v>
                </c:pt>
                <c:pt idx="731">
                  <c:v>41211</c:v>
                </c:pt>
                <c:pt idx="732">
                  <c:v>41212</c:v>
                </c:pt>
                <c:pt idx="733">
                  <c:v>41213</c:v>
                </c:pt>
                <c:pt idx="734">
                  <c:v>41214</c:v>
                </c:pt>
                <c:pt idx="735">
                  <c:v>41215</c:v>
                </c:pt>
                <c:pt idx="736">
                  <c:v>41218</c:v>
                </c:pt>
                <c:pt idx="737">
                  <c:v>41219</c:v>
                </c:pt>
                <c:pt idx="738">
                  <c:v>41220</c:v>
                </c:pt>
                <c:pt idx="739">
                  <c:v>41221</c:v>
                </c:pt>
                <c:pt idx="740">
                  <c:v>41222</c:v>
                </c:pt>
                <c:pt idx="741">
                  <c:v>41225</c:v>
                </c:pt>
                <c:pt idx="742">
                  <c:v>41226</c:v>
                </c:pt>
                <c:pt idx="743">
                  <c:v>41227</c:v>
                </c:pt>
                <c:pt idx="744">
                  <c:v>41228</c:v>
                </c:pt>
                <c:pt idx="745">
                  <c:v>41229</c:v>
                </c:pt>
                <c:pt idx="746">
                  <c:v>41232</c:v>
                </c:pt>
                <c:pt idx="747">
                  <c:v>41233</c:v>
                </c:pt>
                <c:pt idx="748">
                  <c:v>41234</c:v>
                </c:pt>
                <c:pt idx="749">
                  <c:v>41235</c:v>
                </c:pt>
                <c:pt idx="750">
                  <c:v>41236</c:v>
                </c:pt>
                <c:pt idx="751">
                  <c:v>41239</c:v>
                </c:pt>
                <c:pt idx="752">
                  <c:v>41240</c:v>
                </c:pt>
                <c:pt idx="753">
                  <c:v>41241</c:v>
                </c:pt>
                <c:pt idx="754">
                  <c:v>41242</c:v>
                </c:pt>
                <c:pt idx="755">
                  <c:v>41243</c:v>
                </c:pt>
                <c:pt idx="756">
                  <c:v>41246</c:v>
                </c:pt>
                <c:pt idx="757">
                  <c:v>41247</c:v>
                </c:pt>
                <c:pt idx="758">
                  <c:v>41248</c:v>
                </c:pt>
                <c:pt idx="759">
                  <c:v>41249</c:v>
                </c:pt>
                <c:pt idx="760">
                  <c:v>41250</c:v>
                </c:pt>
                <c:pt idx="761">
                  <c:v>41253</c:v>
                </c:pt>
                <c:pt idx="762">
                  <c:v>41254</c:v>
                </c:pt>
                <c:pt idx="763">
                  <c:v>41255</c:v>
                </c:pt>
                <c:pt idx="764">
                  <c:v>41256</c:v>
                </c:pt>
                <c:pt idx="765">
                  <c:v>41257</c:v>
                </c:pt>
                <c:pt idx="766">
                  <c:v>41260</c:v>
                </c:pt>
                <c:pt idx="767">
                  <c:v>41261</c:v>
                </c:pt>
                <c:pt idx="768">
                  <c:v>41262</c:v>
                </c:pt>
                <c:pt idx="769">
                  <c:v>41263</c:v>
                </c:pt>
                <c:pt idx="770">
                  <c:v>41264</c:v>
                </c:pt>
                <c:pt idx="771">
                  <c:v>41267</c:v>
                </c:pt>
                <c:pt idx="772">
                  <c:v>41270</c:v>
                </c:pt>
                <c:pt idx="773">
                  <c:v>41271</c:v>
                </c:pt>
                <c:pt idx="774">
                  <c:v>41274</c:v>
                </c:pt>
                <c:pt idx="775">
                  <c:v>41276</c:v>
                </c:pt>
                <c:pt idx="776">
                  <c:v>41277</c:v>
                </c:pt>
                <c:pt idx="777">
                  <c:v>41278</c:v>
                </c:pt>
                <c:pt idx="778">
                  <c:v>41281</c:v>
                </c:pt>
                <c:pt idx="779">
                  <c:v>41282</c:v>
                </c:pt>
                <c:pt idx="780">
                  <c:v>41283</c:v>
                </c:pt>
                <c:pt idx="781">
                  <c:v>41284</c:v>
                </c:pt>
                <c:pt idx="782">
                  <c:v>41285</c:v>
                </c:pt>
                <c:pt idx="783">
                  <c:v>41288</c:v>
                </c:pt>
                <c:pt idx="784">
                  <c:v>41289</c:v>
                </c:pt>
                <c:pt idx="785">
                  <c:v>41290</c:v>
                </c:pt>
                <c:pt idx="786">
                  <c:v>41291</c:v>
                </c:pt>
                <c:pt idx="787">
                  <c:v>41292</c:v>
                </c:pt>
                <c:pt idx="788">
                  <c:v>41295</c:v>
                </c:pt>
                <c:pt idx="789">
                  <c:v>41296</c:v>
                </c:pt>
                <c:pt idx="790">
                  <c:v>41297</c:v>
                </c:pt>
                <c:pt idx="791">
                  <c:v>41298</c:v>
                </c:pt>
                <c:pt idx="792">
                  <c:v>41299</c:v>
                </c:pt>
                <c:pt idx="793">
                  <c:v>41302</c:v>
                </c:pt>
                <c:pt idx="794">
                  <c:v>41303</c:v>
                </c:pt>
                <c:pt idx="795">
                  <c:v>41304</c:v>
                </c:pt>
                <c:pt idx="796">
                  <c:v>41305</c:v>
                </c:pt>
                <c:pt idx="797">
                  <c:v>41306</c:v>
                </c:pt>
                <c:pt idx="798">
                  <c:v>41309</c:v>
                </c:pt>
                <c:pt idx="799">
                  <c:v>41310</c:v>
                </c:pt>
                <c:pt idx="800">
                  <c:v>41311</c:v>
                </c:pt>
                <c:pt idx="801">
                  <c:v>41312</c:v>
                </c:pt>
                <c:pt idx="802">
                  <c:v>41313</c:v>
                </c:pt>
                <c:pt idx="803">
                  <c:v>41316</c:v>
                </c:pt>
                <c:pt idx="804">
                  <c:v>41317</c:v>
                </c:pt>
                <c:pt idx="805">
                  <c:v>41318</c:v>
                </c:pt>
                <c:pt idx="806">
                  <c:v>41319</c:v>
                </c:pt>
                <c:pt idx="807">
                  <c:v>41320</c:v>
                </c:pt>
                <c:pt idx="808">
                  <c:v>41323</c:v>
                </c:pt>
                <c:pt idx="809">
                  <c:v>41324</c:v>
                </c:pt>
                <c:pt idx="810">
                  <c:v>41325</c:v>
                </c:pt>
                <c:pt idx="811">
                  <c:v>41326</c:v>
                </c:pt>
                <c:pt idx="812">
                  <c:v>41327</c:v>
                </c:pt>
                <c:pt idx="813">
                  <c:v>41330</c:v>
                </c:pt>
                <c:pt idx="814">
                  <c:v>41331</c:v>
                </c:pt>
                <c:pt idx="815">
                  <c:v>41332</c:v>
                </c:pt>
                <c:pt idx="816">
                  <c:v>41333</c:v>
                </c:pt>
                <c:pt idx="817">
                  <c:v>41334</c:v>
                </c:pt>
                <c:pt idx="818">
                  <c:v>41337</c:v>
                </c:pt>
                <c:pt idx="819">
                  <c:v>41338</c:v>
                </c:pt>
                <c:pt idx="820">
                  <c:v>41339</c:v>
                </c:pt>
                <c:pt idx="821">
                  <c:v>41340</c:v>
                </c:pt>
                <c:pt idx="822">
                  <c:v>41341</c:v>
                </c:pt>
                <c:pt idx="823">
                  <c:v>41344</c:v>
                </c:pt>
                <c:pt idx="824">
                  <c:v>41345</c:v>
                </c:pt>
                <c:pt idx="825">
                  <c:v>41346</c:v>
                </c:pt>
                <c:pt idx="826">
                  <c:v>41347</c:v>
                </c:pt>
                <c:pt idx="827">
                  <c:v>41348</c:v>
                </c:pt>
                <c:pt idx="828">
                  <c:v>41351</c:v>
                </c:pt>
                <c:pt idx="829">
                  <c:v>41352</c:v>
                </c:pt>
                <c:pt idx="830">
                  <c:v>41353</c:v>
                </c:pt>
                <c:pt idx="831">
                  <c:v>41354</c:v>
                </c:pt>
                <c:pt idx="832">
                  <c:v>41355</c:v>
                </c:pt>
                <c:pt idx="833">
                  <c:v>41358</c:v>
                </c:pt>
                <c:pt idx="834">
                  <c:v>41359</c:v>
                </c:pt>
                <c:pt idx="835">
                  <c:v>41360</c:v>
                </c:pt>
                <c:pt idx="836">
                  <c:v>41361</c:v>
                </c:pt>
                <c:pt idx="837">
                  <c:v>41366</c:v>
                </c:pt>
                <c:pt idx="838">
                  <c:v>41367</c:v>
                </c:pt>
                <c:pt idx="839">
                  <c:v>41368</c:v>
                </c:pt>
                <c:pt idx="840">
                  <c:v>41369</c:v>
                </c:pt>
                <c:pt idx="841">
                  <c:v>41372</c:v>
                </c:pt>
                <c:pt idx="842">
                  <c:v>41373</c:v>
                </c:pt>
                <c:pt idx="843">
                  <c:v>41374</c:v>
                </c:pt>
                <c:pt idx="844">
                  <c:v>41375</c:v>
                </c:pt>
                <c:pt idx="845">
                  <c:v>41376</c:v>
                </c:pt>
                <c:pt idx="846">
                  <c:v>41379</c:v>
                </c:pt>
                <c:pt idx="847">
                  <c:v>41380</c:v>
                </c:pt>
                <c:pt idx="848">
                  <c:v>41381</c:v>
                </c:pt>
                <c:pt idx="849">
                  <c:v>41382</c:v>
                </c:pt>
                <c:pt idx="850">
                  <c:v>41383</c:v>
                </c:pt>
                <c:pt idx="851">
                  <c:v>41386</c:v>
                </c:pt>
                <c:pt idx="852">
                  <c:v>41387</c:v>
                </c:pt>
                <c:pt idx="853">
                  <c:v>41388</c:v>
                </c:pt>
                <c:pt idx="854">
                  <c:v>41389</c:v>
                </c:pt>
                <c:pt idx="855">
                  <c:v>41390</c:v>
                </c:pt>
                <c:pt idx="856">
                  <c:v>41393</c:v>
                </c:pt>
                <c:pt idx="857">
                  <c:v>41394</c:v>
                </c:pt>
                <c:pt idx="858">
                  <c:v>41395</c:v>
                </c:pt>
                <c:pt idx="859">
                  <c:v>41396</c:v>
                </c:pt>
                <c:pt idx="860">
                  <c:v>41397</c:v>
                </c:pt>
                <c:pt idx="861">
                  <c:v>41400</c:v>
                </c:pt>
                <c:pt idx="862">
                  <c:v>41401</c:v>
                </c:pt>
                <c:pt idx="863">
                  <c:v>41402</c:v>
                </c:pt>
                <c:pt idx="864">
                  <c:v>41403</c:v>
                </c:pt>
                <c:pt idx="865">
                  <c:v>41404</c:v>
                </c:pt>
                <c:pt idx="866">
                  <c:v>41407</c:v>
                </c:pt>
                <c:pt idx="867">
                  <c:v>41408</c:v>
                </c:pt>
                <c:pt idx="868">
                  <c:v>41409</c:v>
                </c:pt>
                <c:pt idx="869">
                  <c:v>41410</c:v>
                </c:pt>
                <c:pt idx="870">
                  <c:v>41411</c:v>
                </c:pt>
                <c:pt idx="871">
                  <c:v>41414</c:v>
                </c:pt>
                <c:pt idx="872">
                  <c:v>41415</c:v>
                </c:pt>
                <c:pt idx="873">
                  <c:v>41416</c:v>
                </c:pt>
                <c:pt idx="874">
                  <c:v>41417</c:v>
                </c:pt>
                <c:pt idx="875">
                  <c:v>41418</c:v>
                </c:pt>
                <c:pt idx="876">
                  <c:v>41421</c:v>
                </c:pt>
                <c:pt idx="877">
                  <c:v>41422</c:v>
                </c:pt>
                <c:pt idx="878">
                  <c:v>41423</c:v>
                </c:pt>
                <c:pt idx="879">
                  <c:v>41424</c:v>
                </c:pt>
                <c:pt idx="880">
                  <c:v>41425</c:v>
                </c:pt>
                <c:pt idx="881">
                  <c:v>41428</c:v>
                </c:pt>
                <c:pt idx="882">
                  <c:v>41429</c:v>
                </c:pt>
                <c:pt idx="883">
                  <c:v>41430</c:v>
                </c:pt>
                <c:pt idx="884">
                  <c:v>41431</c:v>
                </c:pt>
                <c:pt idx="885">
                  <c:v>41432</c:v>
                </c:pt>
                <c:pt idx="886">
                  <c:v>41435</c:v>
                </c:pt>
                <c:pt idx="887">
                  <c:v>41436</c:v>
                </c:pt>
                <c:pt idx="888">
                  <c:v>41437</c:v>
                </c:pt>
                <c:pt idx="889">
                  <c:v>41438</c:v>
                </c:pt>
                <c:pt idx="890">
                  <c:v>41439</c:v>
                </c:pt>
                <c:pt idx="891">
                  <c:v>41442</c:v>
                </c:pt>
                <c:pt idx="892">
                  <c:v>41443</c:v>
                </c:pt>
                <c:pt idx="893">
                  <c:v>41444</c:v>
                </c:pt>
                <c:pt idx="894">
                  <c:v>41445</c:v>
                </c:pt>
                <c:pt idx="895">
                  <c:v>41446</c:v>
                </c:pt>
                <c:pt idx="896">
                  <c:v>41449</c:v>
                </c:pt>
                <c:pt idx="897">
                  <c:v>41450</c:v>
                </c:pt>
                <c:pt idx="898">
                  <c:v>41451</c:v>
                </c:pt>
                <c:pt idx="899">
                  <c:v>41452</c:v>
                </c:pt>
                <c:pt idx="900">
                  <c:v>41453</c:v>
                </c:pt>
                <c:pt idx="901">
                  <c:v>41456</c:v>
                </c:pt>
                <c:pt idx="902">
                  <c:v>41457</c:v>
                </c:pt>
                <c:pt idx="903">
                  <c:v>41458</c:v>
                </c:pt>
                <c:pt idx="904">
                  <c:v>41459</c:v>
                </c:pt>
                <c:pt idx="905">
                  <c:v>41460</c:v>
                </c:pt>
                <c:pt idx="906">
                  <c:v>41463</c:v>
                </c:pt>
                <c:pt idx="907">
                  <c:v>41464</c:v>
                </c:pt>
                <c:pt idx="908">
                  <c:v>41465</c:v>
                </c:pt>
                <c:pt idx="909">
                  <c:v>41466</c:v>
                </c:pt>
                <c:pt idx="910">
                  <c:v>41467</c:v>
                </c:pt>
                <c:pt idx="911">
                  <c:v>41470</c:v>
                </c:pt>
                <c:pt idx="912">
                  <c:v>41471</c:v>
                </c:pt>
                <c:pt idx="913">
                  <c:v>41472</c:v>
                </c:pt>
                <c:pt idx="914">
                  <c:v>41473</c:v>
                </c:pt>
                <c:pt idx="915">
                  <c:v>41474</c:v>
                </c:pt>
                <c:pt idx="916">
                  <c:v>41477</c:v>
                </c:pt>
                <c:pt idx="917">
                  <c:v>41478</c:v>
                </c:pt>
                <c:pt idx="918">
                  <c:v>41479</c:v>
                </c:pt>
                <c:pt idx="919">
                  <c:v>41480</c:v>
                </c:pt>
                <c:pt idx="920">
                  <c:v>41481</c:v>
                </c:pt>
                <c:pt idx="921">
                  <c:v>41484</c:v>
                </c:pt>
                <c:pt idx="922">
                  <c:v>41485</c:v>
                </c:pt>
                <c:pt idx="923">
                  <c:v>41486</c:v>
                </c:pt>
                <c:pt idx="924">
                  <c:v>41487</c:v>
                </c:pt>
                <c:pt idx="925">
                  <c:v>41488</c:v>
                </c:pt>
                <c:pt idx="926">
                  <c:v>41491</c:v>
                </c:pt>
                <c:pt idx="927">
                  <c:v>41492</c:v>
                </c:pt>
                <c:pt idx="928">
                  <c:v>41493</c:v>
                </c:pt>
                <c:pt idx="929">
                  <c:v>41494</c:v>
                </c:pt>
                <c:pt idx="930">
                  <c:v>41495</c:v>
                </c:pt>
                <c:pt idx="931">
                  <c:v>41498</c:v>
                </c:pt>
                <c:pt idx="932">
                  <c:v>41499</c:v>
                </c:pt>
                <c:pt idx="933">
                  <c:v>41500</c:v>
                </c:pt>
                <c:pt idx="934">
                  <c:v>41501</c:v>
                </c:pt>
                <c:pt idx="935">
                  <c:v>41502</c:v>
                </c:pt>
                <c:pt idx="936">
                  <c:v>41505</c:v>
                </c:pt>
                <c:pt idx="937">
                  <c:v>41506</c:v>
                </c:pt>
                <c:pt idx="938">
                  <c:v>41507</c:v>
                </c:pt>
                <c:pt idx="939">
                  <c:v>41508</c:v>
                </c:pt>
                <c:pt idx="940">
                  <c:v>41509</c:v>
                </c:pt>
                <c:pt idx="941">
                  <c:v>41512</c:v>
                </c:pt>
                <c:pt idx="942">
                  <c:v>41513</c:v>
                </c:pt>
                <c:pt idx="943">
                  <c:v>41514</c:v>
                </c:pt>
                <c:pt idx="944">
                  <c:v>41515</c:v>
                </c:pt>
                <c:pt idx="945">
                  <c:v>41516</c:v>
                </c:pt>
                <c:pt idx="946">
                  <c:v>41519</c:v>
                </c:pt>
                <c:pt idx="947">
                  <c:v>41520</c:v>
                </c:pt>
                <c:pt idx="948">
                  <c:v>41521</c:v>
                </c:pt>
                <c:pt idx="949">
                  <c:v>41522</c:v>
                </c:pt>
                <c:pt idx="950">
                  <c:v>41523</c:v>
                </c:pt>
                <c:pt idx="951">
                  <c:v>41526</c:v>
                </c:pt>
                <c:pt idx="952">
                  <c:v>41527</c:v>
                </c:pt>
                <c:pt idx="953">
                  <c:v>41528</c:v>
                </c:pt>
                <c:pt idx="954">
                  <c:v>41529</c:v>
                </c:pt>
                <c:pt idx="955">
                  <c:v>41530</c:v>
                </c:pt>
                <c:pt idx="956">
                  <c:v>41533</c:v>
                </c:pt>
                <c:pt idx="957">
                  <c:v>41534</c:v>
                </c:pt>
                <c:pt idx="958">
                  <c:v>41535</c:v>
                </c:pt>
                <c:pt idx="959">
                  <c:v>41536</c:v>
                </c:pt>
                <c:pt idx="960">
                  <c:v>41537</c:v>
                </c:pt>
                <c:pt idx="961">
                  <c:v>41540</c:v>
                </c:pt>
                <c:pt idx="962">
                  <c:v>41541</c:v>
                </c:pt>
                <c:pt idx="963">
                  <c:v>41542</c:v>
                </c:pt>
                <c:pt idx="964">
                  <c:v>41543</c:v>
                </c:pt>
                <c:pt idx="965">
                  <c:v>41544</c:v>
                </c:pt>
                <c:pt idx="966">
                  <c:v>41547</c:v>
                </c:pt>
                <c:pt idx="967">
                  <c:v>41548</c:v>
                </c:pt>
                <c:pt idx="968">
                  <c:v>41549</c:v>
                </c:pt>
                <c:pt idx="969">
                  <c:v>41550</c:v>
                </c:pt>
                <c:pt idx="970">
                  <c:v>41551</c:v>
                </c:pt>
                <c:pt idx="971">
                  <c:v>41554</c:v>
                </c:pt>
                <c:pt idx="972">
                  <c:v>41555</c:v>
                </c:pt>
                <c:pt idx="973">
                  <c:v>41556</c:v>
                </c:pt>
                <c:pt idx="974">
                  <c:v>41557</c:v>
                </c:pt>
                <c:pt idx="975">
                  <c:v>41558</c:v>
                </c:pt>
                <c:pt idx="976">
                  <c:v>41561</c:v>
                </c:pt>
                <c:pt idx="977">
                  <c:v>41562</c:v>
                </c:pt>
                <c:pt idx="978">
                  <c:v>41563</c:v>
                </c:pt>
                <c:pt idx="979">
                  <c:v>41564</c:v>
                </c:pt>
                <c:pt idx="980">
                  <c:v>41565</c:v>
                </c:pt>
                <c:pt idx="981">
                  <c:v>41568</c:v>
                </c:pt>
                <c:pt idx="982">
                  <c:v>41569</c:v>
                </c:pt>
                <c:pt idx="983">
                  <c:v>41570</c:v>
                </c:pt>
                <c:pt idx="984">
                  <c:v>41571</c:v>
                </c:pt>
                <c:pt idx="985">
                  <c:v>41572</c:v>
                </c:pt>
                <c:pt idx="986">
                  <c:v>41575</c:v>
                </c:pt>
                <c:pt idx="987">
                  <c:v>41576</c:v>
                </c:pt>
                <c:pt idx="988">
                  <c:v>41577</c:v>
                </c:pt>
                <c:pt idx="989">
                  <c:v>41578</c:v>
                </c:pt>
                <c:pt idx="990">
                  <c:v>41579</c:v>
                </c:pt>
                <c:pt idx="991">
                  <c:v>41582</c:v>
                </c:pt>
                <c:pt idx="992">
                  <c:v>41583</c:v>
                </c:pt>
                <c:pt idx="993">
                  <c:v>41584</c:v>
                </c:pt>
                <c:pt idx="994">
                  <c:v>41585</c:v>
                </c:pt>
                <c:pt idx="995">
                  <c:v>41586</c:v>
                </c:pt>
                <c:pt idx="996">
                  <c:v>41589</c:v>
                </c:pt>
                <c:pt idx="997">
                  <c:v>41590</c:v>
                </c:pt>
                <c:pt idx="998">
                  <c:v>41591</c:v>
                </c:pt>
                <c:pt idx="999">
                  <c:v>41592</c:v>
                </c:pt>
                <c:pt idx="1000">
                  <c:v>41593</c:v>
                </c:pt>
                <c:pt idx="1001">
                  <c:v>41596</c:v>
                </c:pt>
                <c:pt idx="1002">
                  <c:v>41597</c:v>
                </c:pt>
                <c:pt idx="1003">
                  <c:v>41598</c:v>
                </c:pt>
                <c:pt idx="1004">
                  <c:v>41599</c:v>
                </c:pt>
                <c:pt idx="1005">
                  <c:v>41600</c:v>
                </c:pt>
                <c:pt idx="1006">
                  <c:v>41603</c:v>
                </c:pt>
                <c:pt idx="1007">
                  <c:v>41604</c:v>
                </c:pt>
                <c:pt idx="1008">
                  <c:v>41605</c:v>
                </c:pt>
                <c:pt idx="1009">
                  <c:v>41606</c:v>
                </c:pt>
                <c:pt idx="1010">
                  <c:v>41607</c:v>
                </c:pt>
                <c:pt idx="1011">
                  <c:v>41610</c:v>
                </c:pt>
                <c:pt idx="1012">
                  <c:v>41611</c:v>
                </c:pt>
                <c:pt idx="1013">
                  <c:v>41612</c:v>
                </c:pt>
                <c:pt idx="1014">
                  <c:v>41613</c:v>
                </c:pt>
                <c:pt idx="1015">
                  <c:v>41614</c:v>
                </c:pt>
                <c:pt idx="1016">
                  <c:v>41617</c:v>
                </c:pt>
                <c:pt idx="1017">
                  <c:v>41618</c:v>
                </c:pt>
                <c:pt idx="1018">
                  <c:v>41619</c:v>
                </c:pt>
                <c:pt idx="1019">
                  <c:v>41620</c:v>
                </c:pt>
                <c:pt idx="1020">
                  <c:v>41621</c:v>
                </c:pt>
                <c:pt idx="1021">
                  <c:v>41624</c:v>
                </c:pt>
                <c:pt idx="1022">
                  <c:v>41625</c:v>
                </c:pt>
                <c:pt idx="1023">
                  <c:v>41626</c:v>
                </c:pt>
                <c:pt idx="1024">
                  <c:v>41627</c:v>
                </c:pt>
                <c:pt idx="1025">
                  <c:v>41628</c:v>
                </c:pt>
                <c:pt idx="1026">
                  <c:v>41631</c:v>
                </c:pt>
                <c:pt idx="1027">
                  <c:v>41632</c:v>
                </c:pt>
                <c:pt idx="1028">
                  <c:v>41635</c:v>
                </c:pt>
                <c:pt idx="1029">
                  <c:v>41638</c:v>
                </c:pt>
                <c:pt idx="1030">
                  <c:v>41639</c:v>
                </c:pt>
                <c:pt idx="1031">
                  <c:v>41641</c:v>
                </c:pt>
                <c:pt idx="1032">
                  <c:v>41642</c:v>
                </c:pt>
                <c:pt idx="1033">
                  <c:v>41645</c:v>
                </c:pt>
                <c:pt idx="1034">
                  <c:v>41646</c:v>
                </c:pt>
                <c:pt idx="1035">
                  <c:v>41647</c:v>
                </c:pt>
                <c:pt idx="1036">
                  <c:v>41648</c:v>
                </c:pt>
                <c:pt idx="1037">
                  <c:v>41649</c:v>
                </c:pt>
                <c:pt idx="1038">
                  <c:v>41652</c:v>
                </c:pt>
                <c:pt idx="1039">
                  <c:v>41653</c:v>
                </c:pt>
                <c:pt idx="1040">
                  <c:v>41654</c:v>
                </c:pt>
                <c:pt idx="1041">
                  <c:v>41655</c:v>
                </c:pt>
                <c:pt idx="1042">
                  <c:v>41656</c:v>
                </c:pt>
                <c:pt idx="1043">
                  <c:v>41659</c:v>
                </c:pt>
                <c:pt idx="1044">
                  <c:v>41660</c:v>
                </c:pt>
                <c:pt idx="1045">
                  <c:v>41661</c:v>
                </c:pt>
                <c:pt idx="1046">
                  <c:v>41662</c:v>
                </c:pt>
                <c:pt idx="1047">
                  <c:v>41663</c:v>
                </c:pt>
                <c:pt idx="1048">
                  <c:v>41666</c:v>
                </c:pt>
                <c:pt idx="1049">
                  <c:v>41667</c:v>
                </c:pt>
                <c:pt idx="1050">
                  <c:v>41668</c:v>
                </c:pt>
                <c:pt idx="1051">
                  <c:v>41669</c:v>
                </c:pt>
                <c:pt idx="1052">
                  <c:v>41670</c:v>
                </c:pt>
                <c:pt idx="1053">
                  <c:v>41673</c:v>
                </c:pt>
                <c:pt idx="1054">
                  <c:v>41674</c:v>
                </c:pt>
                <c:pt idx="1055">
                  <c:v>41675</c:v>
                </c:pt>
                <c:pt idx="1056">
                  <c:v>41676</c:v>
                </c:pt>
                <c:pt idx="1057">
                  <c:v>41677</c:v>
                </c:pt>
                <c:pt idx="1058">
                  <c:v>41680</c:v>
                </c:pt>
                <c:pt idx="1059">
                  <c:v>41681</c:v>
                </c:pt>
                <c:pt idx="1060">
                  <c:v>41682</c:v>
                </c:pt>
                <c:pt idx="1061">
                  <c:v>41683</c:v>
                </c:pt>
                <c:pt idx="1062">
                  <c:v>41684</c:v>
                </c:pt>
                <c:pt idx="1063">
                  <c:v>41687</c:v>
                </c:pt>
                <c:pt idx="1064">
                  <c:v>41688</c:v>
                </c:pt>
                <c:pt idx="1065">
                  <c:v>41689</c:v>
                </c:pt>
                <c:pt idx="1066">
                  <c:v>41690</c:v>
                </c:pt>
                <c:pt idx="1067">
                  <c:v>41691</c:v>
                </c:pt>
                <c:pt idx="1068">
                  <c:v>41694</c:v>
                </c:pt>
                <c:pt idx="1069">
                  <c:v>41695</c:v>
                </c:pt>
                <c:pt idx="1070">
                  <c:v>41696</c:v>
                </c:pt>
                <c:pt idx="1071">
                  <c:v>41697</c:v>
                </c:pt>
                <c:pt idx="1072">
                  <c:v>41698</c:v>
                </c:pt>
                <c:pt idx="1073">
                  <c:v>41701</c:v>
                </c:pt>
                <c:pt idx="1074">
                  <c:v>41702</c:v>
                </c:pt>
                <c:pt idx="1075">
                  <c:v>41703</c:v>
                </c:pt>
                <c:pt idx="1076">
                  <c:v>41704</c:v>
                </c:pt>
                <c:pt idx="1077">
                  <c:v>41705</c:v>
                </c:pt>
                <c:pt idx="1078">
                  <c:v>41708</c:v>
                </c:pt>
                <c:pt idx="1079">
                  <c:v>41709</c:v>
                </c:pt>
                <c:pt idx="1080">
                  <c:v>41710</c:v>
                </c:pt>
                <c:pt idx="1081">
                  <c:v>41711</c:v>
                </c:pt>
                <c:pt idx="1082">
                  <c:v>41712</c:v>
                </c:pt>
                <c:pt idx="1083">
                  <c:v>41715</c:v>
                </c:pt>
                <c:pt idx="1084">
                  <c:v>41716</c:v>
                </c:pt>
                <c:pt idx="1085">
                  <c:v>41717</c:v>
                </c:pt>
                <c:pt idx="1086">
                  <c:v>41718</c:v>
                </c:pt>
                <c:pt idx="1087">
                  <c:v>41719</c:v>
                </c:pt>
                <c:pt idx="1088">
                  <c:v>41722</c:v>
                </c:pt>
                <c:pt idx="1089">
                  <c:v>41723</c:v>
                </c:pt>
                <c:pt idx="1090">
                  <c:v>41724</c:v>
                </c:pt>
                <c:pt idx="1091">
                  <c:v>41725</c:v>
                </c:pt>
                <c:pt idx="1092">
                  <c:v>41726</c:v>
                </c:pt>
                <c:pt idx="1093">
                  <c:v>41729</c:v>
                </c:pt>
                <c:pt idx="1094">
                  <c:v>41730</c:v>
                </c:pt>
                <c:pt idx="1095">
                  <c:v>41731</c:v>
                </c:pt>
                <c:pt idx="1096">
                  <c:v>41732</c:v>
                </c:pt>
                <c:pt idx="1097">
                  <c:v>41733</c:v>
                </c:pt>
                <c:pt idx="1098">
                  <c:v>41736</c:v>
                </c:pt>
                <c:pt idx="1099">
                  <c:v>41737</c:v>
                </c:pt>
                <c:pt idx="1100">
                  <c:v>41738</c:v>
                </c:pt>
                <c:pt idx="1101">
                  <c:v>41739</c:v>
                </c:pt>
                <c:pt idx="1102">
                  <c:v>41740</c:v>
                </c:pt>
                <c:pt idx="1103">
                  <c:v>41743</c:v>
                </c:pt>
                <c:pt idx="1104">
                  <c:v>41744</c:v>
                </c:pt>
                <c:pt idx="1105">
                  <c:v>41745</c:v>
                </c:pt>
                <c:pt idx="1106">
                  <c:v>41746</c:v>
                </c:pt>
                <c:pt idx="1107">
                  <c:v>41751</c:v>
                </c:pt>
                <c:pt idx="1108">
                  <c:v>41752</c:v>
                </c:pt>
                <c:pt idx="1109">
                  <c:v>41753</c:v>
                </c:pt>
                <c:pt idx="1110">
                  <c:v>41754</c:v>
                </c:pt>
                <c:pt idx="1111">
                  <c:v>41757</c:v>
                </c:pt>
                <c:pt idx="1112">
                  <c:v>41758</c:v>
                </c:pt>
                <c:pt idx="1113">
                  <c:v>41759</c:v>
                </c:pt>
                <c:pt idx="1114">
                  <c:v>41760</c:v>
                </c:pt>
                <c:pt idx="1115">
                  <c:v>41761</c:v>
                </c:pt>
                <c:pt idx="1116">
                  <c:v>41764</c:v>
                </c:pt>
                <c:pt idx="1117">
                  <c:v>41765</c:v>
                </c:pt>
                <c:pt idx="1118">
                  <c:v>41766</c:v>
                </c:pt>
                <c:pt idx="1119">
                  <c:v>41767</c:v>
                </c:pt>
                <c:pt idx="1120">
                  <c:v>41768</c:v>
                </c:pt>
                <c:pt idx="1121">
                  <c:v>41771</c:v>
                </c:pt>
                <c:pt idx="1122">
                  <c:v>41772</c:v>
                </c:pt>
                <c:pt idx="1123">
                  <c:v>41773</c:v>
                </c:pt>
                <c:pt idx="1124">
                  <c:v>41774</c:v>
                </c:pt>
                <c:pt idx="1125">
                  <c:v>41775</c:v>
                </c:pt>
                <c:pt idx="1126">
                  <c:v>41778</c:v>
                </c:pt>
                <c:pt idx="1127">
                  <c:v>41779</c:v>
                </c:pt>
                <c:pt idx="1128">
                  <c:v>41780</c:v>
                </c:pt>
                <c:pt idx="1129">
                  <c:v>41781</c:v>
                </c:pt>
                <c:pt idx="1130">
                  <c:v>41782</c:v>
                </c:pt>
                <c:pt idx="1131">
                  <c:v>41785</c:v>
                </c:pt>
                <c:pt idx="1132">
                  <c:v>41786</c:v>
                </c:pt>
                <c:pt idx="1133">
                  <c:v>41787</c:v>
                </c:pt>
                <c:pt idx="1134">
                  <c:v>41788</c:v>
                </c:pt>
                <c:pt idx="1135">
                  <c:v>41789</c:v>
                </c:pt>
                <c:pt idx="1136">
                  <c:v>41792</c:v>
                </c:pt>
                <c:pt idx="1137">
                  <c:v>41793</c:v>
                </c:pt>
                <c:pt idx="1138">
                  <c:v>41794</c:v>
                </c:pt>
                <c:pt idx="1139">
                  <c:v>41795</c:v>
                </c:pt>
                <c:pt idx="1140">
                  <c:v>41796</c:v>
                </c:pt>
                <c:pt idx="1141">
                  <c:v>41799</c:v>
                </c:pt>
                <c:pt idx="1142">
                  <c:v>41800</c:v>
                </c:pt>
                <c:pt idx="1143">
                  <c:v>41801</c:v>
                </c:pt>
                <c:pt idx="1144">
                  <c:v>41802</c:v>
                </c:pt>
                <c:pt idx="1145">
                  <c:v>41803</c:v>
                </c:pt>
                <c:pt idx="1146">
                  <c:v>41806</c:v>
                </c:pt>
                <c:pt idx="1147">
                  <c:v>41807</c:v>
                </c:pt>
                <c:pt idx="1148">
                  <c:v>41808</c:v>
                </c:pt>
                <c:pt idx="1149">
                  <c:v>41809</c:v>
                </c:pt>
                <c:pt idx="1150">
                  <c:v>41810</c:v>
                </c:pt>
                <c:pt idx="1151">
                  <c:v>41813</c:v>
                </c:pt>
                <c:pt idx="1152">
                  <c:v>41814</c:v>
                </c:pt>
                <c:pt idx="1153">
                  <c:v>41815</c:v>
                </c:pt>
                <c:pt idx="1154">
                  <c:v>41816</c:v>
                </c:pt>
                <c:pt idx="1155">
                  <c:v>41817</c:v>
                </c:pt>
                <c:pt idx="1156">
                  <c:v>41820</c:v>
                </c:pt>
                <c:pt idx="1157">
                  <c:v>41821</c:v>
                </c:pt>
                <c:pt idx="1158">
                  <c:v>41822</c:v>
                </c:pt>
                <c:pt idx="1159">
                  <c:v>41823</c:v>
                </c:pt>
                <c:pt idx="1160">
                  <c:v>41824</c:v>
                </c:pt>
                <c:pt idx="1161">
                  <c:v>41827</c:v>
                </c:pt>
                <c:pt idx="1162">
                  <c:v>41828</c:v>
                </c:pt>
                <c:pt idx="1163">
                  <c:v>41829</c:v>
                </c:pt>
                <c:pt idx="1164">
                  <c:v>41830</c:v>
                </c:pt>
                <c:pt idx="1165">
                  <c:v>41831</c:v>
                </c:pt>
                <c:pt idx="1166">
                  <c:v>41834</c:v>
                </c:pt>
                <c:pt idx="1167">
                  <c:v>41835</c:v>
                </c:pt>
                <c:pt idx="1168">
                  <c:v>41836</c:v>
                </c:pt>
                <c:pt idx="1169">
                  <c:v>41837</c:v>
                </c:pt>
                <c:pt idx="1170">
                  <c:v>41838</c:v>
                </c:pt>
                <c:pt idx="1171">
                  <c:v>41841</c:v>
                </c:pt>
                <c:pt idx="1172">
                  <c:v>41842</c:v>
                </c:pt>
                <c:pt idx="1173">
                  <c:v>41843</c:v>
                </c:pt>
                <c:pt idx="1174">
                  <c:v>41844</c:v>
                </c:pt>
                <c:pt idx="1175">
                  <c:v>41845</c:v>
                </c:pt>
                <c:pt idx="1176">
                  <c:v>41848</c:v>
                </c:pt>
                <c:pt idx="1177">
                  <c:v>41849</c:v>
                </c:pt>
                <c:pt idx="1178">
                  <c:v>41850</c:v>
                </c:pt>
                <c:pt idx="1179">
                  <c:v>41851</c:v>
                </c:pt>
                <c:pt idx="1180">
                  <c:v>41852</c:v>
                </c:pt>
                <c:pt idx="1181">
                  <c:v>41855</c:v>
                </c:pt>
                <c:pt idx="1182">
                  <c:v>41856</c:v>
                </c:pt>
                <c:pt idx="1183">
                  <c:v>41857</c:v>
                </c:pt>
                <c:pt idx="1184">
                  <c:v>41858</c:v>
                </c:pt>
                <c:pt idx="1185">
                  <c:v>41859</c:v>
                </c:pt>
                <c:pt idx="1186">
                  <c:v>41862</c:v>
                </c:pt>
                <c:pt idx="1187">
                  <c:v>41863</c:v>
                </c:pt>
                <c:pt idx="1188">
                  <c:v>41864</c:v>
                </c:pt>
                <c:pt idx="1189">
                  <c:v>41865</c:v>
                </c:pt>
                <c:pt idx="1190">
                  <c:v>41866</c:v>
                </c:pt>
                <c:pt idx="1191">
                  <c:v>41869</c:v>
                </c:pt>
                <c:pt idx="1192">
                  <c:v>41870</c:v>
                </c:pt>
                <c:pt idx="1193">
                  <c:v>41871</c:v>
                </c:pt>
                <c:pt idx="1194">
                  <c:v>41872</c:v>
                </c:pt>
                <c:pt idx="1195">
                  <c:v>41873</c:v>
                </c:pt>
                <c:pt idx="1196">
                  <c:v>41876</c:v>
                </c:pt>
                <c:pt idx="1197">
                  <c:v>41877</c:v>
                </c:pt>
                <c:pt idx="1198">
                  <c:v>41878</c:v>
                </c:pt>
                <c:pt idx="1199">
                  <c:v>41879</c:v>
                </c:pt>
                <c:pt idx="1200">
                  <c:v>41880</c:v>
                </c:pt>
                <c:pt idx="1201">
                  <c:v>41883</c:v>
                </c:pt>
                <c:pt idx="1202">
                  <c:v>41884</c:v>
                </c:pt>
                <c:pt idx="1203">
                  <c:v>41885</c:v>
                </c:pt>
                <c:pt idx="1204">
                  <c:v>41886</c:v>
                </c:pt>
                <c:pt idx="1205">
                  <c:v>41887</c:v>
                </c:pt>
                <c:pt idx="1206">
                  <c:v>41890</c:v>
                </c:pt>
                <c:pt idx="1207">
                  <c:v>41891</c:v>
                </c:pt>
                <c:pt idx="1208">
                  <c:v>41892</c:v>
                </c:pt>
                <c:pt idx="1209">
                  <c:v>41893</c:v>
                </c:pt>
                <c:pt idx="1210">
                  <c:v>41894</c:v>
                </c:pt>
                <c:pt idx="1211">
                  <c:v>41897</c:v>
                </c:pt>
                <c:pt idx="1212">
                  <c:v>41898</c:v>
                </c:pt>
                <c:pt idx="1213">
                  <c:v>41899</c:v>
                </c:pt>
                <c:pt idx="1214">
                  <c:v>41900</c:v>
                </c:pt>
                <c:pt idx="1215">
                  <c:v>41901</c:v>
                </c:pt>
                <c:pt idx="1216">
                  <c:v>41904</c:v>
                </c:pt>
                <c:pt idx="1217">
                  <c:v>41905</c:v>
                </c:pt>
                <c:pt idx="1218">
                  <c:v>41906</c:v>
                </c:pt>
                <c:pt idx="1219">
                  <c:v>41907</c:v>
                </c:pt>
                <c:pt idx="1220">
                  <c:v>41908</c:v>
                </c:pt>
                <c:pt idx="1221">
                  <c:v>41911</c:v>
                </c:pt>
                <c:pt idx="1222">
                  <c:v>41912</c:v>
                </c:pt>
                <c:pt idx="1223">
                  <c:v>41913</c:v>
                </c:pt>
                <c:pt idx="1224">
                  <c:v>41914</c:v>
                </c:pt>
                <c:pt idx="1225">
                  <c:v>41915</c:v>
                </c:pt>
                <c:pt idx="1226">
                  <c:v>41918</c:v>
                </c:pt>
                <c:pt idx="1227">
                  <c:v>41919</c:v>
                </c:pt>
                <c:pt idx="1228">
                  <c:v>41920</c:v>
                </c:pt>
                <c:pt idx="1229">
                  <c:v>41921</c:v>
                </c:pt>
                <c:pt idx="1230">
                  <c:v>41922</c:v>
                </c:pt>
                <c:pt idx="1231">
                  <c:v>41925</c:v>
                </c:pt>
                <c:pt idx="1232">
                  <c:v>41926</c:v>
                </c:pt>
                <c:pt idx="1233">
                  <c:v>41927</c:v>
                </c:pt>
                <c:pt idx="1234">
                  <c:v>41928</c:v>
                </c:pt>
                <c:pt idx="1235">
                  <c:v>41929</c:v>
                </c:pt>
                <c:pt idx="1236">
                  <c:v>41932</c:v>
                </c:pt>
                <c:pt idx="1237">
                  <c:v>41933</c:v>
                </c:pt>
                <c:pt idx="1238">
                  <c:v>41934</c:v>
                </c:pt>
                <c:pt idx="1239">
                  <c:v>41935</c:v>
                </c:pt>
                <c:pt idx="1240">
                  <c:v>41936</c:v>
                </c:pt>
                <c:pt idx="1241">
                  <c:v>41939</c:v>
                </c:pt>
                <c:pt idx="1242">
                  <c:v>41940</c:v>
                </c:pt>
                <c:pt idx="1243">
                  <c:v>41941</c:v>
                </c:pt>
                <c:pt idx="1244">
                  <c:v>41942</c:v>
                </c:pt>
                <c:pt idx="1245">
                  <c:v>41943</c:v>
                </c:pt>
              </c:numCache>
            </c:numRef>
          </c:cat>
          <c:val>
            <c:numRef>
              <c:f>Sheet1!$B$2:$B$1247</c:f>
              <c:numCache>
                <c:formatCode>General</c:formatCode>
                <c:ptCount val="1246"/>
                <c:pt idx="0">
                  <c:v>100</c:v>
                </c:pt>
                <c:pt idx="1">
                  <c:v>100.85077146845786</c:v>
                </c:pt>
                <c:pt idx="2">
                  <c:v>102.21134800499938</c:v>
                </c:pt>
                <c:pt idx="3">
                  <c:v>102.53038730567108</c:v>
                </c:pt>
                <c:pt idx="4">
                  <c:v>102.64111915916882</c:v>
                </c:pt>
                <c:pt idx="5">
                  <c:v>103.25471249917773</c:v>
                </c:pt>
                <c:pt idx="6">
                  <c:v>102.70214958667417</c:v>
                </c:pt>
                <c:pt idx="7">
                  <c:v>101.96174452005233</c:v>
                </c:pt>
                <c:pt idx="8">
                  <c:v>101.73260632816097</c:v>
                </c:pt>
                <c:pt idx="9">
                  <c:v>102.93421139185919</c:v>
                </c:pt>
                <c:pt idx="10">
                  <c:v>102.67912613198651</c:v>
                </c:pt>
                <c:pt idx="11">
                  <c:v>102.68680061688241</c:v>
                </c:pt>
                <c:pt idx="12">
                  <c:v>103.18198761849769</c:v>
                </c:pt>
                <c:pt idx="13">
                  <c:v>103.17833310188061</c:v>
                </c:pt>
                <c:pt idx="14">
                  <c:v>102.09623073156114</c:v>
                </c:pt>
                <c:pt idx="15">
                  <c:v>100.16993502269453</c:v>
                </c:pt>
                <c:pt idx="16">
                  <c:v>99.748934708406111</c:v>
                </c:pt>
                <c:pt idx="17">
                  <c:v>99.433184472689788</c:v>
                </c:pt>
                <c:pt idx="18">
                  <c:v>98.973446282260241</c:v>
                </c:pt>
                <c:pt idx="19">
                  <c:v>99.576441524079613</c:v>
                </c:pt>
                <c:pt idx="20">
                  <c:v>99.068463714304499</c:v>
                </c:pt>
                <c:pt idx="21">
                  <c:v>99.569863394168863</c:v>
                </c:pt>
                <c:pt idx="22">
                  <c:v>100.11219366014457</c:v>
                </c:pt>
                <c:pt idx="23">
                  <c:v>100.82701711044679</c:v>
                </c:pt>
                <c:pt idx="24">
                  <c:v>99.4171045995746</c:v>
                </c:pt>
                <c:pt idx="25">
                  <c:v>98.448292244384845</c:v>
                </c:pt>
                <c:pt idx="26">
                  <c:v>97.683401916428508</c:v>
                </c:pt>
                <c:pt idx="27">
                  <c:v>98.438059597856991</c:v>
                </c:pt>
                <c:pt idx="28">
                  <c:v>99.223049767207286</c:v>
                </c:pt>
                <c:pt idx="29">
                  <c:v>100.31867384900998</c:v>
                </c:pt>
                <c:pt idx="30">
                  <c:v>99.986478288516764</c:v>
                </c:pt>
                <c:pt idx="31">
                  <c:v>100.19186212239708</c:v>
                </c:pt>
                <c:pt idx="32">
                  <c:v>100.76160126300093</c:v>
                </c:pt>
                <c:pt idx="33">
                  <c:v>102.30124911377972</c:v>
                </c:pt>
                <c:pt idx="34">
                  <c:v>102.7204221697596</c:v>
                </c:pt>
                <c:pt idx="35">
                  <c:v>102.90278254895225</c:v>
                </c:pt>
                <c:pt idx="36">
                  <c:v>103.10670457618569</c:v>
                </c:pt>
                <c:pt idx="37">
                  <c:v>102.84540663806396</c:v>
                </c:pt>
                <c:pt idx="38">
                  <c:v>102.43719713193535</c:v>
                </c:pt>
                <c:pt idx="39">
                  <c:v>101.88207605779984</c:v>
                </c:pt>
                <c:pt idx="40">
                  <c:v>102.12912138111491</c:v>
                </c:pt>
                <c:pt idx="41">
                  <c:v>104.05505163831981</c:v>
                </c:pt>
                <c:pt idx="42">
                  <c:v>104.41538697676458</c:v>
                </c:pt>
                <c:pt idx="43">
                  <c:v>104.04006812018973</c:v>
                </c:pt>
                <c:pt idx="44">
                  <c:v>104.34193119276114</c:v>
                </c:pt>
                <c:pt idx="45">
                  <c:v>105.6126066205223</c:v>
                </c:pt>
                <c:pt idx="46">
                  <c:v>106.0449359363237</c:v>
                </c:pt>
                <c:pt idx="47">
                  <c:v>106.49261422191687</c:v>
                </c:pt>
                <c:pt idx="48">
                  <c:v>106.63258220835129</c:v>
                </c:pt>
                <c:pt idx="49">
                  <c:v>106.73746683526169</c:v>
                </c:pt>
                <c:pt idx="50">
                  <c:v>106.71115431561866</c:v>
                </c:pt>
                <c:pt idx="51">
                  <c:v>106.78314829297528</c:v>
                </c:pt>
                <c:pt idx="52">
                  <c:v>107.04079171447991</c:v>
                </c:pt>
                <c:pt idx="53">
                  <c:v>108.02641484610828</c:v>
                </c:pt>
                <c:pt idx="54">
                  <c:v>108.84283385836555</c:v>
                </c:pt>
                <c:pt idx="55">
                  <c:v>108.32498885372431</c:v>
                </c:pt>
                <c:pt idx="56">
                  <c:v>108.12947221471015</c:v>
                </c:pt>
                <c:pt idx="57">
                  <c:v>108.64548996104284</c:v>
                </c:pt>
                <c:pt idx="58">
                  <c:v>108.97695461821264</c:v>
                </c:pt>
                <c:pt idx="59">
                  <c:v>109.25067791283244</c:v>
                </c:pt>
                <c:pt idx="60">
                  <c:v>108.86001008646586</c:v>
                </c:pt>
                <c:pt idx="61">
                  <c:v>109.45715810169787</c:v>
                </c:pt>
                <c:pt idx="62">
                  <c:v>109.80579898696799</c:v>
                </c:pt>
                <c:pt idx="63">
                  <c:v>108.77632165593457</c:v>
                </c:pt>
                <c:pt idx="64">
                  <c:v>109.91141451720181</c:v>
                </c:pt>
                <c:pt idx="65">
                  <c:v>109.97207949304546</c:v>
                </c:pt>
                <c:pt idx="66">
                  <c:v>110.46178471973511</c:v>
                </c:pt>
                <c:pt idx="67">
                  <c:v>111.60747567919191</c:v>
                </c:pt>
                <c:pt idx="68">
                  <c:v>111.76973621699058</c:v>
                </c:pt>
                <c:pt idx="69">
                  <c:v>111.26797108546451</c:v>
                </c:pt>
                <c:pt idx="70">
                  <c:v>111.58774128945963</c:v>
                </c:pt>
                <c:pt idx="71">
                  <c:v>110.73441165936981</c:v>
                </c:pt>
                <c:pt idx="72">
                  <c:v>110.84295080289731</c:v>
                </c:pt>
                <c:pt idx="73">
                  <c:v>111.47554762931506</c:v>
                </c:pt>
                <c:pt idx="74">
                  <c:v>112.03870864000818</c:v>
                </c:pt>
                <c:pt idx="75">
                  <c:v>111.24823669573225</c:v>
                </c:pt>
                <c:pt idx="76">
                  <c:v>110.88205413070014</c:v>
                </c:pt>
                <c:pt idx="77">
                  <c:v>111.90349152517595</c:v>
                </c:pt>
                <c:pt idx="78">
                  <c:v>112.25213241044607</c:v>
                </c:pt>
                <c:pt idx="79">
                  <c:v>112.19731466118976</c:v>
                </c:pt>
                <c:pt idx="80">
                  <c:v>112.01422337867371</c:v>
                </c:pt>
                <c:pt idx="81">
                  <c:v>112.54230102984278</c:v>
                </c:pt>
                <c:pt idx="82">
                  <c:v>110.57470928320311</c:v>
                </c:pt>
                <c:pt idx="83">
                  <c:v>110.057960633547</c:v>
                </c:pt>
                <c:pt idx="84">
                  <c:v>110.93029375004566</c:v>
                </c:pt>
                <c:pt idx="85">
                  <c:v>110.50819708077213</c:v>
                </c:pt>
                <c:pt idx="86">
                  <c:v>111.41634446011825</c:v>
                </c:pt>
                <c:pt idx="87">
                  <c:v>110.34118567137124</c:v>
                </c:pt>
                <c:pt idx="88">
                  <c:v>110.06892418339827</c:v>
                </c:pt>
                <c:pt idx="89">
                  <c:v>109.1004772798702</c:v>
                </c:pt>
                <c:pt idx="90">
                  <c:v>107.25750454987318</c:v>
                </c:pt>
                <c:pt idx="91">
                  <c:v>110.35799644780984</c:v>
                </c:pt>
                <c:pt idx="92">
                  <c:v>110.89228677722795</c:v>
                </c:pt>
                <c:pt idx="93">
                  <c:v>112.15163320347617</c:v>
                </c:pt>
                <c:pt idx="94">
                  <c:v>112.88326743021699</c:v>
                </c:pt>
                <c:pt idx="95">
                  <c:v>111.67946965654852</c:v>
                </c:pt>
                <c:pt idx="96">
                  <c:v>111.20730610962089</c:v>
                </c:pt>
                <c:pt idx="97">
                  <c:v>111.37577932566857</c:v>
                </c:pt>
                <c:pt idx="98">
                  <c:v>109.7184560398196</c:v>
                </c:pt>
                <c:pt idx="99">
                  <c:v>107.41026334446741</c:v>
                </c:pt>
                <c:pt idx="100">
                  <c:v>106.04603229130882</c:v>
                </c:pt>
                <c:pt idx="101">
                  <c:v>107.27468077797349</c:v>
                </c:pt>
                <c:pt idx="102">
                  <c:v>106.15128236988092</c:v>
                </c:pt>
                <c:pt idx="103">
                  <c:v>107.27577713295861</c:v>
                </c:pt>
                <c:pt idx="104">
                  <c:v>109.52440120745229</c:v>
                </c:pt>
                <c:pt idx="105">
                  <c:v>109.20974732672109</c:v>
                </c:pt>
                <c:pt idx="106">
                  <c:v>109.72357236308352</c:v>
                </c:pt>
                <c:pt idx="107">
                  <c:v>109.11655715298538</c:v>
                </c:pt>
                <c:pt idx="108">
                  <c:v>110.46288107472024</c:v>
                </c:pt>
                <c:pt idx="109">
                  <c:v>111.7916633166931</c:v>
                </c:pt>
                <c:pt idx="110">
                  <c:v>111.03408202197093</c:v>
                </c:pt>
                <c:pt idx="111">
                  <c:v>110.62002528925498</c:v>
                </c:pt>
                <c:pt idx="112">
                  <c:v>110.69640468655211</c:v>
                </c:pt>
                <c:pt idx="113">
                  <c:v>110.9306592017074</c:v>
                </c:pt>
                <c:pt idx="114">
                  <c:v>112.65486014164905</c:v>
                </c:pt>
                <c:pt idx="115">
                  <c:v>113.50965157838573</c:v>
                </c:pt>
                <c:pt idx="116">
                  <c:v>113.18586140611183</c:v>
                </c:pt>
                <c:pt idx="117">
                  <c:v>114.10241417367723</c:v>
                </c:pt>
                <c:pt idx="118">
                  <c:v>114.70577486715831</c:v>
                </c:pt>
                <c:pt idx="119">
                  <c:v>114.63195363149315</c:v>
                </c:pt>
                <c:pt idx="120">
                  <c:v>115.02919958777052</c:v>
                </c:pt>
                <c:pt idx="121">
                  <c:v>115.78495362418413</c:v>
                </c:pt>
                <c:pt idx="122">
                  <c:v>115.57701162867187</c:v>
                </c:pt>
                <c:pt idx="123">
                  <c:v>114.7898287493513</c:v>
                </c:pt>
                <c:pt idx="124">
                  <c:v>113.2816097414795</c:v>
                </c:pt>
                <c:pt idx="125">
                  <c:v>113.14310356169189</c:v>
                </c:pt>
                <c:pt idx="126">
                  <c:v>113.69201195757836</c:v>
                </c:pt>
                <c:pt idx="127">
                  <c:v>112.21741450258374</c:v>
                </c:pt>
                <c:pt idx="128">
                  <c:v>111.32717425466132</c:v>
                </c:pt>
                <c:pt idx="129">
                  <c:v>109.26529597930082</c:v>
                </c:pt>
                <c:pt idx="130">
                  <c:v>108.60236666496121</c:v>
                </c:pt>
                <c:pt idx="131">
                  <c:v>108.67289883567099</c:v>
                </c:pt>
                <c:pt idx="132">
                  <c:v>109.85440405797524</c:v>
                </c:pt>
                <c:pt idx="133">
                  <c:v>111.26979834377306</c:v>
                </c:pt>
                <c:pt idx="134">
                  <c:v>112.09279548594107</c:v>
                </c:pt>
                <c:pt idx="135">
                  <c:v>113.27137709495163</c:v>
                </c:pt>
                <c:pt idx="136">
                  <c:v>113.57031655422938</c:v>
                </c:pt>
                <c:pt idx="137">
                  <c:v>114.19194983079586</c:v>
                </c:pt>
                <c:pt idx="138">
                  <c:v>113.99022051353268</c:v>
                </c:pt>
                <c:pt idx="139">
                  <c:v>112.61392955553768</c:v>
                </c:pt>
                <c:pt idx="140">
                  <c:v>110.83052544639919</c:v>
                </c:pt>
                <c:pt idx="141">
                  <c:v>110.42523955356425</c:v>
                </c:pt>
                <c:pt idx="142">
                  <c:v>111.3169416081335</c:v>
                </c:pt>
                <c:pt idx="143">
                  <c:v>111.85525190583041</c:v>
                </c:pt>
                <c:pt idx="144">
                  <c:v>112.67020911144084</c:v>
                </c:pt>
                <c:pt idx="145">
                  <c:v>114.10497233530921</c:v>
                </c:pt>
                <c:pt idx="146">
                  <c:v>114.28294729456134</c:v>
                </c:pt>
                <c:pt idx="147">
                  <c:v>114.38746646981004</c:v>
                </c:pt>
                <c:pt idx="148">
                  <c:v>113.90580117967795</c:v>
                </c:pt>
                <c:pt idx="149">
                  <c:v>113.33788929738262</c:v>
                </c:pt>
                <c:pt idx="150">
                  <c:v>113.38978343334527</c:v>
                </c:pt>
                <c:pt idx="151">
                  <c:v>114.42072257102554</c:v>
                </c:pt>
                <c:pt idx="152">
                  <c:v>114.25846203322685</c:v>
                </c:pt>
                <c:pt idx="153">
                  <c:v>114.71271844873077</c:v>
                </c:pt>
                <c:pt idx="154">
                  <c:v>114.71344935205418</c:v>
                </c:pt>
                <c:pt idx="155">
                  <c:v>113.36310546204054</c:v>
                </c:pt>
                <c:pt idx="156">
                  <c:v>114.2478639350373</c:v>
                </c:pt>
                <c:pt idx="157">
                  <c:v>114.56361417075362</c:v>
                </c:pt>
                <c:pt idx="158">
                  <c:v>113.49978438351957</c:v>
                </c:pt>
                <c:pt idx="159">
                  <c:v>113.40988327473924</c:v>
                </c:pt>
                <c:pt idx="160">
                  <c:v>114.17623540934241</c:v>
                </c:pt>
                <c:pt idx="161">
                  <c:v>113.50855522340059</c:v>
                </c:pt>
                <c:pt idx="162">
                  <c:v>114.4569022855347</c:v>
                </c:pt>
                <c:pt idx="163">
                  <c:v>114.44849689731538</c:v>
                </c:pt>
                <c:pt idx="164">
                  <c:v>113.50234254515155</c:v>
                </c:pt>
                <c:pt idx="165">
                  <c:v>113.89154856487131</c:v>
                </c:pt>
                <c:pt idx="166">
                  <c:v>114.44703509066854</c:v>
                </c:pt>
                <c:pt idx="167">
                  <c:v>113.201941279227</c:v>
                </c:pt>
                <c:pt idx="168">
                  <c:v>113.50709341675376</c:v>
                </c:pt>
                <c:pt idx="169">
                  <c:v>113.23337012213392</c:v>
                </c:pt>
                <c:pt idx="170">
                  <c:v>114.46274951212203</c:v>
                </c:pt>
                <c:pt idx="171">
                  <c:v>114.57969404386881</c:v>
                </c:pt>
                <c:pt idx="172">
                  <c:v>114.31181797583633</c:v>
                </c:pt>
                <c:pt idx="173">
                  <c:v>115.99545378132834</c:v>
                </c:pt>
                <c:pt idx="174">
                  <c:v>116.33386202007058</c:v>
                </c:pt>
                <c:pt idx="175">
                  <c:v>116.93466455191972</c:v>
                </c:pt>
                <c:pt idx="176">
                  <c:v>117.38709370911509</c:v>
                </c:pt>
                <c:pt idx="177">
                  <c:v>117.66556787533713</c:v>
                </c:pt>
                <c:pt idx="178">
                  <c:v>117.93234758838449</c:v>
                </c:pt>
                <c:pt idx="179">
                  <c:v>118.90189084689766</c:v>
                </c:pt>
                <c:pt idx="180">
                  <c:v>119.09521477594159</c:v>
                </c:pt>
                <c:pt idx="181">
                  <c:v>119.09558022760329</c:v>
                </c:pt>
                <c:pt idx="182">
                  <c:v>118.42388007338269</c:v>
                </c:pt>
                <c:pt idx="183">
                  <c:v>118.19474188149132</c:v>
                </c:pt>
                <c:pt idx="184">
                  <c:v>117.07024711841365</c:v>
                </c:pt>
                <c:pt idx="185">
                  <c:v>117.07828705497123</c:v>
                </c:pt>
                <c:pt idx="186">
                  <c:v>117.89945693883071</c:v>
                </c:pt>
                <c:pt idx="187">
                  <c:v>117.27745821060249</c:v>
                </c:pt>
                <c:pt idx="188">
                  <c:v>115.20315457874386</c:v>
                </c:pt>
                <c:pt idx="189">
                  <c:v>115.29269023586251</c:v>
                </c:pt>
                <c:pt idx="190">
                  <c:v>115.3511625017359</c:v>
                </c:pt>
                <c:pt idx="191">
                  <c:v>115.49259229481717</c:v>
                </c:pt>
                <c:pt idx="192">
                  <c:v>115.01129245634678</c:v>
                </c:pt>
                <c:pt idx="193">
                  <c:v>114.42656979761286</c:v>
                </c:pt>
                <c:pt idx="194">
                  <c:v>113.9025121147226</c:v>
                </c:pt>
                <c:pt idx="195">
                  <c:v>113.3199821659589</c:v>
                </c:pt>
                <c:pt idx="196">
                  <c:v>113.7811821630353</c:v>
                </c:pt>
                <c:pt idx="197">
                  <c:v>114.17367724771043</c:v>
                </c:pt>
                <c:pt idx="198">
                  <c:v>114.49417835502898</c:v>
                </c:pt>
                <c:pt idx="199">
                  <c:v>114.31693429910025</c:v>
                </c:pt>
                <c:pt idx="200">
                  <c:v>114.24749848337558</c:v>
                </c:pt>
                <c:pt idx="201">
                  <c:v>114.75291813151875</c:v>
                </c:pt>
                <c:pt idx="202">
                  <c:v>114.75803445478266</c:v>
                </c:pt>
                <c:pt idx="203">
                  <c:v>115.24773968147232</c:v>
                </c:pt>
                <c:pt idx="204">
                  <c:v>114.74012732335892</c:v>
                </c:pt>
                <c:pt idx="205">
                  <c:v>115.11690798658061</c:v>
                </c:pt>
                <c:pt idx="206">
                  <c:v>115.64462018608796</c:v>
                </c:pt>
                <c:pt idx="207">
                  <c:v>115.82442240364865</c:v>
                </c:pt>
                <c:pt idx="208">
                  <c:v>115.19292193221602</c:v>
                </c:pt>
                <c:pt idx="209">
                  <c:v>115.1037517267591</c:v>
                </c:pt>
                <c:pt idx="210">
                  <c:v>115.2513941980894</c:v>
                </c:pt>
                <c:pt idx="211">
                  <c:v>115.49734316641937</c:v>
                </c:pt>
                <c:pt idx="212">
                  <c:v>115.87887470124328</c:v>
                </c:pt>
                <c:pt idx="213">
                  <c:v>115.38332224796626</c:v>
                </c:pt>
                <c:pt idx="214">
                  <c:v>115.31096281894794</c:v>
                </c:pt>
                <c:pt idx="215">
                  <c:v>115.86023666649612</c:v>
                </c:pt>
                <c:pt idx="216">
                  <c:v>116.40220148081013</c:v>
                </c:pt>
                <c:pt idx="217">
                  <c:v>116.18037232215295</c:v>
                </c:pt>
                <c:pt idx="218">
                  <c:v>116.11751463633904</c:v>
                </c:pt>
                <c:pt idx="219">
                  <c:v>116.60027628145625</c:v>
                </c:pt>
                <c:pt idx="220">
                  <c:v>117.79347595693517</c:v>
                </c:pt>
                <c:pt idx="221">
                  <c:v>118.32082270478084</c:v>
                </c:pt>
                <c:pt idx="222">
                  <c:v>118.42497642836783</c:v>
                </c:pt>
                <c:pt idx="223">
                  <c:v>118.88361826381224</c:v>
                </c:pt>
                <c:pt idx="224">
                  <c:v>118.88910003873787</c:v>
                </c:pt>
                <c:pt idx="225">
                  <c:v>117.69151494331844</c:v>
                </c:pt>
                <c:pt idx="226">
                  <c:v>118.73707214746705</c:v>
                </c:pt>
                <c:pt idx="227">
                  <c:v>117.34945218795909</c:v>
                </c:pt>
                <c:pt idx="228">
                  <c:v>117.40755900217077</c:v>
                </c:pt>
                <c:pt idx="229">
                  <c:v>118.18706739659544</c:v>
                </c:pt>
                <c:pt idx="230">
                  <c:v>117.67616597352668</c:v>
                </c:pt>
                <c:pt idx="231">
                  <c:v>117.75839259741115</c:v>
                </c:pt>
                <c:pt idx="232">
                  <c:v>117.1440683540788</c:v>
                </c:pt>
                <c:pt idx="233">
                  <c:v>118.24663601745398</c:v>
                </c:pt>
                <c:pt idx="234">
                  <c:v>118.63803474714399</c:v>
                </c:pt>
                <c:pt idx="235">
                  <c:v>118.78750447678283</c:v>
                </c:pt>
                <c:pt idx="236">
                  <c:v>118.81052793147049</c:v>
                </c:pt>
                <c:pt idx="237">
                  <c:v>118.94209052968563</c:v>
                </c:pt>
                <c:pt idx="238">
                  <c:v>120.52339986989919</c:v>
                </c:pt>
                <c:pt idx="239">
                  <c:v>121.1698838594619</c:v>
                </c:pt>
                <c:pt idx="240">
                  <c:v>119.91601920813932</c:v>
                </c:pt>
                <c:pt idx="241">
                  <c:v>120.35858117046858</c:v>
                </c:pt>
                <c:pt idx="242">
                  <c:v>120.51682173998846</c:v>
                </c:pt>
                <c:pt idx="243">
                  <c:v>121.20387086400082</c:v>
                </c:pt>
                <c:pt idx="244">
                  <c:v>122.1609887660159</c:v>
                </c:pt>
                <c:pt idx="245">
                  <c:v>122.1226163415365</c:v>
                </c:pt>
                <c:pt idx="246">
                  <c:v>121.52327561633423</c:v>
                </c:pt>
                <c:pt idx="247">
                  <c:v>121.92709970252236</c:v>
                </c:pt>
                <c:pt idx="248">
                  <c:v>121.50683029155734</c:v>
                </c:pt>
                <c:pt idx="249">
                  <c:v>122.33567466031268</c:v>
                </c:pt>
                <c:pt idx="250">
                  <c:v>122.00347909981946</c:v>
                </c:pt>
                <c:pt idx="251">
                  <c:v>122.33713646695952</c:v>
                </c:pt>
                <c:pt idx="252">
                  <c:v>123.19046609704934</c:v>
                </c:pt>
                <c:pt idx="253">
                  <c:v>124.0072505609683</c:v>
                </c:pt>
                <c:pt idx="254">
                  <c:v>124.35114057463619</c:v>
                </c:pt>
                <c:pt idx="255">
                  <c:v>124.06097195523948</c:v>
                </c:pt>
                <c:pt idx="256">
                  <c:v>123.57126672854982</c:v>
                </c:pt>
                <c:pt idx="257">
                  <c:v>124.05220111535846</c:v>
                </c:pt>
                <c:pt idx="258">
                  <c:v>124.47904865623423</c:v>
                </c:pt>
                <c:pt idx="259">
                  <c:v>123.24491839464393</c:v>
                </c:pt>
                <c:pt idx="260">
                  <c:v>122.4665063552044</c:v>
                </c:pt>
                <c:pt idx="261">
                  <c:v>123.42654787051315</c:v>
                </c:pt>
                <c:pt idx="262">
                  <c:v>123.82598653676078</c:v>
                </c:pt>
                <c:pt idx="263">
                  <c:v>124.89127813064165</c:v>
                </c:pt>
                <c:pt idx="264">
                  <c:v>125.78590379850456</c:v>
                </c:pt>
                <c:pt idx="265">
                  <c:v>126.24162202065531</c:v>
                </c:pt>
                <c:pt idx="266">
                  <c:v>125.61267971085464</c:v>
                </c:pt>
                <c:pt idx="267">
                  <c:v>125.72889333927802</c:v>
                </c:pt>
                <c:pt idx="268">
                  <c:v>125.65032123201063</c:v>
                </c:pt>
                <c:pt idx="269">
                  <c:v>124.14100586915369</c:v>
                </c:pt>
                <c:pt idx="270">
                  <c:v>123.91954216215821</c:v>
                </c:pt>
                <c:pt idx="271">
                  <c:v>124.37233677101528</c:v>
                </c:pt>
                <c:pt idx="272">
                  <c:v>124.21190349152518</c:v>
                </c:pt>
                <c:pt idx="273">
                  <c:v>123.16232631909776</c:v>
                </c:pt>
                <c:pt idx="274">
                  <c:v>122.7610603945416</c:v>
                </c:pt>
                <c:pt idx="275">
                  <c:v>121.9252724442138</c:v>
                </c:pt>
                <c:pt idx="276">
                  <c:v>122.14198527960704</c:v>
                </c:pt>
                <c:pt idx="277">
                  <c:v>121.74620112997651</c:v>
                </c:pt>
                <c:pt idx="278">
                  <c:v>122.1350416980346</c:v>
                </c:pt>
                <c:pt idx="279">
                  <c:v>122.17195231586717</c:v>
                </c:pt>
                <c:pt idx="280">
                  <c:v>121.90371079617297</c:v>
                </c:pt>
                <c:pt idx="281">
                  <c:v>121.04891935943631</c:v>
                </c:pt>
                <c:pt idx="282">
                  <c:v>122.0392933626669</c:v>
                </c:pt>
                <c:pt idx="283">
                  <c:v>122.17779954245451</c:v>
                </c:pt>
                <c:pt idx="284">
                  <c:v>123.56761221193273</c:v>
                </c:pt>
                <c:pt idx="285">
                  <c:v>124.31971173172924</c:v>
                </c:pt>
                <c:pt idx="286">
                  <c:v>124.9976245641989</c:v>
                </c:pt>
                <c:pt idx="287">
                  <c:v>124.33286799155074</c:v>
                </c:pt>
                <c:pt idx="288">
                  <c:v>123.74485626786145</c:v>
                </c:pt>
                <c:pt idx="289">
                  <c:v>124.00542330265975</c:v>
                </c:pt>
                <c:pt idx="290">
                  <c:v>124.28316656555836</c:v>
                </c:pt>
                <c:pt idx="291">
                  <c:v>125.38756148724208</c:v>
                </c:pt>
                <c:pt idx="292">
                  <c:v>124.92599603850398</c:v>
                </c:pt>
                <c:pt idx="293">
                  <c:v>125.40839223195948</c:v>
                </c:pt>
                <c:pt idx="294">
                  <c:v>125.87982487556371</c:v>
                </c:pt>
                <c:pt idx="295">
                  <c:v>125.63826132717423</c:v>
                </c:pt>
                <c:pt idx="296">
                  <c:v>124.82257321824042</c:v>
                </c:pt>
                <c:pt idx="297">
                  <c:v>123.35455389315655</c:v>
                </c:pt>
                <c:pt idx="298">
                  <c:v>122.13467624637289</c:v>
                </c:pt>
                <c:pt idx="299">
                  <c:v>121.55945533084338</c:v>
                </c:pt>
                <c:pt idx="300">
                  <c:v>123.08156150186014</c:v>
                </c:pt>
                <c:pt idx="301">
                  <c:v>123.55847592038999</c:v>
                </c:pt>
                <c:pt idx="302">
                  <c:v>122.81295453050424</c:v>
                </c:pt>
                <c:pt idx="303">
                  <c:v>122.18766673732064</c:v>
                </c:pt>
                <c:pt idx="304">
                  <c:v>121.92636879919894</c:v>
                </c:pt>
                <c:pt idx="305">
                  <c:v>121.73889209674236</c:v>
                </c:pt>
                <c:pt idx="306">
                  <c:v>121.40413837461719</c:v>
                </c:pt>
                <c:pt idx="307">
                  <c:v>122.87288860302445</c:v>
                </c:pt>
                <c:pt idx="308">
                  <c:v>123.0384382057785</c:v>
                </c:pt>
                <c:pt idx="309">
                  <c:v>122.32982743372534</c:v>
                </c:pt>
                <c:pt idx="310">
                  <c:v>121.26636309815302</c:v>
                </c:pt>
                <c:pt idx="311">
                  <c:v>119.65618307666443</c:v>
                </c:pt>
                <c:pt idx="312">
                  <c:v>117.10057960633546</c:v>
                </c:pt>
                <c:pt idx="313">
                  <c:v>116.54253491890627</c:v>
                </c:pt>
                <c:pt idx="314">
                  <c:v>116.76436407756346</c:v>
                </c:pt>
                <c:pt idx="315">
                  <c:v>116.69639006848564</c:v>
                </c:pt>
                <c:pt idx="316">
                  <c:v>118.23640337092611</c:v>
                </c:pt>
                <c:pt idx="317">
                  <c:v>118.5620208015086</c:v>
                </c:pt>
                <c:pt idx="318">
                  <c:v>119.14966707353618</c:v>
                </c:pt>
                <c:pt idx="319">
                  <c:v>119.37697800711899</c:v>
                </c:pt>
                <c:pt idx="320">
                  <c:v>119.93502269454819</c:v>
                </c:pt>
                <c:pt idx="321">
                  <c:v>120.10349591059591</c:v>
                </c:pt>
                <c:pt idx="322">
                  <c:v>120.56871587595109</c:v>
                </c:pt>
                <c:pt idx="323">
                  <c:v>121.46187973716715</c:v>
                </c:pt>
                <c:pt idx="324">
                  <c:v>120.69808576419597</c:v>
                </c:pt>
                <c:pt idx="325">
                  <c:v>121.82879320552271</c:v>
                </c:pt>
                <c:pt idx="326">
                  <c:v>121.56018623416681</c:v>
                </c:pt>
                <c:pt idx="327">
                  <c:v>121.84523853029958</c:v>
                </c:pt>
                <c:pt idx="328">
                  <c:v>121.5258337779662</c:v>
                </c:pt>
                <c:pt idx="329">
                  <c:v>121.72135041698033</c:v>
                </c:pt>
                <c:pt idx="330">
                  <c:v>121.31423726583685</c:v>
                </c:pt>
                <c:pt idx="331">
                  <c:v>121.00396880504616</c:v>
                </c:pt>
                <c:pt idx="332">
                  <c:v>119.69199733951189</c:v>
                </c:pt>
                <c:pt idx="333">
                  <c:v>120.39402998165431</c:v>
                </c:pt>
                <c:pt idx="334">
                  <c:v>120.72768734879438</c:v>
                </c:pt>
                <c:pt idx="335">
                  <c:v>121.27330667972547</c:v>
                </c:pt>
                <c:pt idx="336">
                  <c:v>121.2078908322796</c:v>
                </c:pt>
                <c:pt idx="337">
                  <c:v>120.48758560705176</c:v>
                </c:pt>
                <c:pt idx="338">
                  <c:v>120.85157546211363</c:v>
                </c:pt>
                <c:pt idx="339">
                  <c:v>121.16842205281506</c:v>
                </c:pt>
                <c:pt idx="340">
                  <c:v>121.31825723411562</c:v>
                </c:pt>
                <c:pt idx="341">
                  <c:v>121.66799447437087</c:v>
                </c:pt>
                <c:pt idx="342">
                  <c:v>121.59709685199938</c:v>
                </c:pt>
                <c:pt idx="343">
                  <c:v>121.63254566318513</c:v>
                </c:pt>
                <c:pt idx="344">
                  <c:v>121.58686420547153</c:v>
                </c:pt>
                <c:pt idx="345">
                  <c:v>121.59600049701427</c:v>
                </c:pt>
                <c:pt idx="346">
                  <c:v>120.50914725509256</c:v>
                </c:pt>
                <c:pt idx="347">
                  <c:v>121.44324170242</c:v>
                </c:pt>
                <c:pt idx="348">
                  <c:v>122.62949779632648</c:v>
                </c:pt>
                <c:pt idx="349">
                  <c:v>123.91004041895377</c:v>
                </c:pt>
                <c:pt idx="350">
                  <c:v>124.27768479063272</c:v>
                </c:pt>
                <c:pt idx="351">
                  <c:v>125.01041537235868</c:v>
                </c:pt>
                <c:pt idx="352">
                  <c:v>125.07034944487891</c:v>
                </c:pt>
                <c:pt idx="353">
                  <c:v>124.83463312307681</c:v>
                </c:pt>
                <c:pt idx="354">
                  <c:v>124.28243566223496</c:v>
                </c:pt>
                <c:pt idx="355">
                  <c:v>124.46808510638296</c:v>
                </c:pt>
                <c:pt idx="356">
                  <c:v>124.28207021057325</c:v>
                </c:pt>
                <c:pt idx="357">
                  <c:v>125.23516814430955</c:v>
                </c:pt>
                <c:pt idx="358">
                  <c:v>125.70440807794353</c:v>
                </c:pt>
                <c:pt idx="359">
                  <c:v>124.74363565931132</c:v>
                </c:pt>
                <c:pt idx="360">
                  <c:v>124.07668637669293</c:v>
                </c:pt>
                <c:pt idx="361">
                  <c:v>124.29120650211595</c:v>
                </c:pt>
                <c:pt idx="362">
                  <c:v>124.41728732540547</c:v>
                </c:pt>
                <c:pt idx="363">
                  <c:v>124.34785150968079</c:v>
                </c:pt>
                <c:pt idx="364">
                  <c:v>124.31788447342069</c:v>
                </c:pt>
                <c:pt idx="365">
                  <c:v>124.62267115928576</c:v>
                </c:pt>
                <c:pt idx="366">
                  <c:v>123.34285943998186</c:v>
                </c:pt>
                <c:pt idx="367">
                  <c:v>122.26916245788169</c:v>
                </c:pt>
                <c:pt idx="368">
                  <c:v>121.10994978694167</c:v>
                </c:pt>
                <c:pt idx="369">
                  <c:v>120.24273299370691</c:v>
                </c:pt>
                <c:pt idx="370">
                  <c:v>120.14406104504558</c:v>
                </c:pt>
                <c:pt idx="371">
                  <c:v>120.05598719457376</c:v>
                </c:pt>
                <c:pt idx="372">
                  <c:v>120.9721745104775</c:v>
                </c:pt>
                <c:pt idx="373">
                  <c:v>120.66227150134851</c:v>
                </c:pt>
                <c:pt idx="374">
                  <c:v>120.83293742736647</c:v>
                </c:pt>
                <c:pt idx="375">
                  <c:v>121.55068449096238</c:v>
                </c:pt>
                <c:pt idx="376">
                  <c:v>121.45018528399247</c:v>
                </c:pt>
                <c:pt idx="377">
                  <c:v>121.51267751814467</c:v>
                </c:pt>
                <c:pt idx="378">
                  <c:v>121.00067974009076</c:v>
                </c:pt>
                <c:pt idx="379">
                  <c:v>120.96376912225819</c:v>
                </c:pt>
                <c:pt idx="380">
                  <c:v>121.60075136861646</c:v>
                </c:pt>
                <c:pt idx="381">
                  <c:v>121.08656088059233</c:v>
                </c:pt>
                <c:pt idx="382">
                  <c:v>121.59198052873546</c:v>
                </c:pt>
                <c:pt idx="383">
                  <c:v>121.29413742444287</c:v>
                </c:pt>
                <c:pt idx="384">
                  <c:v>120.39110636836065</c:v>
                </c:pt>
                <c:pt idx="385">
                  <c:v>120.32569052091479</c:v>
                </c:pt>
                <c:pt idx="386">
                  <c:v>121.43483631420071</c:v>
                </c:pt>
                <c:pt idx="387">
                  <c:v>122.05500778412039</c:v>
                </c:pt>
                <c:pt idx="388">
                  <c:v>122.92185912569344</c:v>
                </c:pt>
                <c:pt idx="389">
                  <c:v>122.87983218459692</c:v>
                </c:pt>
                <c:pt idx="390">
                  <c:v>122.98983313477126</c:v>
                </c:pt>
                <c:pt idx="391">
                  <c:v>123.56395769531562</c:v>
                </c:pt>
                <c:pt idx="392">
                  <c:v>123.87203344613607</c:v>
                </c:pt>
                <c:pt idx="393">
                  <c:v>124.35296783294471</c:v>
                </c:pt>
                <c:pt idx="394">
                  <c:v>124.21190349152518</c:v>
                </c:pt>
                <c:pt idx="395">
                  <c:v>123.44372409861349</c:v>
                </c:pt>
                <c:pt idx="396">
                  <c:v>123.20216055022402</c:v>
                </c:pt>
                <c:pt idx="397">
                  <c:v>122.6057434383154</c:v>
                </c:pt>
                <c:pt idx="398">
                  <c:v>122.64265405614798</c:v>
                </c:pt>
                <c:pt idx="399">
                  <c:v>121.97314661189765</c:v>
                </c:pt>
                <c:pt idx="400">
                  <c:v>121.98959193667453</c:v>
                </c:pt>
                <c:pt idx="401">
                  <c:v>123.17767528888952</c:v>
                </c:pt>
                <c:pt idx="402">
                  <c:v>123.51389081766155</c:v>
                </c:pt>
                <c:pt idx="403">
                  <c:v>123.9400074552139</c:v>
                </c:pt>
                <c:pt idx="404">
                  <c:v>123.32604866354326</c:v>
                </c:pt>
                <c:pt idx="405">
                  <c:v>122.73547877822199</c:v>
                </c:pt>
                <c:pt idx="406">
                  <c:v>122.56810191715941</c:v>
                </c:pt>
                <c:pt idx="407">
                  <c:v>122.91089557584218</c:v>
                </c:pt>
                <c:pt idx="408">
                  <c:v>122.01663535964099</c:v>
                </c:pt>
                <c:pt idx="409">
                  <c:v>122.6141488265347</c:v>
                </c:pt>
                <c:pt idx="410">
                  <c:v>120.67433140618489</c:v>
                </c:pt>
                <c:pt idx="411">
                  <c:v>119.18438498139849</c:v>
                </c:pt>
                <c:pt idx="412">
                  <c:v>116.83160718331784</c:v>
                </c:pt>
                <c:pt idx="413">
                  <c:v>115.02225600619806</c:v>
                </c:pt>
                <c:pt idx="414">
                  <c:v>110.35799644780984</c:v>
                </c:pt>
                <c:pt idx="415">
                  <c:v>111.41342084682459</c:v>
                </c:pt>
                <c:pt idx="416">
                  <c:v>109.82589882836197</c:v>
                </c:pt>
                <c:pt idx="417">
                  <c:v>111.87681355387123</c:v>
                </c:pt>
                <c:pt idx="418">
                  <c:v>113.79689658448875</c:v>
                </c:pt>
                <c:pt idx="419">
                  <c:v>114.55703604084286</c:v>
                </c:pt>
                <c:pt idx="420">
                  <c:v>114.4360715408173</c:v>
                </c:pt>
                <c:pt idx="421">
                  <c:v>115.11252256664011</c:v>
                </c:pt>
                <c:pt idx="422">
                  <c:v>112.97536124896759</c:v>
                </c:pt>
                <c:pt idx="423">
                  <c:v>111.09657425612313</c:v>
                </c:pt>
                <c:pt idx="424">
                  <c:v>111.6370772637903</c:v>
                </c:pt>
                <c:pt idx="425">
                  <c:v>113.53961861464583</c:v>
                </c:pt>
                <c:pt idx="426">
                  <c:v>114.43058976589167</c:v>
                </c:pt>
                <c:pt idx="427">
                  <c:v>113.65035046814359</c:v>
                </c:pt>
                <c:pt idx="428">
                  <c:v>113.24871909192571</c:v>
                </c:pt>
                <c:pt idx="429">
                  <c:v>114.05855997427221</c:v>
                </c:pt>
                <c:pt idx="430">
                  <c:v>115.30950101230111</c:v>
                </c:pt>
                <c:pt idx="431">
                  <c:v>117.16307184048765</c:v>
                </c:pt>
                <c:pt idx="432">
                  <c:v>117.92321129684176</c:v>
                </c:pt>
                <c:pt idx="433">
                  <c:v>116.57506011679834</c:v>
                </c:pt>
                <c:pt idx="434">
                  <c:v>115.03102684607907</c:v>
                </c:pt>
                <c:pt idx="435">
                  <c:v>114.76717074632539</c:v>
                </c:pt>
                <c:pt idx="436">
                  <c:v>116.8670559945036</c:v>
                </c:pt>
                <c:pt idx="437">
                  <c:v>117.48759291608499</c:v>
                </c:pt>
                <c:pt idx="438">
                  <c:v>117.06184173019435</c:v>
                </c:pt>
                <c:pt idx="439">
                  <c:v>116.12665092788177</c:v>
                </c:pt>
                <c:pt idx="440">
                  <c:v>116.35140369983262</c:v>
                </c:pt>
                <c:pt idx="441">
                  <c:v>116.69565916516223</c:v>
                </c:pt>
                <c:pt idx="442">
                  <c:v>117.40317358223027</c:v>
                </c:pt>
                <c:pt idx="443">
                  <c:v>118.5620208015086</c:v>
                </c:pt>
                <c:pt idx="444">
                  <c:v>117.74998720919183</c:v>
                </c:pt>
                <c:pt idx="445">
                  <c:v>118.26819766549477</c:v>
                </c:pt>
                <c:pt idx="446">
                  <c:v>116.82831811836247</c:v>
                </c:pt>
                <c:pt idx="447">
                  <c:v>114.64949531125517</c:v>
                </c:pt>
                <c:pt idx="448">
                  <c:v>114.4572677371964</c:v>
                </c:pt>
                <c:pt idx="449">
                  <c:v>115.73342493988319</c:v>
                </c:pt>
                <c:pt idx="450">
                  <c:v>117.64364077563461</c:v>
                </c:pt>
                <c:pt idx="451">
                  <c:v>116.64741954581666</c:v>
                </c:pt>
                <c:pt idx="452">
                  <c:v>116.96024616823932</c:v>
                </c:pt>
                <c:pt idx="453">
                  <c:v>117.44885503994387</c:v>
                </c:pt>
                <c:pt idx="454">
                  <c:v>116.19170132366592</c:v>
                </c:pt>
                <c:pt idx="455">
                  <c:v>114.9615910303544</c:v>
                </c:pt>
                <c:pt idx="456">
                  <c:v>116.3221675668959</c:v>
                </c:pt>
                <c:pt idx="457">
                  <c:v>118.01165059897527</c:v>
                </c:pt>
                <c:pt idx="458">
                  <c:v>118.60697135589875</c:v>
                </c:pt>
                <c:pt idx="459">
                  <c:v>119.28853870498548</c:v>
                </c:pt>
                <c:pt idx="460">
                  <c:v>118.96986485597549</c:v>
                </c:pt>
                <c:pt idx="461">
                  <c:v>118.99873553725048</c:v>
                </c:pt>
                <c:pt idx="462">
                  <c:v>119.095945679265</c:v>
                </c:pt>
                <c:pt idx="463">
                  <c:v>118.94172507802392</c:v>
                </c:pt>
                <c:pt idx="464">
                  <c:v>119.27099702522345</c:v>
                </c:pt>
                <c:pt idx="465">
                  <c:v>119.01408450704226</c:v>
                </c:pt>
                <c:pt idx="466">
                  <c:v>119.2472426672124</c:v>
                </c:pt>
                <c:pt idx="467">
                  <c:v>118.68627436648953</c:v>
                </c:pt>
                <c:pt idx="468">
                  <c:v>119.25564805543169</c:v>
                </c:pt>
                <c:pt idx="469">
                  <c:v>120.18133711453987</c:v>
                </c:pt>
                <c:pt idx="470">
                  <c:v>118.93660875476002</c:v>
                </c:pt>
                <c:pt idx="471">
                  <c:v>119.73914060387231</c:v>
                </c:pt>
                <c:pt idx="472">
                  <c:v>121.06975010415373</c:v>
                </c:pt>
                <c:pt idx="473">
                  <c:v>120.70722205573867</c:v>
                </c:pt>
                <c:pt idx="474">
                  <c:v>120.21495866741705</c:v>
                </c:pt>
                <c:pt idx="475">
                  <c:v>118.4618870462004</c:v>
                </c:pt>
                <c:pt idx="476">
                  <c:v>118.55215360664243</c:v>
                </c:pt>
                <c:pt idx="477">
                  <c:v>120.30851429281448</c:v>
                </c:pt>
                <c:pt idx="478">
                  <c:v>119.84585248909126</c:v>
                </c:pt>
                <c:pt idx="479">
                  <c:v>119.9777805389681</c:v>
                </c:pt>
                <c:pt idx="480">
                  <c:v>120.19485882602308</c:v>
                </c:pt>
                <c:pt idx="481">
                  <c:v>119.85864329725106</c:v>
                </c:pt>
                <c:pt idx="482">
                  <c:v>119.60757800565717</c:v>
                </c:pt>
                <c:pt idx="483">
                  <c:v>120.78067783974214</c:v>
                </c:pt>
                <c:pt idx="484">
                  <c:v>120.54825058289541</c:v>
                </c:pt>
                <c:pt idx="485">
                  <c:v>120.92247308448512</c:v>
                </c:pt>
                <c:pt idx="486">
                  <c:v>120.1835298245101</c:v>
                </c:pt>
                <c:pt idx="487">
                  <c:v>119.32179480620097</c:v>
                </c:pt>
                <c:pt idx="488">
                  <c:v>118.71368324111768</c:v>
                </c:pt>
                <c:pt idx="489">
                  <c:v>116.85645789631405</c:v>
                </c:pt>
                <c:pt idx="490">
                  <c:v>116.29585504725289</c:v>
                </c:pt>
                <c:pt idx="491">
                  <c:v>115.22252351681443</c:v>
                </c:pt>
                <c:pt idx="492">
                  <c:v>115.19621099717139</c:v>
                </c:pt>
                <c:pt idx="493">
                  <c:v>115.7495048129984</c:v>
                </c:pt>
                <c:pt idx="494">
                  <c:v>117.85523728776394</c:v>
                </c:pt>
                <c:pt idx="495">
                  <c:v>119.11641097232068</c:v>
                </c:pt>
                <c:pt idx="496">
                  <c:v>121.66726357104744</c:v>
                </c:pt>
                <c:pt idx="497">
                  <c:v>121.63839288977248</c:v>
                </c:pt>
                <c:pt idx="498">
                  <c:v>121.94793044723973</c:v>
                </c:pt>
                <c:pt idx="499">
                  <c:v>122.58966356520023</c:v>
                </c:pt>
                <c:pt idx="500">
                  <c:v>122.5421548491781</c:v>
                </c:pt>
                <c:pt idx="501">
                  <c:v>122.63461411959038</c:v>
                </c:pt>
                <c:pt idx="502">
                  <c:v>121.75387561487241</c:v>
                </c:pt>
                <c:pt idx="503">
                  <c:v>121.71879225534839</c:v>
                </c:pt>
                <c:pt idx="504">
                  <c:v>121.81527149403948</c:v>
                </c:pt>
                <c:pt idx="505">
                  <c:v>122.58966356520023</c:v>
                </c:pt>
                <c:pt idx="506">
                  <c:v>122.07474217385266</c:v>
                </c:pt>
                <c:pt idx="507">
                  <c:v>122.48039351834932</c:v>
                </c:pt>
                <c:pt idx="508">
                  <c:v>122.3488309201342</c:v>
                </c:pt>
                <c:pt idx="509">
                  <c:v>121.69649970398414</c:v>
                </c:pt>
                <c:pt idx="510">
                  <c:v>122.76873487943749</c:v>
                </c:pt>
                <c:pt idx="511">
                  <c:v>123.88226609266393</c:v>
                </c:pt>
                <c:pt idx="512">
                  <c:v>124.13260048093437</c:v>
                </c:pt>
                <c:pt idx="513">
                  <c:v>125.30387305671078</c:v>
                </c:pt>
                <c:pt idx="514">
                  <c:v>125.28084960202315</c:v>
                </c:pt>
                <c:pt idx="515">
                  <c:v>125.25892250232063</c:v>
                </c:pt>
                <c:pt idx="516">
                  <c:v>126.17584072154774</c:v>
                </c:pt>
                <c:pt idx="517">
                  <c:v>126.11590664902752</c:v>
                </c:pt>
                <c:pt idx="518">
                  <c:v>126.430195078097</c:v>
                </c:pt>
                <c:pt idx="519">
                  <c:v>126.87677700870506</c:v>
                </c:pt>
                <c:pt idx="520">
                  <c:v>127.69867779588793</c:v>
                </c:pt>
                <c:pt idx="521">
                  <c:v>127.28462106317198</c:v>
                </c:pt>
                <c:pt idx="522">
                  <c:v>127.29960458130203</c:v>
                </c:pt>
                <c:pt idx="523">
                  <c:v>126.71670918087665</c:v>
                </c:pt>
                <c:pt idx="524">
                  <c:v>127.85472565543753</c:v>
                </c:pt>
                <c:pt idx="525">
                  <c:v>128.29692216610508</c:v>
                </c:pt>
                <c:pt idx="526">
                  <c:v>127.51522106171016</c:v>
                </c:pt>
                <c:pt idx="527">
                  <c:v>128.37659062835758</c:v>
                </c:pt>
                <c:pt idx="528">
                  <c:v>128.31921471746932</c:v>
                </c:pt>
                <c:pt idx="529">
                  <c:v>128.96350599706176</c:v>
                </c:pt>
                <c:pt idx="530">
                  <c:v>127.98884641528466</c:v>
                </c:pt>
                <c:pt idx="531">
                  <c:v>127.64166733666138</c:v>
                </c:pt>
                <c:pt idx="532">
                  <c:v>127.64641820826358</c:v>
                </c:pt>
                <c:pt idx="533">
                  <c:v>126.96813992413223</c:v>
                </c:pt>
                <c:pt idx="534">
                  <c:v>126.75288889538581</c:v>
                </c:pt>
                <c:pt idx="535">
                  <c:v>127.45236337589627</c:v>
                </c:pt>
                <c:pt idx="536">
                  <c:v>126.88774055855632</c:v>
                </c:pt>
                <c:pt idx="537">
                  <c:v>126.45650759774006</c:v>
                </c:pt>
                <c:pt idx="538">
                  <c:v>126.14477733030252</c:v>
                </c:pt>
                <c:pt idx="539">
                  <c:v>126.78285593164591</c:v>
                </c:pt>
                <c:pt idx="540">
                  <c:v>127.0094359619053</c:v>
                </c:pt>
                <c:pt idx="541">
                  <c:v>127.2520958652799</c:v>
                </c:pt>
                <c:pt idx="542">
                  <c:v>128.40728856794109</c:v>
                </c:pt>
                <c:pt idx="543">
                  <c:v>128.52021313140912</c:v>
                </c:pt>
                <c:pt idx="544">
                  <c:v>127.46076876411556</c:v>
                </c:pt>
                <c:pt idx="545">
                  <c:v>127.28206290154</c:v>
                </c:pt>
                <c:pt idx="546">
                  <c:v>127.42020362966591</c:v>
                </c:pt>
                <c:pt idx="547">
                  <c:v>127.1095697172135</c:v>
                </c:pt>
                <c:pt idx="548">
                  <c:v>127.56053706776203</c:v>
                </c:pt>
                <c:pt idx="549">
                  <c:v>127.72754847716293</c:v>
                </c:pt>
                <c:pt idx="550">
                  <c:v>128.66091202116695</c:v>
                </c:pt>
                <c:pt idx="551">
                  <c:v>128.66968286104796</c:v>
                </c:pt>
                <c:pt idx="552">
                  <c:v>128.77274022964983</c:v>
                </c:pt>
                <c:pt idx="553">
                  <c:v>128.65250663294765</c:v>
                </c:pt>
                <c:pt idx="554">
                  <c:v>128.29546035945825</c:v>
                </c:pt>
                <c:pt idx="555">
                  <c:v>127.91173611466411</c:v>
                </c:pt>
                <c:pt idx="556">
                  <c:v>127.3832930118333</c:v>
                </c:pt>
                <c:pt idx="557">
                  <c:v>126.87531520205822</c:v>
                </c:pt>
                <c:pt idx="558">
                  <c:v>127.31312629278524</c:v>
                </c:pt>
                <c:pt idx="559">
                  <c:v>127.45017066592601</c:v>
                </c:pt>
                <c:pt idx="560">
                  <c:v>128.28705497123894</c:v>
                </c:pt>
                <c:pt idx="561">
                  <c:v>128.93098079916967</c:v>
                </c:pt>
                <c:pt idx="562">
                  <c:v>129.75726700629306</c:v>
                </c:pt>
                <c:pt idx="563">
                  <c:v>129.35490472675178</c:v>
                </c:pt>
                <c:pt idx="564">
                  <c:v>128.3228692340864</c:v>
                </c:pt>
                <c:pt idx="565">
                  <c:v>128.25599157999369</c:v>
                </c:pt>
                <c:pt idx="566">
                  <c:v>128.41021218123478</c:v>
                </c:pt>
                <c:pt idx="567">
                  <c:v>129.88809870118479</c:v>
                </c:pt>
                <c:pt idx="568">
                  <c:v>129.74849616641205</c:v>
                </c:pt>
                <c:pt idx="569">
                  <c:v>131.54286382540181</c:v>
                </c:pt>
                <c:pt idx="570">
                  <c:v>132.03731992369367</c:v>
                </c:pt>
                <c:pt idx="571">
                  <c:v>131.96788410796904</c:v>
                </c:pt>
                <c:pt idx="572">
                  <c:v>131.32651644167026</c:v>
                </c:pt>
                <c:pt idx="573">
                  <c:v>130.88980170592836</c:v>
                </c:pt>
                <c:pt idx="574">
                  <c:v>130.50534655781081</c:v>
                </c:pt>
                <c:pt idx="575">
                  <c:v>130.55212437050949</c:v>
                </c:pt>
                <c:pt idx="576">
                  <c:v>129.75543974798452</c:v>
                </c:pt>
                <c:pt idx="577">
                  <c:v>129.6282625697099</c:v>
                </c:pt>
                <c:pt idx="578">
                  <c:v>130.04378110907268</c:v>
                </c:pt>
                <c:pt idx="579">
                  <c:v>130.30800266048809</c:v>
                </c:pt>
                <c:pt idx="580">
                  <c:v>129.68856209389185</c:v>
                </c:pt>
                <c:pt idx="581">
                  <c:v>129.06437065569335</c:v>
                </c:pt>
                <c:pt idx="582">
                  <c:v>129.3176286572575</c:v>
                </c:pt>
                <c:pt idx="583">
                  <c:v>130.10700424654831</c:v>
                </c:pt>
                <c:pt idx="584">
                  <c:v>129.29021978262935</c:v>
                </c:pt>
                <c:pt idx="585">
                  <c:v>129.12320837322847</c:v>
                </c:pt>
                <c:pt idx="586">
                  <c:v>129.20397319046609</c:v>
                </c:pt>
                <c:pt idx="587">
                  <c:v>127.1815636945701</c:v>
                </c:pt>
                <c:pt idx="588">
                  <c:v>127.40668191818267</c:v>
                </c:pt>
                <c:pt idx="589">
                  <c:v>127.93951044095397</c:v>
                </c:pt>
                <c:pt idx="590">
                  <c:v>127.70635228078382</c:v>
                </c:pt>
                <c:pt idx="591">
                  <c:v>127.86678556027394</c:v>
                </c:pt>
                <c:pt idx="592">
                  <c:v>128.73984958009603</c:v>
                </c:pt>
                <c:pt idx="593">
                  <c:v>128.49938238669171</c:v>
                </c:pt>
                <c:pt idx="594">
                  <c:v>127.98153738205048</c:v>
                </c:pt>
                <c:pt idx="595">
                  <c:v>128.46356812384425</c:v>
                </c:pt>
                <c:pt idx="596">
                  <c:v>127.68661789105154</c:v>
                </c:pt>
                <c:pt idx="597">
                  <c:v>128.54287113443505</c:v>
                </c:pt>
                <c:pt idx="598">
                  <c:v>129.28912342764423</c:v>
                </c:pt>
                <c:pt idx="599">
                  <c:v>129.27450536117587</c:v>
                </c:pt>
                <c:pt idx="600">
                  <c:v>129.89833134771263</c:v>
                </c:pt>
                <c:pt idx="601">
                  <c:v>130.05218649729201</c:v>
                </c:pt>
                <c:pt idx="602">
                  <c:v>130.45089426021619</c:v>
                </c:pt>
                <c:pt idx="603">
                  <c:v>130.74106287961291</c:v>
                </c:pt>
                <c:pt idx="604">
                  <c:v>130.38730567107888</c:v>
                </c:pt>
                <c:pt idx="605">
                  <c:v>129.70537287033045</c:v>
                </c:pt>
                <c:pt idx="606">
                  <c:v>129.78321407427438</c:v>
                </c:pt>
                <c:pt idx="607">
                  <c:v>129.92391296403224</c:v>
                </c:pt>
                <c:pt idx="608">
                  <c:v>129.63008982801844</c:v>
                </c:pt>
                <c:pt idx="609">
                  <c:v>130.17717096559639</c:v>
                </c:pt>
                <c:pt idx="610">
                  <c:v>130.04633927070466</c:v>
                </c:pt>
                <c:pt idx="611">
                  <c:v>129.51789616787389</c:v>
                </c:pt>
                <c:pt idx="612">
                  <c:v>129.18533515571895</c:v>
                </c:pt>
                <c:pt idx="613">
                  <c:v>128.31482929752883</c:v>
                </c:pt>
                <c:pt idx="614">
                  <c:v>127.89127082160843</c:v>
                </c:pt>
                <c:pt idx="615">
                  <c:v>126.76641060686904</c:v>
                </c:pt>
                <c:pt idx="616">
                  <c:v>126.58295387269125</c:v>
                </c:pt>
                <c:pt idx="617">
                  <c:v>127.94097224760081</c:v>
                </c:pt>
                <c:pt idx="618">
                  <c:v>127.41545275806368</c:v>
                </c:pt>
                <c:pt idx="619">
                  <c:v>128.04366416454096</c:v>
                </c:pt>
                <c:pt idx="620">
                  <c:v>128.60609427191065</c:v>
                </c:pt>
                <c:pt idx="621">
                  <c:v>128.69964989730806</c:v>
                </c:pt>
                <c:pt idx="622">
                  <c:v>129.09360678863007</c:v>
                </c:pt>
                <c:pt idx="623">
                  <c:v>128.71061344715932</c:v>
                </c:pt>
                <c:pt idx="624">
                  <c:v>129.08264323877881</c:v>
                </c:pt>
                <c:pt idx="625">
                  <c:v>127.63947462669111</c:v>
                </c:pt>
                <c:pt idx="626">
                  <c:v>126.24344927896385</c:v>
                </c:pt>
                <c:pt idx="627">
                  <c:v>127.01199412353728</c:v>
                </c:pt>
                <c:pt idx="628">
                  <c:v>129.09616495026205</c:v>
                </c:pt>
                <c:pt idx="629">
                  <c:v>129.43822770562136</c:v>
                </c:pt>
                <c:pt idx="630">
                  <c:v>129.73716716489909</c:v>
                </c:pt>
                <c:pt idx="631">
                  <c:v>129.55882675398524</c:v>
                </c:pt>
                <c:pt idx="632">
                  <c:v>130.46112690674406</c:v>
                </c:pt>
                <c:pt idx="633">
                  <c:v>129.62643531140134</c:v>
                </c:pt>
                <c:pt idx="634">
                  <c:v>129.98128887492049</c:v>
                </c:pt>
                <c:pt idx="635">
                  <c:v>130.87518363946</c:v>
                </c:pt>
                <c:pt idx="636">
                  <c:v>131.53920930878473</c:v>
                </c:pt>
                <c:pt idx="637">
                  <c:v>131.9872530460396</c:v>
                </c:pt>
                <c:pt idx="638">
                  <c:v>132.3395484479268</c:v>
                </c:pt>
                <c:pt idx="639">
                  <c:v>131.912700907051</c:v>
                </c:pt>
                <c:pt idx="640">
                  <c:v>132.2562254690572</c:v>
                </c:pt>
                <c:pt idx="641">
                  <c:v>131.56223276347237</c:v>
                </c:pt>
                <c:pt idx="642">
                  <c:v>131.99273482096524</c:v>
                </c:pt>
                <c:pt idx="643">
                  <c:v>133.41141817171842</c:v>
                </c:pt>
                <c:pt idx="644">
                  <c:v>133.78162070502933</c:v>
                </c:pt>
                <c:pt idx="645">
                  <c:v>134.19385017943677</c:v>
                </c:pt>
                <c:pt idx="646">
                  <c:v>135.99589232332238</c:v>
                </c:pt>
                <c:pt idx="647">
                  <c:v>136.53639533098956</c:v>
                </c:pt>
                <c:pt idx="648">
                  <c:v>137.2303880365744</c:v>
                </c:pt>
                <c:pt idx="649">
                  <c:v>137.68683716204856</c:v>
                </c:pt>
                <c:pt idx="650">
                  <c:v>137.75152210617102</c:v>
                </c:pt>
                <c:pt idx="651">
                  <c:v>137.3319835985294</c:v>
                </c:pt>
                <c:pt idx="652">
                  <c:v>137.91305174064627</c:v>
                </c:pt>
                <c:pt idx="653">
                  <c:v>138.69000197343897</c:v>
                </c:pt>
                <c:pt idx="654">
                  <c:v>137.89477915756083</c:v>
                </c:pt>
                <c:pt idx="655">
                  <c:v>139.41505807026903</c:v>
                </c:pt>
                <c:pt idx="656">
                  <c:v>139.98187359757927</c:v>
                </c:pt>
                <c:pt idx="657">
                  <c:v>140.60387232580746</c:v>
                </c:pt>
                <c:pt idx="658">
                  <c:v>141.03510528662372</c:v>
                </c:pt>
                <c:pt idx="659">
                  <c:v>142.21551415394285</c:v>
                </c:pt>
                <c:pt idx="660">
                  <c:v>141.53540861150296</c:v>
                </c:pt>
                <c:pt idx="661">
                  <c:v>139.71801749782554</c:v>
                </c:pt>
                <c:pt idx="662">
                  <c:v>139.33502415635485</c:v>
                </c:pt>
                <c:pt idx="663">
                  <c:v>138.92900736019647</c:v>
                </c:pt>
                <c:pt idx="664">
                  <c:v>139.82984570630842</c:v>
                </c:pt>
                <c:pt idx="665">
                  <c:v>140.67330814153212</c:v>
                </c:pt>
                <c:pt idx="666">
                  <c:v>142.69937215404519</c:v>
                </c:pt>
                <c:pt idx="667">
                  <c:v>141.80072651790348</c:v>
                </c:pt>
                <c:pt idx="668">
                  <c:v>142.08212429741917</c:v>
                </c:pt>
                <c:pt idx="669">
                  <c:v>141.92973095448664</c:v>
                </c:pt>
                <c:pt idx="670">
                  <c:v>142.09491510557896</c:v>
                </c:pt>
                <c:pt idx="671">
                  <c:v>142.04119371130778</c:v>
                </c:pt>
                <c:pt idx="672">
                  <c:v>142.31235884429566</c:v>
                </c:pt>
                <c:pt idx="673">
                  <c:v>142.74066819181826</c:v>
                </c:pt>
                <c:pt idx="674">
                  <c:v>143.23037341850792</c:v>
                </c:pt>
                <c:pt idx="675">
                  <c:v>143.2172171586864</c:v>
                </c:pt>
                <c:pt idx="676">
                  <c:v>142.76880796976982</c:v>
                </c:pt>
                <c:pt idx="677">
                  <c:v>143.54356549259228</c:v>
                </c:pt>
                <c:pt idx="678">
                  <c:v>143.59180511193784</c:v>
                </c:pt>
                <c:pt idx="679">
                  <c:v>143.33343078710979</c:v>
                </c:pt>
                <c:pt idx="680">
                  <c:v>144.13778989453064</c:v>
                </c:pt>
                <c:pt idx="681">
                  <c:v>143.73652396997448</c:v>
                </c:pt>
                <c:pt idx="682">
                  <c:v>142.58133126731326</c:v>
                </c:pt>
                <c:pt idx="683">
                  <c:v>141.7981683562715</c:v>
                </c:pt>
                <c:pt idx="684">
                  <c:v>140.89075188024879</c:v>
                </c:pt>
                <c:pt idx="685">
                  <c:v>141.63517691514943</c:v>
                </c:pt>
                <c:pt idx="686">
                  <c:v>141.90341843484362</c:v>
                </c:pt>
                <c:pt idx="687">
                  <c:v>141.3018849996711</c:v>
                </c:pt>
                <c:pt idx="688">
                  <c:v>141.50105615530234</c:v>
                </c:pt>
                <c:pt idx="689">
                  <c:v>141.00988912196584</c:v>
                </c:pt>
                <c:pt idx="690">
                  <c:v>140.65759372007864</c:v>
                </c:pt>
                <c:pt idx="691">
                  <c:v>141.13194997697653</c:v>
                </c:pt>
                <c:pt idx="692">
                  <c:v>140.85566852072475</c:v>
                </c:pt>
                <c:pt idx="693">
                  <c:v>140.34476709765599</c:v>
                </c:pt>
                <c:pt idx="694">
                  <c:v>141.81753729434209</c:v>
                </c:pt>
                <c:pt idx="695">
                  <c:v>141.2649743818385</c:v>
                </c:pt>
                <c:pt idx="696">
                  <c:v>141.22733286068251</c:v>
                </c:pt>
                <c:pt idx="697">
                  <c:v>141.28470877157076</c:v>
                </c:pt>
                <c:pt idx="698">
                  <c:v>141.63554236681114</c:v>
                </c:pt>
                <c:pt idx="699">
                  <c:v>141.67062572633517</c:v>
                </c:pt>
                <c:pt idx="700">
                  <c:v>141.00075283042312</c:v>
                </c:pt>
                <c:pt idx="701">
                  <c:v>140.42882097984898</c:v>
                </c:pt>
                <c:pt idx="702">
                  <c:v>140.32357090127687</c:v>
                </c:pt>
                <c:pt idx="703">
                  <c:v>140.86772842556115</c:v>
                </c:pt>
                <c:pt idx="704">
                  <c:v>141.77368309493704</c:v>
                </c:pt>
                <c:pt idx="705">
                  <c:v>141.88368404511135</c:v>
                </c:pt>
                <c:pt idx="706">
                  <c:v>142.32405329747033</c:v>
                </c:pt>
                <c:pt idx="707">
                  <c:v>142.20272334578306</c:v>
                </c:pt>
                <c:pt idx="708">
                  <c:v>141.6684330163649</c:v>
                </c:pt>
                <c:pt idx="709">
                  <c:v>141.98637596205151</c:v>
                </c:pt>
                <c:pt idx="710">
                  <c:v>141.37132081539573</c:v>
                </c:pt>
                <c:pt idx="711">
                  <c:v>141.22879466732934</c:v>
                </c:pt>
                <c:pt idx="712">
                  <c:v>141.48095631390837</c:v>
                </c:pt>
                <c:pt idx="713">
                  <c:v>141.90378388650529</c:v>
                </c:pt>
                <c:pt idx="714">
                  <c:v>141.54052493476686</c:v>
                </c:pt>
                <c:pt idx="715">
                  <c:v>141.79451383965443</c:v>
                </c:pt>
                <c:pt idx="716">
                  <c:v>141.81022826110791</c:v>
                </c:pt>
                <c:pt idx="717">
                  <c:v>141.74737057529401</c:v>
                </c:pt>
                <c:pt idx="718">
                  <c:v>141.40055694833242</c:v>
                </c:pt>
                <c:pt idx="719">
                  <c:v>141.11660100718478</c:v>
                </c:pt>
                <c:pt idx="720">
                  <c:v>140.63566662037613</c:v>
                </c:pt>
                <c:pt idx="721">
                  <c:v>141.22367834406541</c:v>
                </c:pt>
                <c:pt idx="722">
                  <c:v>141.68341653449497</c:v>
                </c:pt>
                <c:pt idx="723">
                  <c:v>141.94654173092525</c:v>
                </c:pt>
                <c:pt idx="724">
                  <c:v>142.2977407778273</c:v>
                </c:pt>
                <c:pt idx="725">
                  <c:v>141.73640702544273</c:v>
                </c:pt>
                <c:pt idx="726">
                  <c:v>140.93204791802188</c:v>
                </c:pt>
                <c:pt idx="727">
                  <c:v>140.54868912488945</c:v>
                </c:pt>
                <c:pt idx="728">
                  <c:v>140.48838960070751</c:v>
                </c:pt>
                <c:pt idx="729">
                  <c:v>141.0592250962965</c:v>
                </c:pt>
                <c:pt idx="730">
                  <c:v>141.31650306613943</c:v>
                </c:pt>
                <c:pt idx="731">
                  <c:v>140.78550180167667</c:v>
                </c:pt>
                <c:pt idx="732">
                  <c:v>140.43759181972999</c:v>
                </c:pt>
                <c:pt idx="733">
                  <c:v>140.75772747538682</c:v>
                </c:pt>
                <c:pt idx="734">
                  <c:v>141.29859593471571</c:v>
                </c:pt>
                <c:pt idx="735">
                  <c:v>141.21198389089074</c:v>
                </c:pt>
                <c:pt idx="736">
                  <c:v>141.12537184706579</c:v>
                </c:pt>
                <c:pt idx="737">
                  <c:v>141.46926186073367</c:v>
                </c:pt>
                <c:pt idx="738">
                  <c:v>140.51981844361444</c:v>
                </c:pt>
                <c:pt idx="739">
                  <c:v>139.90622510360552</c:v>
                </c:pt>
                <c:pt idx="740">
                  <c:v>139.43113794338421</c:v>
                </c:pt>
                <c:pt idx="741">
                  <c:v>139.249508467515</c:v>
                </c:pt>
                <c:pt idx="742">
                  <c:v>138.58146282991149</c:v>
                </c:pt>
                <c:pt idx="743">
                  <c:v>137.59510879495969</c:v>
                </c:pt>
                <c:pt idx="744">
                  <c:v>136.04486284599136</c:v>
                </c:pt>
                <c:pt idx="745">
                  <c:v>136.21479786868591</c:v>
                </c:pt>
                <c:pt idx="746">
                  <c:v>137.00746252293209</c:v>
                </c:pt>
                <c:pt idx="747">
                  <c:v>137.10613447159344</c:v>
                </c:pt>
                <c:pt idx="748">
                  <c:v>137.3648742480832</c:v>
                </c:pt>
                <c:pt idx="749">
                  <c:v>137.58158708347645</c:v>
                </c:pt>
                <c:pt idx="750">
                  <c:v>137.93899880862756</c:v>
                </c:pt>
                <c:pt idx="751">
                  <c:v>137.97225490984306</c:v>
                </c:pt>
                <c:pt idx="752">
                  <c:v>138.03547804731866</c:v>
                </c:pt>
                <c:pt idx="753">
                  <c:v>138.73714523779938</c:v>
                </c:pt>
                <c:pt idx="754">
                  <c:v>139.45489230139529</c:v>
                </c:pt>
                <c:pt idx="755">
                  <c:v>139.48668659596396</c:v>
                </c:pt>
                <c:pt idx="756">
                  <c:v>139.0269484055344</c:v>
                </c:pt>
                <c:pt idx="757">
                  <c:v>138.72654713960983</c:v>
                </c:pt>
                <c:pt idx="758">
                  <c:v>139.55064063676298</c:v>
                </c:pt>
                <c:pt idx="759">
                  <c:v>140.37363777893097</c:v>
                </c:pt>
                <c:pt idx="760">
                  <c:v>141.16045520658983</c:v>
                </c:pt>
                <c:pt idx="761">
                  <c:v>141.58657184414216</c:v>
                </c:pt>
                <c:pt idx="762">
                  <c:v>141.36035726554448</c:v>
                </c:pt>
                <c:pt idx="763">
                  <c:v>141.33514110088657</c:v>
                </c:pt>
                <c:pt idx="764">
                  <c:v>140.75041844215264</c:v>
                </c:pt>
                <c:pt idx="765">
                  <c:v>140.49204411732461</c:v>
                </c:pt>
                <c:pt idx="766">
                  <c:v>140.24280608403924</c:v>
                </c:pt>
                <c:pt idx="767">
                  <c:v>140.3666941973585</c:v>
                </c:pt>
                <c:pt idx="768">
                  <c:v>140.06702383475738</c:v>
                </c:pt>
                <c:pt idx="769">
                  <c:v>140.67513539984066</c:v>
                </c:pt>
                <c:pt idx="770">
                  <c:v>140.6853680463685</c:v>
                </c:pt>
                <c:pt idx="771">
                  <c:v>140.32064728798321</c:v>
                </c:pt>
                <c:pt idx="772">
                  <c:v>139.62007645248761</c:v>
                </c:pt>
                <c:pt idx="773">
                  <c:v>139.13621845238529</c:v>
                </c:pt>
                <c:pt idx="774">
                  <c:v>139.98333540422607</c:v>
                </c:pt>
                <c:pt idx="775">
                  <c:v>141.6848783411418</c:v>
                </c:pt>
                <c:pt idx="776">
                  <c:v>143.02608593961276</c:v>
                </c:pt>
                <c:pt idx="777">
                  <c:v>143.74602571317891</c:v>
                </c:pt>
                <c:pt idx="778">
                  <c:v>143.05788023418143</c:v>
                </c:pt>
                <c:pt idx="779">
                  <c:v>142.79000416614892</c:v>
                </c:pt>
                <c:pt idx="780">
                  <c:v>143.82203965881433</c:v>
                </c:pt>
                <c:pt idx="781">
                  <c:v>142.88867611481029</c:v>
                </c:pt>
                <c:pt idx="782">
                  <c:v>141.663316693101</c:v>
                </c:pt>
                <c:pt idx="783">
                  <c:v>140.91852620653867</c:v>
                </c:pt>
                <c:pt idx="784">
                  <c:v>141.11331194222942</c:v>
                </c:pt>
                <c:pt idx="785">
                  <c:v>141.37132081539573</c:v>
                </c:pt>
                <c:pt idx="786">
                  <c:v>141.42211859637325</c:v>
                </c:pt>
                <c:pt idx="787">
                  <c:v>142.03096106477994</c:v>
                </c:pt>
                <c:pt idx="788">
                  <c:v>142.23926851195392</c:v>
                </c:pt>
                <c:pt idx="789">
                  <c:v>142.77392429303376</c:v>
                </c:pt>
                <c:pt idx="790">
                  <c:v>142.19797247418083</c:v>
                </c:pt>
                <c:pt idx="791">
                  <c:v>141.70242002090384</c:v>
                </c:pt>
                <c:pt idx="792">
                  <c:v>140.94849324279878</c:v>
                </c:pt>
                <c:pt idx="793">
                  <c:v>140.9711512458247</c:v>
                </c:pt>
                <c:pt idx="794">
                  <c:v>141.84165710401484</c:v>
                </c:pt>
                <c:pt idx="795">
                  <c:v>141.34171923079734</c:v>
                </c:pt>
                <c:pt idx="796">
                  <c:v>141.22952557065275</c:v>
                </c:pt>
                <c:pt idx="797">
                  <c:v>140.47706059919454</c:v>
                </c:pt>
                <c:pt idx="798">
                  <c:v>140.4799842124882</c:v>
                </c:pt>
                <c:pt idx="799">
                  <c:v>140.80450528808552</c:v>
                </c:pt>
                <c:pt idx="800">
                  <c:v>141.23939276551889</c:v>
                </c:pt>
                <c:pt idx="801">
                  <c:v>142.54442064948068</c:v>
                </c:pt>
                <c:pt idx="802">
                  <c:v>143.18944283239657</c:v>
                </c:pt>
                <c:pt idx="803">
                  <c:v>142.84555281872866</c:v>
                </c:pt>
                <c:pt idx="804">
                  <c:v>142.67415598938729</c:v>
                </c:pt>
                <c:pt idx="805">
                  <c:v>143.17957563753041</c:v>
                </c:pt>
                <c:pt idx="806">
                  <c:v>143.84798672679565</c:v>
                </c:pt>
                <c:pt idx="807">
                  <c:v>143.32502539889049</c:v>
                </c:pt>
                <c:pt idx="808">
                  <c:v>143.69303522223115</c:v>
                </c:pt>
                <c:pt idx="809">
                  <c:v>145.01158481767618</c:v>
                </c:pt>
                <c:pt idx="810">
                  <c:v>144.08735756521483</c:v>
                </c:pt>
                <c:pt idx="811">
                  <c:v>143.95725677364655</c:v>
                </c:pt>
                <c:pt idx="812">
                  <c:v>145.6134837045104</c:v>
                </c:pt>
                <c:pt idx="813">
                  <c:v>144.64065138104183</c:v>
                </c:pt>
                <c:pt idx="814">
                  <c:v>144.73128339314559</c:v>
                </c:pt>
                <c:pt idx="815">
                  <c:v>145.64747070904932</c:v>
                </c:pt>
                <c:pt idx="816">
                  <c:v>146.79608528179978</c:v>
                </c:pt>
                <c:pt idx="817">
                  <c:v>147.11293187250124</c:v>
                </c:pt>
                <c:pt idx="818">
                  <c:v>146.80814518663615</c:v>
                </c:pt>
                <c:pt idx="819">
                  <c:v>147.99842124882142</c:v>
                </c:pt>
                <c:pt idx="820">
                  <c:v>148.37520191204311</c:v>
                </c:pt>
                <c:pt idx="821">
                  <c:v>147.67645833485602</c:v>
                </c:pt>
                <c:pt idx="822">
                  <c:v>148.91058859644633</c:v>
                </c:pt>
                <c:pt idx="823">
                  <c:v>148.87660159190744</c:v>
                </c:pt>
                <c:pt idx="824">
                  <c:v>149.18504279438957</c:v>
                </c:pt>
                <c:pt idx="825">
                  <c:v>149.36703772192052</c:v>
                </c:pt>
                <c:pt idx="826">
                  <c:v>149.9714947703867</c:v>
                </c:pt>
                <c:pt idx="827">
                  <c:v>149.51212203161884</c:v>
                </c:pt>
                <c:pt idx="828">
                  <c:v>149.36849952856736</c:v>
                </c:pt>
                <c:pt idx="829">
                  <c:v>149.79607797276654</c:v>
                </c:pt>
                <c:pt idx="830">
                  <c:v>149.74308748181875</c:v>
                </c:pt>
                <c:pt idx="831">
                  <c:v>150.19588209067584</c:v>
                </c:pt>
                <c:pt idx="832">
                  <c:v>149.7094659289416</c:v>
                </c:pt>
                <c:pt idx="833">
                  <c:v>150.16628050607747</c:v>
                </c:pt>
                <c:pt idx="834">
                  <c:v>150.95821425700021</c:v>
                </c:pt>
                <c:pt idx="835">
                  <c:v>151.402603477638</c:v>
                </c:pt>
                <c:pt idx="836">
                  <c:v>151.40114167099119</c:v>
                </c:pt>
                <c:pt idx="837">
                  <c:v>152.27639840078353</c:v>
                </c:pt>
                <c:pt idx="838">
                  <c:v>151.26738636280578</c:v>
                </c:pt>
                <c:pt idx="839">
                  <c:v>150.94725070714895</c:v>
                </c:pt>
                <c:pt idx="840">
                  <c:v>149.15544120979118</c:v>
                </c:pt>
                <c:pt idx="841">
                  <c:v>149.22633883216267</c:v>
                </c:pt>
                <c:pt idx="842">
                  <c:v>149.81069603923487</c:v>
                </c:pt>
                <c:pt idx="843">
                  <c:v>151.35107479333706</c:v>
                </c:pt>
                <c:pt idx="844">
                  <c:v>151.96210997171403</c:v>
                </c:pt>
                <c:pt idx="845">
                  <c:v>151.9273920638517</c:v>
                </c:pt>
                <c:pt idx="846">
                  <c:v>150.39432234298368</c:v>
                </c:pt>
                <c:pt idx="847">
                  <c:v>149.87318827338706</c:v>
                </c:pt>
                <c:pt idx="848">
                  <c:v>149.67438256941753</c:v>
                </c:pt>
                <c:pt idx="849">
                  <c:v>149.38055943340373</c:v>
                </c:pt>
                <c:pt idx="850">
                  <c:v>149.77268906641717</c:v>
                </c:pt>
                <c:pt idx="851">
                  <c:v>150.55914104241432</c:v>
                </c:pt>
                <c:pt idx="852">
                  <c:v>152.08563263337157</c:v>
                </c:pt>
                <c:pt idx="853">
                  <c:v>152.90570616224593</c:v>
                </c:pt>
                <c:pt idx="854">
                  <c:v>153.78827192527245</c:v>
                </c:pt>
                <c:pt idx="855">
                  <c:v>153.72175972284145</c:v>
                </c:pt>
                <c:pt idx="856">
                  <c:v>153.94066526820498</c:v>
                </c:pt>
                <c:pt idx="857">
                  <c:v>153.51674134062284</c:v>
                </c:pt>
                <c:pt idx="858">
                  <c:v>153.02703611393321</c:v>
                </c:pt>
                <c:pt idx="859">
                  <c:v>154.10109854769507</c:v>
                </c:pt>
                <c:pt idx="860">
                  <c:v>154.41904149338168</c:v>
                </c:pt>
                <c:pt idx="861">
                  <c:v>154.4709356293443</c:v>
                </c:pt>
                <c:pt idx="862">
                  <c:v>154.25422279395104</c:v>
                </c:pt>
                <c:pt idx="863">
                  <c:v>154.33973848279089</c:v>
                </c:pt>
                <c:pt idx="864">
                  <c:v>154.45229759459716</c:v>
                </c:pt>
                <c:pt idx="865">
                  <c:v>155.03263483339057</c:v>
                </c:pt>
                <c:pt idx="866">
                  <c:v>154.73771534239165</c:v>
                </c:pt>
                <c:pt idx="867">
                  <c:v>155.03263483339057</c:v>
                </c:pt>
                <c:pt idx="868">
                  <c:v>156.24410709195493</c:v>
                </c:pt>
                <c:pt idx="869">
                  <c:v>155.50041296037773</c:v>
                </c:pt>
                <c:pt idx="870">
                  <c:v>156.42537111616247</c:v>
                </c:pt>
                <c:pt idx="871">
                  <c:v>156.73088870535094</c:v>
                </c:pt>
                <c:pt idx="872">
                  <c:v>156.54633561618806</c:v>
                </c:pt>
                <c:pt idx="873">
                  <c:v>155.66852072476371</c:v>
                </c:pt>
                <c:pt idx="874">
                  <c:v>153.45059458985361</c:v>
                </c:pt>
                <c:pt idx="875">
                  <c:v>152.98062375289618</c:v>
                </c:pt>
                <c:pt idx="876">
                  <c:v>152.97916194624935</c:v>
                </c:pt>
                <c:pt idx="877">
                  <c:v>153.88767477725722</c:v>
                </c:pt>
                <c:pt idx="878">
                  <c:v>151.09745134011123</c:v>
                </c:pt>
                <c:pt idx="879">
                  <c:v>150.35339175687233</c:v>
                </c:pt>
                <c:pt idx="880">
                  <c:v>149.55195626274511</c:v>
                </c:pt>
                <c:pt idx="881">
                  <c:v>148.78341141817171</c:v>
                </c:pt>
                <c:pt idx="882">
                  <c:v>148.72128463568123</c:v>
                </c:pt>
                <c:pt idx="883">
                  <c:v>146.39664661555213</c:v>
                </c:pt>
                <c:pt idx="884">
                  <c:v>144.99038862129706</c:v>
                </c:pt>
                <c:pt idx="885">
                  <c:v>145.55172237368163</c:v>
                </c:pt>
                <c:pt idx="886">
                  <c:v>145.85285454292961</c:v>
                </c:pt>
                <c:pt idx="887">
                  <c:v>144.22622919666415</c:v>
                </c:pt>
                <c:pt idx="888">
                  <c:v>143.07140194566463</c:v>
                </c:pt>
                <c:pt idx="889">
                  <c:v>144.18456770722935</c:v>
                </c:pt>
                <c:pt idx="890">
                  <c:v>144.42905486891249</c:v>
                </c:pt>
                <c:pt idx="891">
                  <c:v>145.38324915763388</c:v>
                </c:pt>
                <c:pt idx="892">
                  <c:v>145.37118925279754</c:v>
                </c:pt>
                <c:pt idx="893">
                  <c:v>144.48131445653684</c:v>
                </c:pt>
                <c:pt idx="894">
                  <c:v>141.76637406170286</c:v>
                </c:pt>
                <c:pt idx="895">
                  <c:v>141.61800068704912</c:v>
                </c:pt>
                <c:pt idx="896">
                  <c:v>140.24719150397976</c:v>
                </c:pt>
                <c:pt idx="897">
                  <c:v>141.60009355562539</c:v>
                </c:pt>
                <c:pt idx="898">
                  <c:v>144.03655978423734</c:v>
                </c:pt>
                <c:pt idx="899">
                  <c:v>145.09965866814795</c:v>
                </c:pt>
                <c:pt idx="900">
                  <c:v>144.94763077687713</c:v>
                </c:pt>
                <c:pt idx="901">
                  <c:v>144.72982158649876</c:v>
                </c:pt>
                <c:pt idx="902">
                  <c:v>144.73968878136489</c:v>
                </c:pt>
                <c:pt idx="903">
                  <c:v>144.15606247761608</c:v>
                </c:pt>
                <c:pt idx="904">
                  <c:v>145.7644152407961</c:v>
                </c:pt>
                <c:pt idx="905">
                  <c:v>145.69278671510119</c:v>
                </c:pt>
                <c:pt idx="906">
                  <c:v>146.20551539647849</c:v>
                </c:pt>
                <c:pt idx="907">
                  <c:v>147.84237338927178</c:v>
                </c:pt>
                <c:pt idx="908">
                  <c:v>147.8599150690338</c:v>
                </c:pt>
                <c:pt idx="909">
                  <c:v>148.31892235613995</c:v>
                </c:pt>
                <c:pt idx="910">
                  <c:v>147.84895151918255</c:v>
                </c:pt>
                <c:pt idx="911">
                  <c:v>148.29005167486494</c:v>
                </c:pt>
                <c:pt idx="912">
                  <c:v>147.67280381823895</c:v>
                </c:pt>
                <c:pt idx="913">
                  <c:v>148.22134676246372</c:v>
                </c:pt>
                <c:pt idx="914">
                  <c:v>149.01656957834186</c:v>
                </c:pt>
                <c:pt idx="915">
                  <c:v>148.74284628372206</c:v>
                </c:pt>
                <c:pt idx="916">
                  <c:v>148.65879240152904</c:v>
                </c:pt>
                <c:pt idx="917">
                  <c:v>148.78852774143562</c:v>
                </c:pt>
                <c:pt idx="918">
                  <c:v>148.3795873319836</c:v>
                </c:pt>
                <c:pt idx="919">
                  <c:v>147.88074581375122</c:v>
                </c:pt>
                <c:pt idx="920">
                  <c:v>148.01303931528975</c:v>
                </c:pt>
                <c:pt idx="921">
                  <c:v>148.18333978964603</c:v>
                </c:pt>
                <c:pt idx="922">
                  <c:v>148.39822536673074</c:v>
                </c:pt>
                <c:pt idx="923">
                  <c:v>147.21525833777963</c:v>
                </c:pt>
                <c:pt idx="924">
                  <c:v>148.34304216581273</c:v>
                </c:pt>
                <c:pt idx="925">
                  <c:v>148.67450682298252</c:v>
                </c:pt>
                <c:pt idx="926">
                  <c:v>149.03557306475071</c:v>
                </c:pt>
                <c:pt idx="927">
                  <c:v>148.04483360985842</c:v>
                </c:pt>
                <c:pt idx="928">
                  <c:v>147.89828749351321</c:v>
                </c:pt>
                <c:pt idx="929">
                  <c:v>148.1157312322299</c:v>
                </c:pt>
                <c:pt idx="930">
                  <c:v>148.38141459029214</c:v>
                </c:pt>
                <c:pt idx="931">
                  <c:v>148.95151918255772</c:v>
                </c:pt>
                <c:pt idx="932">
                  <c:v>149.89694263139813</c:v>
                </c:pt>
                <c:pt idx="933">
                  <c:v>149.62066117514635</c:v>
                </c:pt>
                <c:pt idx="934">
                  <c:v>148.35071665070859</c:v>
                </c:pt>
                <c:pt idx="935">
                  <c:v>147.96881966422299</c:v>
                </c:pt>
                <c:pt idx="936">
                  <c:v>147.06030683321515</c:v>
                </c:pt>
                <c:pt idx="937">
                  <c:v>145.64198893412367</c:v>
                </c:pt>
                <c:pt idx="938">
                  <c:v>145.27726817573841</c:v>
                </c:pt>
                <c:pt idx="939">
                  <c:v>145.8111930534948</c:v>
                </c:pt>
                <c:pt idx="940">
                  <c:v>146.11378702938961</c:v>
                </c:pt>
                <c:pt idx="941">
                  <c:v>146.14704313060511</c:v>
                </c:pt>
                <c:pt idx="942">
                  <c:v>144.48314171484537</c:v>
                </c:pt>
                <c:pt idx="943">
                  <c:v>144.71154900341332</c:v>
                </c:pt>
                <c:pt idx="944">
                  <c:v>145.78524598551348</c:v>
                </c:pt>
                <c:pt idx="945">
                  <c:v>145.48959559119115</c:v>
                </c:pt>
                <c:pt idx="946">
                  <c:v>146.8483448694241</c:v>
                </c:pt>
                <c:pt idx="947">
                  <c:v>147.08735025618159</c:v>
                </c:pt>
                <c:pt idx="948">
                  <c:v>147.39871507195744</c:v>
                </c:pt>
                <c:pt idx="949">
                  <c:v>148.59630016737685</c:v>
                </c:pt>
                <c:pt idx="950">
                  <c:v>149.14703582157188</c:v>
                </c:pt>
                <c:pt idx="951">
                  <c:v>148.91935943632734</c:v>
                </c:pt>
                <c:pt idx="952">
                  <c:v>149.98428557854652</c:v>
                </c:pt>
                <c:pt idx="953">
                  <c:v>150.31575023571631</c:v>
                </c:pt>
                <c:pt idx="954">
                  <c:v>150.33036830218467</c:v>
                </c:pt>
                <c:pt idx="955">
                  <c:v>151.06711885218942</c:v>
                </c:pt>
                <c:pt idx="956">
                  <c:v>151.62589444294204</c:v>
                </c:pt>
                <c:pt idx="957">
                  <c:v>151.80898572545809</c:v>
                </c:pt>
                <c:pt idx="958">
                  <c:v>152.65610267729886</c:v>
                </c:pt>
                <c:pt idx="959">
                  <c:v>152.44340981018439</c:v>
                </c:pt>
                <c:pt idx="960">
                  <c:v>151.67084499733218</c:v>
                </c:pt>
                <c:pt idx="961">
                  <c:v>151.63466528282302</c:v>
                </c:pt>
                <c:pt idx="962">
                  <c:v>152.12144689621906</c:v>
                </c:pt>
                <c:pt idx="963">
                  <c:v>151.98330616809312</c:v>
                </c:pt>
                <c:pt idx="964">
                  <c:v>152.17845735544557</c:v>
                </c:pt>
                <c:pt idx="965">
                  <c:v>151.52502978431042</c:v>
                </c:pt>
                <c:pt idx="966">
                  <c:v>150.80910997902305</c:v>
                </c:pt>
                <c:pt idx="967">
                  <c:v>151.7084865184882</c:v>
                </c:pt>
                <c:pt idx="968">
                  <c:v>150.83030617540217</c:v>
                </c:pt>
                <c:pt idx="969">
                  <c:v>150.04933597433066</c:v>
                </c:pt>
                <c:pt idx="970">
                  <c:v>150.24594896832994</c:v>
                </c:pt>
                <c:pt idx="971">
                  <c:v>149.8571084002719</c:v>
                </c:pt>
                <c:pt idx="972">
                  <c:v>149.49056038357807</c:v>
                </c:pt>
                <c:pt idx="973">
                  <c:v>150.00109635498512</c:v>
                </c:pt>
                <c:pt idx="974">
                  <c:v>152.08051631010764</c:v>
                </c:pt>
                <c:pt idx="975">
                  <c:v>152.12400505785101</c:v>
                </c:pt>
                <c:pt idx="976">
                  <c:v>152.27822565909207</c:v>
                </c:pt>
                <c:pt idx="977">
                  <c:v>153.18016036018912</c:v>
                </c:pt>
                <c:pt idx="978">
                  <c:v>154.29113341178362</c:v>
                </c:pt>
                <c:pt idx="979">
                  <c:v>153.9881739842271</c:v>
                </c:pt>
                <c:pt idx="980">
                  <c:v>154.43950678643733</c:v>
                </c:pt>
                <c:pt idx="981">
                  <c:v>154.92665385149505</c:v>
                </c:pt>
                <c:pt idx="982">
                  <c:v>155.01947857356905</c:v>
                </c:pt>
                <c:pt idx="983">
                  <c:v>153.94249252651352</c:v>
                </c:pt>
                <c:pt idx="984">
                  <c:v>153.9629578195692</c:v>
                </c:pt>
                <c:pt idx="985">
                  <c:v>154.04152992683657</c:v>
                </c:pt>
                <c:pt idx="986">
                  <c:v>154.47020472602088</c:v>
                </c:pt>
                <c:pt idx="987">
                  <c:v>155.01472770196682</c:v>
                </c:pt>
                <c:pt idx="988">
                  <c:v>154.80057302820555</c:v>
                </c:pt>
                <c:pt idx="989">
                  <c:v>155.91812420971075</c:v>
                </c:pt>
                <c:pt idx="990">
                  <c:v>156.46703260559727</c:v>
                </c:pt>
                <c:pt idx="991">
                  <c:v>156.75171945006835</c:v>
                </c:pt>
                <c:pt idx="992">
                  <c:v>156.238990768691</c:v>
                </c:pt>
                <c:pt idx="993">
                  <c:v>156.78789916457748</c:v>
                </c:pt>
                <c:pt idx="994">
                  <c:v>156.67314734280095</c:v>
                </c:pt>
                <c:pt idx="995">
                  <c:v>156.81750074917591</c:v>
                </c:pt>
                <c:pt idx="996">
                  <c:v>156.44254734426278</c:v>
                </c:pt>
                <c:pt idx="997">
                  <c:v>155.62685923532894</c:v>
                </c:pt>
                <c:pt idx="998">
                  <c:v>155.58263958426218</c:v>
                </c:pt>
                <c:pt idx="999">
                  <c:v>156.08148110249456</c:v>
                </c:pt>
                <c:pt idx="1000">
                  <c:v>156.68337998932881</c:v>
                </c:pt>
                <c:pt idx="1001">
                  <c:v>156.87524211172587</c:v>
                </c:pt>
                <c:pt idx="1002">
                  <c:v>156.05882309946864</c:v>
                </c:pt>
                <c:pt idx="1003">
                  <c:v>155.83553213416459</c:v>
                </c:pt>
                <c:pt idx="1004">
                  <c:v>155.52818728666756</c:v>
                </c:pt>
                <c:pt idx="1005">
                  <c:v>155.38968110687998</c:v>
                </c:pt>
                <c:pt idx="1006">
                  <c:v>155.56473245283843</c:v>
                </c:pt>
                <c:pt idx="1007">
                  <c:v>154.56558760972683</c:v>
                </c:pt>
                <c:pt idx="1008">
                  <c:v>154.59811280761892</c:v>
                </c:pt>
                <c:pt idx="1009">
                  <c:v>154.52794608857084</c:v>
                </c:pt>
                <c:pt idx="1010">
                  <c:v>154.59336193601672</c:v>
                </c:pt>
                <c:pt idx="1011">
                  <c:v>154.31013689819247</c:v>
                </c:pt>
                <c:pt idx="1012">
                  <c:v>152.88158635257312</c:v>
                </c:pt>
                <c:pt idx="1013">
                  <c:v>152.35204689475722</c:v>
                </c:pt>
                <c:pt idx="1014">
                  <c:v>150.37349159826627</c:v>
                </c:pt>
                <c:pt idx="1015">
                  <c:v>150.85552234006008</c:v>
                </c:pt>
                <c:pt idx="1016">
                  <c:v>150.84711695184077</c:v>
                </c:pt>
                <c:pt idx="1017">
                  <c:v>150.06687765409271</c:v>
                </c:pt>
                <c:pt idx="1018">
                  <c:v>148.53709699818006</c:v>
                </c:pt>
                <c:pt idx="1019">
                  <c:v>147.71885072761427</c:v>
                </c:pt>
                <c:pt idx="1020">
                  <c:v>147.89463297689613</c:v>
                </c:pt>
                <c:pt idx="1021">
                  <c:v>148.76550428674798</c:v>
                </c:pt>
                <c:pt idx="1022">
                  <c:v>148.96832995899632</c:v>
                </c:pt>
                <c:pt idx="1023">
                  <c:v>149.55378352105367</c:v>
                </c:pt>
                <c:pt idx="1024">
                  <c:v>151.22535942170927</c:v>
                </c:pt>
                <c:pt idx="1025">
                  <c:v>152.13350680105543</c:v>
                </c:pt>
                <c:pt idx="1026">
                  <c:v>152.70214958667415</c:v>
                </c:pt>
                <c:pt idx="1027">
                  <c:v>153.48677430436274</c:v>
                </c:pt>
                <c:pt idx="1028">
                  <c:v>153.44584371825138</c:v>
                </c:pt>
                <c:pt idx="1029">
                  <c:v>153.59640980287537</c:v>
                </c:pt>
                <c:pt idx="1030">
                  <c:v>154.2571464072447</c:v>
                </c:pt>
                <c:pt idx="1031">
                  <c:v>153.70458349474114</c:v>
                </c:pt>
                <c:pt idx="1032">
                  <c:v>154.18953784982858</c:v>
                </c:pt>
                <c:pt idx="1033">
                  <c:v>153.70969981800508</c:v>
                </c:pt>
                <c:pt idx="1034">
                  <c:v>154.34339299940797</c:v>
                </c:pt>
                <c:pt idx="1035">
                  <c:v>154.44023768976078</c:v>
                </c:pt>
                <c:pt idx="1036">
                  <c:v>154.19648143140105</c:v>
                </c:pt>
                <c:pt idx="1037">
                  <c:v>154.66352865506479</c:v>
                </c:pt>
                <c:pt idx="1038">
                  <c:v>154.650737846905</c:v>
                </c:pt>
                <c:pt idx="1039">
                  <c:v>154.59774735595721</c:v>
                </c:pt>
                <c:pt idx="1040">
                  <c:v>156.16151501640877</c:v>
                </c:pt>
                <c:pt idx="1041">
                  <c:v>156.44474005423302</c:v>
                </c:pt>
                <c:pt idx="1042">
                  <c:v>156.92786715101192</c:v>
                </c:pt>
                <c:pt idx="1043">
                  <c:v>156.84564052712747</c:v>
                </c:pt>
                <c:pt idx="1044">
                  <c:v>157.01703735646885</c:v>
                </c:pt>
                <c:pt idx="1045">
                  <c:v>157.01521009816031</c:v>
                </c:pt>
                <c:pt idx="1046">
                  <c:v>154.98585702069187</c:v>
                </c:pt>
                <c:pt idx="1047">
                  <c:v>152.80484150361431</c:v>
                </c:pt>
                <c:pt idx="1048">
                  <c:v>152.01254230102984</c:v>
                </c:pt>
                <c:pt idx="1049">
                  <c:v>152.20623168173546</c:v>
                </c:pt>
                <c:pt idx="1050">
                  <c:v>151.93616290373271</c:v>
                </c:pt>
                <c:pt idx="1051">
                  <c:v>153.60956606269687</c:v>
                </c:pt>
                <c:pt idx="1052">
                  <c:v>153.7107961729902</c:v>
                </c:pt>
                <c:pt idx="1053">
                  <c:v>151.81885292032422</c:v>
                </c:pt>
                <c:pt idx="1054">
                  <c:v>151.34924753502855</c:v>
                </c:pt>
                <c:pt idx="1055">
                  <c:v>151.23230300328174</c:v>
                </c:pt>
                <c:pt idx="1056">
                  <c:v>152.25702946271298</c:v>
                </c:pt>
                <c:pt idx="1057">
                  <c:v>153.19185481336385</c:v>
                </c:pt>
                <c:pt idx="1058">
                  <c:v>153.19624023330434</c:v>
                </c:pt>
                <c:pt idx="1059">
                  <c:v>154.37518729397661</c:v>
                </c:pt>
                <c:pt idx="1060">
                  <c:v>155.97001834567342</c:v>
                </c:pt>
                <c:pt idx="1061">
                  <c:v>156.06722848768791</c:v>
                </c:pt>
                <c:pt idx="1062">
                  <c:v>156.75098854674491</c:v>
                </c:pt>
                <c:pt idx="1063">
                  <c:v>156.97939583531283</c:v>
                </c:pt>
                <c:pt idx="1064">
                  <c:v>157.1906268957805</c:v>
                </c:pt>
                <c:pt idx="1065">
                  <c:v>156.78278284131355</c:v>
                </c:pt>
                <c:pt idx="1066">
                  <c:v>156.76962658149205</c:v>
                </c:pt>
                <c:pt idx="1067">
                  <c:v>157.21036128551279</c:v>
                </c:pt>
                <c:pt idx="1068">
                  <c:v>158.22156603346073</c:v>
                </c:pt>
                <c:pt idx="1069">
                  <c:v>158.3827302162743</c:v>
                </c:pt>
                <c:pt idx="1070">
                  <c:v>158.43645161054545</c:v>
                </c:pt>
                <c:pt idx="1071">
                  <c:v>158.0472455908257</c:v>
                </c:pt>
                <c:pt idx="1072">
                  <c:v>157.73295716175619</c:v>
                </c:pt>
                <c:pt idx="1073">
                  <c:v>156.70274892739937</c:v>
                </c:pt>
                <c:pt idx="1074">
                  <c:v>158.85014289159975</c:v>
                </c:pt>
                <c:pt idx="1075">
                  <c:v>159.1099790230746</c:v>
                </c:pt>
                <c:pt idx="1076">
                  <c:v>158.67911151392005</c:v>
                </c:pt>
                <c:pt idx="1077">
                  <c:v>158.04797649414911</c:v>
                </c:pt>
                <c:pt idx="1078">
                  <c:v>157.80239297748088</c:v>
                </c:pt>
                <c:pt idx="1079">
                  <c:v>157.71468457867076</c:v>
                </c:pt>
                <c:pt idx="1080">
                  <c:v>156.62710043342568</c:v>
                </c:pt>
                <c:pt idx="1081">
                  <c:v>155.73137841057763</c:v>
                </c:pt>
                <c:pt idx="1082">
                  <c:v>155.00814957205611</c:v>
                </c:pt>
                <c:pt idx="1083">
                  <c:v>156.006928963506</c:v>
                </c:pt>
                <c:pt idx="1084">
                  <c:v>157.24398283838994</c:v>
                </c:pt>
                <c:pt idx="1085">
                  <c:v>156.4140421146495</c:v>
                </c:pt>
                <c:pt idx="1086">
                  <c:v>156.74989219175978</c:v>
                </c:pt>
                <c:pt idx="1087">
                  <c:v>157.60102911187937</c:v>
                </c:pt>
                <c:pt idx="1088">
                  <c:v>157.15919805287353</c:v>
                </c:pt>
                <c:pt idx="1089">
                  <c:v>158.04651468750225</c:v>
                </c:pt>
                <c:pt idx="1090">
                  <c:v>158.92761864388197</c:v>
                </c:pt>
                <c:pt idx="1091">
                  <c:v>160.27905888888074</c:v>
                </c:pt>
                <c:pt idx="1092">
                  <c:v>160.97889882105295</c:v>
                </c:pt>
                <c:pt idx="1093">
                  <c:v>161.56764144806567</c:v>
                </c:pt>
                <c:pt idx="1094">
                  <c:v>161.30378534831195</c:v>
                </c:pt>
                <c:pt idx="1095">
                  <c:v>161.41744081510339</c:v>
                </c:pt>
                <c:pt idx="1096">
                  <c:v>161.90897330010159</c:v>
                </c:pt>
                <c:pt idx="1097">
                  <c:v>162.92967979125402</c:v>
                </c:pt>
                <c:pt idx="1098">
                  <c:v>161.83844112939181</c:v>
                </c:pt>
                <c:pt idx="1099">
                  <c:v>162.05807757807872</c:v>
                </c:pt>
                <c:pt idx="1100">
                  <c:v>162.73708676553352</c:v>
                </c:pt>
                <c:pt idx="1101">
                  <c:v>161.86365729404972</c:v>
                </c:pt>
                <c:pt idx="1102">
                  <c:v>161.04796918511585</c:v>
                </c:pt>
                <c:pt idx="1103">
                  <c:v>162.02335967021642</c:v>
                </c:pt>
                <c:pt idx="1104">
                  <c:v>161.87352448891582</c:v>
                </c:pt>
                <c:pt idx="1105">
                  <c:v>163.10034571727195</c:v>
                </c:pt>
                <c:pt idx="1106">
                  <c:v>163.38210894844934</c:v>
                </c:pt>
                <c:pt idx="1107">
                  <c:v>164.31693429910027</c:v>
                </c:pt>
                <c:pt idx="1108">
                  <c:v>163.43656124604399</c:v>
                </c:pt>
                <c:pt idx="1109">
                  <c:v>164.20218247732373</c:v>
                </c:pt>
                <c:pt idx="1110">
                  <c:v>163.67629753612488</c:v>
                </c:pt>
                <c:pt idx="1111">
                  <c:v>164.57713588223686</c:v>
                </c:pt>
                <c:pt idx="1112">
                  <c:v>165.81236249881226</c:v>
                </c:pt>
                <c:pt idx="1113">
                  <c:v>165.63402208789844</c:v>
                </c:pt>
                <c:pt idx="1114">
                  <c:v>165.4439872238099</c:v>
                </c:pt>
                <c:pt idx="1115">
                  <c:v>165.41255838090294</c:v>
                </c:pt>
                <c:pt idx="1116">
                  <c:v>165.48491780992126</c:v>
                </c:pt>
                <c:pt idx="1117">
                  <c:v>165.29926836577323</c:v>
                </c:pt>
                <c:pt idx="1118">
                  <c:v>165.87850924958155</c:v>
                </c:pt>
                <c:pt idx="1119">
                  <c:v>167.01689117580415</c:v>
                </c:pt>
                <c:pt idx="1120">
                  <c:v>167.41815710036033</c:v>
                </c:pt>
                <c:pt idx="1121">
                  <c:v>167.92978942675251</c:v>
                </c:pt>
                <c:pt idx="1122">
                  <c:v>168.89531271698692</c:v>
                </c:pt>
                <c:pt idx="1123">
                  <c:v>169.3239875161712</c:v>
                </c:pt>
                <c:pt idx="1124">
                  <c:v>168.91650891336602</c:v>
                </c:pt>
                <c:pt idx="1125">
                  <c:v>169.29621318988137</c:v>
                </c:pt>
                <c:pt idx="1126">
                  <c:v>168.63072571390981</c:v>
                </c:pt>
                <c:pt idx="1127">
                  <c:v>168.44873078637889</c:v>
                </c:pt>
                <c:pt idx="1128">
                  <c:v>169.2545517004466</c:v>
                </c:pt>
                <c:pt idx="1129">
                  <c:v>169.63242871865339</c:v>
                </c:pt>
                <c:pt idx="1130">
                  <c:v>170.17950985623131</c:v>
                </c:pt>
                <c:pt idx="1131">
                  <c:v>170.49343283363908</c:v>
                </c:pt>
                <c:pt idx="1132">
                  <c:v>171.42314186102604</c:v>
                </c:pt>
                <c:pt idx="1133">
                  <c:v>171.50719574321903</c:v>
                </c:pt>
                <c:pt idx="1134">
                  <c:v>171.78566990944108</c:v>
                </c:pt>
                <c:pt idx="1135">
                  <c:v>171.44433805740516</c:v>
                </c:pt>
                <c:pt idx="1136">
                  <c:v>171.91869431430302</c:v>
                </c:pt>
                <c:pt idx="1137">
                  <c:v>171.52144835802568</c:v>
                </c:pt>
                <c:pt idx="1138">
                  <c:v>171.27696119634257</c:v>
                </c:pt>
                <c:pt idx="1139">
                  <c:v>171.92709970252236</c:v>
                </c:pt>
                <c:pt idx="1140">
                  <c:v>172.64521221777994</c:v>
                </c:pt>
                <c:pt idx="1141">
                  <c:v>173.4035244158255</c:v>
                </c:pt>
                <c:pt idx="1142">
                  <c:v>174.33177163656563</c:v>
                </c:pt>
                <c:pt idx="1143">
                  <c:v>173.66518780560892</c:v>
                </c:pt>
                <c:pt idx="1144">
                  <c:v>173.68382584035609</c:v>
                </c:pt>
                <c:pt idx="1145">
                  <c:v>174.12273328606824</c:v>
                </c:pt>
                <c:pt idx="1146">
                  <c:v>173.62827718777638</c:v>
                </c:pt>
                <c:pt idx="1147">
                  <c:v>173.64728067418523</c:v>
                </c:pt>
                <c:pt idx="1148">
                  <c:v>174.03539033891985</c:v>
                </c:pt>
                <c:pt idx="1149">
                  <c:v>174.60293676955348</c:v>
                </c:pt>
                <c:pt idx="1150">
                  <c:v>174.83536402640024</c:v>
                </c:pt>
                <c:pt idx="1151">
                  <c:v>174.4362908118143</c:v>
                </c:pt>
                <c:pt idx="1152">
                  <c:v>174.10007528304232</c:v>
                </c:pt>
                <c:pt idx="1153">
                  <c:v>173.2438220396588</c:v>
                </c:pt>
                <c:pt idx="1154">
                  <c:v>174.72609397954932</c:v>
                </c:pt>
                <c:pt idx="1155">
                  <c:v>174.58795325142341</c:v>
                </c:pt>
                <c:pt idx="1156">
                  <c:v>174.03502488725815</c:v>
                </c:pt>
                <c:pt idx="1157">
                  <c:v>174.4907431094089</c:v>
                </c:pt>
                <c:pt idx="1158">
                  <c:v>174.90662710043341</c:v>
                </c:pt>
                <c:pt idx="1159">
                  <c:v>176.09982677591231</c:v>
                </c:pt>
                <c:pt idx="1160">
                  <c:v>176.0932486460016</c:v>
                </c:pt>
                <c:pt idx="1161">
                  <c:v>175.57284547972841</c:v>
                </c:pt>
                <c:pt idx="1162">
                  <c:v>174.54665721365032</c:v>
                </c:pt>
                <c:pt idx="1163">
                  <c:v>174.12638780268531</c:v>
                </c:pt>
                <c:pt idx="1164">
                  <c:v>174.25758494923875</c:v>
                </c:pt>
                <c:pt idx="1165">
                  <c:v>174.3515060262979</c:v>
                </c:pt>
                <c:pt idx="1166">
                  <c:v>174.62267115928574</c:v>
                </c:pt>
                <c:pt idx="1167">
                  <c:v>174.70087781489141</c:v>
                </c:pt>
                <c:pt idx="1168">
                  <c:v>176.12723565054046</c:v>
                </c:pt>
                <c:pt idx="1169">
                  <c:v>175.16317416695296</c:v>
                </c:pt>
                <c:pt idx="1170">
                  <c:v>175.45224643136453</c:v>
                </c:pt>
                <c:pt idx="1171">
                  <c:v>175.08533296300899</c:v>
                </c:pt>
                <c:pt idx="1172">
                  <c:v>176.55408319141625</c:v>
                </c:pt>
                <c:pt idx="1173">
                  <c:v>177.17462011299764</c:v>
                </c:pt>
                <c:pt idx="1174">
                  <c:v>177.50645022182917</c:v>
                </c:pt>
                <c:pt idx="1175">
                  <c:v>177.24222867041374</c:v>
                </c:pt>
                <c:pt idx="1176">
                  <c:v>177.28864103145077</c:v>
                </c:pt>
                <c:pt idx="1177">
                  <c:v>177.67492343787686</c:v>
                </c:pt>
                <c:pt idx="1178">
                  <c:v>176.74192534553455</c:v>
                </c:pt>
                <c:pt idx="1179">
                  <c:v>175.25307527573329</c:v>
                </c:pt>
                <c:pt idx="1180">
                  <c:v>173.49415642792928</c:v>
                </c:pt>
                <c:pt idx="1181">
                  <c:v>173.52997069077671</c:v>
                </c:pt>
                <c:pt idx="1182">
                  <c:v>173.56651585694758</c:v>
                </c:pt>
                <c:pt idx="1183">
                  <c:v>172.9419589670874</c:v>
                </c:pt>
                <c:pt idx="1184">
                  <c:v>172.45590825701481</c:v>
                </c:pt>
                <c:pt idx="1185">
                  <c:v>171.98593742005744</c:v>
                </c:pt>
                <c:pt idx="1186">
                  <c:v>173.29315801398951</c:v>
                </c:pt>
                <c:pt idx="1187">
                  <c:v>173.83987369990572</c:v>
                </c:pt>
                <c:pt idx="1188">
                  <c:v>174.26525943413463</c:v>
                </c:pt>
                <c:pt idx="1189">
                  <c:v>175.18948668659596</c:v>
                </c:pt>
                <c:pt idx="1190">
                  <c:v>175.01699350226946</c:v>
                </c:pt>
                <c:pt idx="1191">
                  <c:v>176.14368097531741</c:v>
                </c:pt>
                <c:pt idx="1192">
                  <c:v>177.57186606927502</c:v>
                </c:pt>
                <c:pt idx="1193">
                  <c:v>178.20482834735449</c:v>
                </c:pt>
                <c:pt idx="1194">
                  <c:v>178.8509468852555</c:v>
                </c:pt>
                <c:pt idx="1195">
                  <c:v>178.844003303683</c:v>
                </c:pt>
                <c:pt idx="1196">
                  <c:v>179.94437825708792</c:v>
                </c:pt>
                <c:pt idx="1197">
                  <c:v>180.20823435684159</c:v>
                </c:pt>
                <c:pt idx="1198">
                  <c:v>180.76079726934515</c:v>
                </c:pt>
                <c:pt idx="1199">
                  <c:v>180.82182769685051</c:v>
                </c:pt>
                <c:pt idx="1200">
                  <c:v>181.07216208512099</c:v>
                </c:pt>
                <c:pt idx="1201">
                  <c:v>181.51289678914171</c:v>
                </c:pt>
                <c:pt idx="1202">
                  <c:v>181.22492087971526</c:v>
                </c:pt>
                <c:pt idx="1203">
                  <c:v>182.13160645241453</c:v>
                </c:pt>
                <c:pt idx="1204">
                  <c:v>183.94570850113655</c:v>
                </c:pt>
                <c:pt idx="1205">
                  <c:v>183.73155382737525</c:v>
                </c:pt>
                <c:pt idx="1206">
                  <c:v>182.54200866851343</c:v>
                </c:pt>
                <c:pt idx="1207">
                  <c:v>181.85495954450104</c:v>
                </c:pt>
                <c:pt idx="1208">
                  <c:v>181.23771168787505</c:v>
                </c:pt>
                <c:pt idx="1209">
                  <c:v>180.99103181622164</c:v>
                </c:pt>
                <c:pt idx="1210">
                  <c:v>179.97361439002461</c:v>
                </c:pt>
                <c:pt idx="1211">
                  <c:v>179.14111550465219</c:v>
                </c:pt>
                <c:pt idx="1212">
                  <c:v>179.13490282640313</c:v>
                </c:pt>
                <c:pt idx="1213">
                  <c:v>179.25586732642873</c:v>
                </c:pt>
                <c:pt idx="1214">
                  <c:v>179.81171930388766</c:v>
                </c:pt>
                <c:pt idx="1215">
                  <c:v>180.76006636602176</c:v>
                </c:pt>
                <c:pt idx="1216">
                  <c:v>180.07374814533281</c:v>
                </c:pt>
                <c:pt idx="1217">
                  <c:v>178.46283722052084</c:v>
                </c:pt>
                <c:pt idx="1218">
                  <c:v>179.36659917992645</c:v>
                </c:pt>
                <c:pt idx="1219">
                  <c:v>178.84034878706595</c:v>
                </c:pt>
                <c:pt idx="1220">
                  <c:v>179.31616685061064</c:v>
                </c:pt>
                <c:pt idx="1221">
                  <c:v>178.4822061585914</c:v>
                </c:pt>
                <c:pt idx="1222">
                  <c:v>179.18533515571895</c:v>
                </c:pt>
                <c:pt idx="1223">
                  <c:v>178.89370472967542</c:v>
                </c:pt>
                <c:pt idx="1224">
                  <c:v>176.54860141649064</c:v>
                </c:pt>
                <c:pt idx="1225">
                  <c:v>178.64958301965399</c:v>
                </c:pt>
                <c:pt idx="1226">
                  <c:v>178.34625814043574</c:v>
                </c:pt>
                <c:pt idx="1227">
                  <c:v>177.15342391661855</c:v>
                </c:pt>
                <c:pt idx="1228">
                  <c:v>176.64983152678394</c:v>
                </c:pt>
                <c:pt idx="1229">
                  <c:v>176.28620712338378</c:v>
                </c:pt>
                <c:pt idx="1230">
                  <c:v>174.91649429529957</c:v>
                </c:pt>
                <c:pt idx="1231">
                  <c:v>174.07705182835466</c:v>
                </c:pt>
                <c:pt idx="1232">
                  <c:v>173.85887718631454</c:v>
                </c:pt>
                <c:pt idx="1233">
                  <c:v>171.23931967518652</c:v>
                </c:pt>
                <c:pt idx="1234">
                  <c:v>170.40426262818215</c:v>
                </c:pt>
                <c:pt idx="1235">
                  <c:v>172.3875687962753</c:v>
                </c:pt>
                <c:pt idx="1236">
                  <c:v>173.04282362571902</c:v>
                </c:pt>
                <c:pt idx="1237">
                  <c:v>175.69600268972422</c:v>
                </c:pt>
                <c:pt idx="1238">
                  <c:v>177.3500369106178</c:v>
                </c:pt>
                <c:pt idx="1239">
                  <c:v>177.8116023593559</c:v>
                </c:pt>
                <c:pt idx="1240">
                  <c:v>178.43250473259903</c:v>
                </c:pt>
                <c:pt idx="1241">
                  <c:v>177.77761535481702</c:v>
                </c:pt>
                <c:pt idx="1242">
                  <c:v>178.70220805894002</c:v>
                </c:pt>
                <c:pt idx="1243">
                  <c:v>179.06327430070823</c:v>
                </c:pt>
                <c:pt idx="1244">
                  <c:v>180.96910471651915</c:v>
                </c:pt>
                <c:pt idx="1245">
                  <c:v>183.54626983488893</c:v>
                </c:pt>
              </c:numCache>
            </c:numRef>
          </c:val>
          <c:smooth val="0"/>
        </c:ser>
        <c:ser>
          <c:idx val="1"/>
          <c:order val="1"/>
          <c:tx>
            <c:strRef>
              <c:f>Sheet1!$C$1</c:f>
              <c:strCache>
                <c:ptCount val="1"/>
                <c:pt idx="0">
                  <c:v>Benchmark 1</c:v>
                </c:pt>
              </c:strCache>
            </c:strRef>
          </c:tx>
          <c:spPr>
            <a:ln w="12700">
              <a:solidFill>
                <a:schemeClr val="accent2"/>
              </a:solidFill>
              <a:prstDash val="solid"/>
            </a:ln>
          </c:spPr>
          <c:marker>
            <c:symbol val="none"/>
          </c:marker>
          <c:cat>
            <c:numRef>
              <c:f>Sheet1!$A$2:$A$1247</c:f>
              <c:numCache>
                <c:formatCode>m/d/yyyy</c:formatCode>
                <c:ptCount val="1246"/>
                <c:pt idx="0">
                  <c:v>40179</c:v>
                </c:pt>
                <c:pt idx="1">
                  <c:v>40182</c:v>
                </c:pt>
                <c:pt idx="2">
                  <c:v>40183</c:v>
                </c:pt>
                <c:pt idx="3">
                  <c:v>40184</c:v>
                </c:pt>
                <c:pt idx="4">
                  <c:v>40185</c:v>
                </c:pt>
                <c:pt idx="5">
                  <c:v>40186</c:v>
                </c:pt>
                <c:pt idx="6">
                  <c:v>40189</c:v>
                </c:pt>
                <c:pt idx="7">
                  <c:v>40190</c:v>
                </c:pt>
                <c:pt idx="8">
                  <c:v>40191</c:v>
                </c:pt>
                <c:pt idx="9">
                  <c:v>40192</c:v>
                </c:pt>
                <c:pt idx="10">
                  <c:v>40193</c:v>
                </c:pt>
                <c:pt idx="11">
                  <c:v>40196</c:v>
                </c:pt>
                <c:pt idx="12">
                  <c:v>40197</c:v>
                </c:pt>
                <c:pt idx="13">
                  <c:v>40198</c:v>
                </c:pt>
                <c:pt idx="14">
                  <c:v>40199</c:v>
                </c:pt>
                <c:pt idx="15">
                  <c:v>40200</c:v>
                </c:pt>
                <c:pt idx="16">
                  <c:v>40203</c:v>
                </c:pt>
                <c:pt idx="17">
                  <c:v>40204</c:v>
                </c:pt>
                <c:pt idx="18">
                  <c:v>40205</c:v>
                </c:pt>
                <c:pt idx="19">
                  <c:v>40206</c:v>
                </c:pt>
                <c:pt idx="20">
                  <c:v>40207</c:v>
                </c:pt>
                <c:pt idx="21">
                  <c:v>40210</c:v>
                </c:pt>
                <c:pt idx="22">
                  <c:v>40211</c:v>
                </c:pt>
                <c:pt idx="23">
                  <c:v>40212</c:v>
                </c:pt>
                <c:pt idx="24">
                  <c:v>40213</c:v>
                </c:pt>
                <c:pt idx="25">
                  <c:v>40214</c:v>
                </c:pt>
                <c:pt idx="26">
                  <c:v>40217</c:v>
                </c:pt>
                <c:pt idx="27">
                  <c:v>40218</c:v>
                </c:pt>
                <c:pt idx="28">
                  <c:v>40219</c:v>
                </c:pt>
                <c:pt idx="29">
                  <c:v>40220</c:v>
                </c:pt>
                <c:pt idx="30">
                  <c:v>40221</c:v>
                </c:pt>
                <c:pt idx="31">
                  <c:v>40224</c:v>
                </c:pt>
                <c:pt idx="32">
                  <c:v>40225</c:v>
                </c:pt>
                <c:pt idx="33">
                  <c:v>40226</c:v>
                </c:pt>
                <c:pt idx="34">
                  <c:v>40227</c:v>
                </c:pt>
                <c:pt idx="35">
                  <c:v>40228</c:v>
                </c:pt>
                <c:pt idx="36">
                  <c:v>40231</c:v>
                </c:pt>
                <c:pt idx="37">
                  <c:v>40232</c:v>
                </c:pt>
                <c:pt idx="38">
                  <c:v>40233</c:v>
                </c:pt>
                <c:pt idx="39">
                  <c:v>40234</c:v>
                </c:pt>
                <c:pt idx="40">
                  <c:v>40235</c:v>
                </c:pt>
                <c:pt idx="41">
                  <c:v>40238</c:v>
                </c:pt>
                <c:pt idx="42">
                  <c:v>40239</c:v>
                </c:pt>
                <c:pt idx="43">
                  <c:v>40240</c:v>
                </c:pt>
                <c:pt idx="44">
                  <c:v>40241</c:v>
                </c:pt>
                <c:pt idx="45">
                  <c:v>40242</c:v>
                </c:pt>
                <c:pt idx="46">
                  <c:v>40245</c:v>
                </c:pt>
                <c:pt idx="47">
                  <c:v>40246</c:v>
                </c:pt>
                <c:pt idx="48">
                  <c:v>40247</c:v>
                </c:pt>
                <c:pt idx="49">
                  <c:v>40248</c:v>
                </c:pt>
                <c:pt idx="50">
                  <c:v>40249</c:v>
                </c:pt>
                <c:pt idx="51">
                  <c:v>40252</c:v>
                </c:pt>
                <c:pt idx="52">
                  <c:v>40253</c:v>
                </c:pt>
                <c:pt idx="53">
                  <c:v>40254</c:v>
                </c:pt>
                <c:pt idx="54">
                  <c:v>40255</c:v>
                </c:pt>
                <c:pt idx="55">
                  <c:v>40256</c:v>
                </c:pt>
                <c:pt idx="56">
                  <c:v>40259</c:v>
                </c:pt>
                <c:pt idx="57">
                  <c:v>40260</c:v>
                </c:pt>
                <c:pt idx="58">
                  <c:v>40261</c:v>
                </c:pt>
                <c:pt idx="59">
                  <c:v>40262</c:v>
                </c:pt>
                <c:pt idx="60">
                  <c:v>40263</c:v>
                </c:pt>
                <c:pt idx="61">
                  <c:v>40266</c:v>
                </c:pt>
                <c:pt idx="62">
                  <c:v>40267</c:v>
                </c:pt>
                <c:pt idx="63">
                  <c:v>40268</c:v>
                </c:pt>
                <c:pt idx="64">
                  <c:v>40269</c:v>
                </c:pt>
                <c:pt idx="65">
                  <c:v>40270</c:v>
                </c:pt>
                <c:pt idx="66">
                  <c:v>40273</c:v>
                </c:pt>
                <c:pt idx="67">
                  <c:v>40274</c:v>
                </c:pt>
                <c:pt idx="68">
                  <c:v>40275</c:v>
                </c:pt>
                <c:pt idx="69">
                  <c:v>40276</c:v>
                </c:pt>
                <c:pt idx="70">
                  <c:v>40277</c:v>
                </c:pt>
                <c:pt idx="71">
                  <c:v>40280</c:v>
                </c:pt>
                <c:pt idx="72">
                  <c:v>40281</c:v>
                </c:pt>
                <c:pt idx="73">
                  <c:v>40282</c:v>
                </c:pt>
                <c:pt idx="74">
                  <c:v>40283</c:v>
                </c:pt>
                <c:pt idx="75">
                  <c:v>40284</c:v>
                </c:pt>
                <c:pt idx="76">
                  <c:v>40287</c:v>
                </c:pt>
                <c:pt idx="77">
                  <c:v>40288</c:v>
                </c:pt>
                <c:pt idx="78">
                  <c:v>40289</c:v>
                </c:pt>
                <c:pt idx="79">
                  <c:v>40290</c:v>
                </c:pt>
                <c:pt idx="80">
                  <c:v>40291</c:v>
                </c:pt>
                <c:pt idx="81">
                  <c:v>40294</c:v>
                </c:pt>
                <c:pt idx="82">
                  <c:v>40295</c:v>
                </c:pt>
                <c:pt idx="83">
                  <c:v>40296</c:v>
                </c:pt>
                <c:pt idx="84">
                  <c:v>40297</c:v>
                </c:pt>
                <c:pt idx="85">
                  <c:v>40298</c:v>
                </c:pt>
                <c:pt idx="86">
                  <c:v>40301</c:v>
                </c:pt>
                <c:pt idx="87">
                  <c:v>40302</c:v>
                </c:pt>
                <c:pt idx="88">
                  <c:v>40303</c:v>
                </c:pt>
                <c:pt idx="89">
                  <c:v>40304</c:v>
                </c:pt>
                <c:pt idx="90">
                  <c:v>40305</c:v>
                </c:pt>
                <c:pt idx="91">
                  <c:v>40308</c:v>
                </c:pt>
                <c:pt idx="92">
                  <c:v>40309</c:v>
                </c:pt>
                <c:pt idx="93">
                  <c:v>40310</c:v>
                </c:pt>
                <c:pt idx="94">
                  <c:v>40311</c:v>
                </c:pt>
                <c:pt idx="95">
                  <c:v>40312</c:v>
                </c:pt>
                <c:pt idx="96">
                  <c:v>40315</c:v>
                </c:pt>
                <c:pt idx="97">
                  <c:v>40316</c:v>
                </c:pt>
                <c:pt idx="98">
                  <c:v>40317</c:v>
                </c:pt>
                <c:pt idx="99">
                  <c:v>40318</c:v>
                </c:pt>
                <c:pt idx="100">
                  <c:v>40319</c:v>
                </c:pt>
                <c:pt idx="101">
                  <c:v>40322</c:v>
                </c:pt>
                <c:pt idx="102">
                  <c:v>40323</c:v>
                </c:pt>
                <c:pt idx="103">
                  <c:v>40324</c:v>
                </c:pt>
                <c:pt idx="104">
                  <c:v>40325</c:v>
                </c:pt>
                <c:pt idx="105">
                  <c:v>40326</c:v>
                </c:pt>
                <c:pt idx="106">
                  <c:v>40329</c:v>
                </c:pt>
                <c:pt idx="107">
                  <c:v>40330</c:v>
                </c:pt>
                <c:pt idx="108">
                  <c:v>40331</c:v>
                </c:pt>
                <c:pt idx="109">
                  <c:v>40332</c:v>
                </c:pt>
                <c:pt idx="110">
                  <c:v>40333</c:v>
                </c:pt>
                <c:pt idx="111">
                  <c:v>40336</c:v>
                </c:pt>
                <c:pt idx="112">
                  <c:v>40337</c:v>
                </c:pt>
                <c:pt idx="113">
                  <c:v>40338</c:v>
                </c:pt>
                <c:pt idx="114">
                  <c:v>40339</c:v>
                </c:pt>
                <c:pt idx="115">
                  <c:v>40340</c:v>
                </c:pt>
                <c:pt idx="116">
                  <c:v>40343</c:v>
                </c:pt>
                <c:pt idx="117">
                  <c:v>40344</c:v>
                </c:pt>
                <c:pt idx="118">
                  <c:v>40345</c:v>
                </c:pt>
                <c:pt idx="119">
                  <c:v>40346</c:v>
                </c:pt>
                <c:pt idx="120">
                  <c:v>40347</c:v>
                </c:pt>
                <c:pt idx="121">
                  <c:v>40350</c:v>
                </c:pt>
                <c:pt idx="122">
                  <c:v>40351</c:v>
                </c:pt>
                <c:pt idx="123">
                  <c:v>40352</c:v>
                </c:pt>
                <c:pt idx="124">
                  <c:v>40353</c:v>
                </c:pt>
                <c:pt idx="125">
                  <c:v>40354</c:v>
                </c:pt>
                <c:pt idx="126">
                  <c:v>40357</c:v>
                </c:pt>
                <c:pt idx="127">
                  <c:v>40358</c:v>
                </c:pt>
                <c:pt idx="128">
                  <c:v>40359</c:v>
                </c:pt>
                <c:pt idx="129">
                  <c:v>40360</c:v>
                </c:pt>
                <c:pt idx="130">
                  <c:v>40361</c:v>
                </c:pt>
                <c:pt idx="131">
                  <c:v>40364</c:v>
                </c:pt>
                <c:pt idx="132">
                  <c:v>40365</c:v>
                </c:pt>
                <c:pt idx="133">
                  <c:v>40366</c:v>
                </c:pt>
                <c:pt idx="134">
                  <c:v>40367</c:v>
                </c:pt>
                <c:pt idx="135">
                  <c:v>40368</c:v>
                </c:pt>
                <c:pt idx="136">
                  <c:v>40371</c:v>
                </c:pt>
                <c:pt idx="137">
                  <c:v>40372</c:v>
                </c:pt>
                <c:pt idx="138">
                  <c:v>40373</c:v>
                </c:pt>
                <c:pt idx="139">
                  <c:v>40374</c:v>
                </c:pt>
                <c:pt idx="140">
                  <c:v>40375</c:v>
                </c:pt>
                <c:pt idx="141">
                  <c:v>40378</c:v>
                </c:pt>
                <c:pt idx="142">
                  <c:v>40379</c:v>
                </c:pt>
                <c:pt idx="143">
                  <c:v>40380</c:v>
                </c:pt>
                <c:pt idx="144">
                  <c:v>40381</c:v>
                </c:pt>
                <c:pt idx="145">
                  <c:v>40382</c:v>
                </c:pt>
                <c:pt idx="146">
                  <c:v>40385</c:v>
                </c:pt>
                <c:pt idx="147">
                  <c:v>40386</c:v>
                </c:pt>
                <c:pt idx="148">
                  <c:v>40387</c:v>
                </c:pt>
                <c:pt idx="149">
                  <c:v>40388</c:v>
                </c:pt>
                <c:pt idx="150">
                  <c:v>40389</c:v>
                </c:pt>
                <c:pt idx="151">
                  <c:v>40392</c:v>
                </c:pt>
                <c:pt idx="152">
                  <c:v>40393</c:v>
                </c:pt>
                <c:pt idx="153">
                  <c:v>40394</c:v>
                </c:pt>
                <c:pt idx="154">
                  <c:v>40395</c:v>
                </c:pt>
                <c:pt idx="155">
                  <c:v>40396</c:v>
                </c:pt>
                <c:pt idx="156">
                  <c:v>40399</c:v>
                </c:pt>
                <c:pt idx="157">
                  <c:v>40400</c:v>
                </c:pt>
                <c:pt idx="158">
                  <c:v>40401</c:v>
                </c:pt>
                <c:pt idx="159">
                  <c:v>40402</c:v>
                </c:pt>
                <c:pt idx="160">
                  <c:v>40403</c:v>
                </c:pt>
                <c:pt idx="161">
                  <c:v>40406</c:v>
                </c:pt>
                <c:pt idx="162">
                  <c:v>40407</c:v>
                </c:pt>
                <c:pt idx="163">
                  <c:v>40408</c:v>
                </c:pt>
                <c:pt idx="164">
                  <c:v>40409</c:v>
                </c:pt>
                <c:pt idx="165">
                  <c:v>40410</c:v>
                </c:pt>
                <c:pt idx="166">
                  <c:v>40413</c:v>
                </c:pt>
                <c:pt idx="167">
                  <c:v>40414</c:v>
                </c:pt>
                <c:pt idx="168">
                  <c:v>40415</c:v>
                </c:pt>
                <c:pt idx="169">
                  <c:v>40416</c:v>
                </c:pt>
                <c:pt idx="170">
                  <c:v>40417</c:v>
                </c:pt>
                <c:pt idx="171">
                  <c:v>40420</c:v>
                </c:pt>
                <c:pt idx="172">
                  <c:v>40421</c:v>
                </c:pt>
                <c:pt idx="173">
                  <c:v>40422</c:v>
                </c:pt>
                <c:pt idx="174">
                  <c:v>40423</c:v>
                </c:pt>
                <c:pt idx="175">
                  <c:v>40424</c:v>
                </c:pt>
                <c:pt idx="176">
                  <c:v>40427</c:v>
                </c:pt>
                <c:pt idx="177">
                  <c:v>40428</c:v>
                </c:pt>
                <c:pt idx="178">
                  <c:v>40429</c:v>
                </c:pt>
                <c:pt idx="179">
                  <c:v>40430</c:v>
                </c:pt>
                <c:pt idx="180">
                  <c:v>40431</c:v>
                </c:pt>
                <c:pt idx="181">
                  <c:v>40434</c:v>
                </c:pt>
                <c:pt idx="182">
                  <c:v>40435</c:v>
                </c:pt>
                <c:pt idx="183">
                  <c:v>40436</c:v>
                </c:pt>
                <c:pt idx="184">
                  <c:v>40437</c:v>
                </c:pt>
                <c:pt idx="185">
                  <c:v>40438</c:v>
                </c:pt>
                <c:pt idx="186">
                  <c:v>40441</c:v>
                </c:pt>
                <c:pt idx="187">
                  <c:v>40442</c:v>
                </c:pt>
                <c:pt idx="188">
                  <c:v>40443</c:v>
                </c:pt>
                <c:pt idx="189">
                  <c:v>40444</c:v>
                </c:pt>
                <c:pt idx="190">
                  <c:v>40445</c:v>
                </c:pt>
                <c:pt idx="191">
                  <c:v>40448</c:v>
                </c:pt>
                <c:pt idx="192">
                  <c:v>40449</c:v>
                </c:pt>
                <c:pt idx="193">
                  <c:v>40450</c:v>
                </c:pt>
                <c:pt idx="194">
                  <c:v>40451</c:v>
                </c:pt>
                <c:pt idx="195">
                  <c:v>40452</c:v>
                </c:pt>
                <c:pt idx="196">
                  <c:v>40455</c:v>
                </c:pt>
                <c:pt idx="197">
                  <c:v>40456</c:v>
                </c:pt>
                <c:pt idx="198">
                  <c:v>40457</c:v>
                </c:pt>
                <c:pt idx="199">
                  <c:v>40458</c:v>
                </c:pt>
                <c:pt idx="200">
                  <c:v>40459</c:v>
                </c:pt>
                <c:pt idx="201">
                  <c:v>40462</c:v>
                </c:pt>
                <c:pt idx="202">
                  <c:v>40463</c:v>
                </c:pt>
                <c:pt idx="203">
                  <c:v>40464</c:v>
                </c:pt>
                <c:pt idx="204">
                  <c:v>40465</c:v>
                </c:pt>
                <c:pt idx="205">
                  <c:v>40466</c:v>
                </c:pt>
                <c:pt idx="206">
                  <c:v>40469</c:v>
                </c:pt>
                <c:pt idx="207">
                  <c:v>40470</c:v>
                </c:pt>
                <c:pt idx="208">
                  <c:v>40471</c:v>
                </c:pt>
                <c:pt idx="209">
                  <c:v>40472</c:v>
                </c:pt>
                <c:pt idx="210">
                  <c:v>40473</c:v>
                </c:pt>
                <c:pt idx="211">
                  <c:v>40476</c:v>
                </c:pt>
                <c:pt idx="212">
                  <c:v>40477</c:v>
                </c:pt>
                <c:pt idx="213">
                  <c:v>40478</c:v>
                </c:pt>
                <c:pt idx="214">
                  <c:v>40479</c:v>
                </c:pt>
                <c:pt idx="215">
                  <c:v>40480</c:v>
                </c:pt>
                <c:pt idx="216">
                  <c:v>40483</c:v>
                </c:pt>
                <c:pt idx="217">
                  <c:v>40484</c:v>
                </c:pt>
                <c:pt idx="218">
                  <c:v>40485</c:v>
                </c:pt>
                <c:pt idx="219">
                  <c:v>40486</c:v>
                </c:pt>
                <c:pt idx="220">
                  <c:v>40487</c:v>
                </c:pt>
                <c:pt idx="221">
                  <c:v>40490</c:v>
                </c:pt>
                <c:pt idx="222">
                  <c:v>40491</c:v>
                </c:pt>
                <c:pt idx="223">
                  <c:v>40492</c:v>
                </c:pt>
                <c:pt idx="224">
                  <c:v>40493</c:v>
                </c:pt>
                <c:pt idx="225">
                  <c:v>40494</c:v>
                </c:pt>
                <c:pt idx="226">
                  <c:v>40497</c:v>
                </c:pt>
                <c:pt idx="227">
                  <c:v>40498</c:v>
                </c:pt>
                <c:pt idx="228">
                  <c:v>40499</c:v>
                </c:pt>
                <c:pt idx="229">
                  <c:v>40500</c:v>
                </c:pt>
                <c:pt idx="230">
                  <c:v>40501</c:v>
                </c:pt>
                <c:pt idx="231">
                  <c:v>40504</c:v>
                </c:pt>
                <c:pt idx="232">
                  <c:v>40505</c:v>
                </c:pt>
                <c:pt idx="233">
                  <c:v>40506</c:v>
                </c:pt>
                <c:pt idx="234">
                  <c:v>40507</c:v>
                </c:pt>
                <c:pt idx="235">
                  <c:v>40508</c:v>
                </c:pt>
                <c:pt idx="236">
                  <c:v>40511</c:v>
                </c:pt>
                <c:pt idx="237">
                  <c:v>40512</c:v>
                </c:pt>
                <c:pt idx="238">
                  <c:v>40513</c:v>
                </c:pt>
                <c:pt idx="239">
                  <c:v>40514</c:v>
                </c:pt>
                <c:pt idx="240">
                  <c:v>40515</c:v>
                </c:pt>
                <c:pt idx="241">
                  <c:v>40518</c:v>
                </c:pt>
                <c:pt idx="242">
                  <c:v>40519</c:v>
                </c:pt>
                <c:pt idx="243">
                  <c:v>40520</c:v>
                </c:pt>
                <c:pt idx="244">
                  <c:v>40521</c:v>
                </c:pt>
                <c:pt idx="245">
                  <c:v>40522</c:v>
                </c:pt>
                <c:pt idx="246">
                  <c:v>40525</c:v>
                </c:pt>
                <c:pt idx="247">
                  <c:v>40526</c:v>
                </c:pt>
                <c:pt idx="248">
                  <c:v>40527</c:v>
                </c:pt>
                <c:pt idx="249">
                  <c:v>40528</c:v>
                </c:pt>
                <c:pt idx="250">
                  <c:v>40529</c:v>
                </c:pt>
                <c:pt idx="251">
                  <c:v>40532</c:v>
                </c:pt>
                <c:pt idx="252">
                  <c:v>40533</c:v>
                </c:pt>
                <c:pt idx="253">
                  <c:v>40534</c:v>
                </c:pt>
                <c:pt idx="254">
                  <c:v>40535</c:v>
                </c:pt>
                <c:pt idx="255">
                  <c:v>40536</c:v>
                </c:pt>
                <c:pt idx="256">
                  <c:v>40539</c:v>
                </c:pt>
                <c:pt idx="257">
                  <c:v>40540</c:v>
                </c:pt>
                <c:pt idx="258">
                  <c:v>40541</c:v>
                </c:pt>
                <c:pt idx="259">
                  <c:v>40542</c:v>
                </c:pt>
                <c:pt idx="260">
                  <c:v>40543</c:v>
                </c:pt>
                <c:pt idx="261">
                  <c:v>40546</c:v>
                </c:pt>
                <c:pt idx="262">
                  <c:v>40547</c:v>
                </c:pt>
                <c:pt idx="263">
                  <c:v>40548</c:v>
                </c:pt>
                <c:pt idx="264">
                  <c:v>40549</c:v>
                </c:pt>
                <c:pt idx="265">
                  <c:v>40550</c:v>
                </c:pt>
                <c:pt idx="266">
                  <c:v>40553</c:v>
                </c:pt>
                <c:pt idx="267">
                  <c:v>40554</c:v>
                </c:pt>
                <c:pt idx="268">
                  <c:v>40555</c:v>
                </c:pt>
                <c:pt idx="269">
                  <c:v>40556</c:v>
                </c:pt>
                <c:pt idx="270">
                  <c:v>40557</c:v>
                </c:pt>
                <c:pt idx="271">
                  <c:v>40560</c:v>
                </c:pt>
                <c:pt idx="272">
                  <c:v>40561</c:v>
                </c:pt>
                <c:pt idx="273">
                  <c:v>40562</c:v>
                </c:pt>
                <c:pt idx="274">
                  <c:v>40563</c:v>
                </c:pt>
                <c:pt idx="275">
                  <c:v>40564</c:v>
                </c:pt>
                <c:pt idx="276">
                  <c:v>40567</c:v>
                </c:pt>
                <c:pt idx="277">
                  <c:v>40568</c:v>
                </c:pt>
                <c:pt idx="278">
                  <c:v>40569</c:v>
                </c:pt>
                <c:pt idx="279">
                  <c:v>40570</c:v>
                </c:pt>
                <c:pt idx="280">
                  <c:v>40571</c:v>
                </c:pt>
                <c:pt idx="281">
                  <c:v>40574</c:v>
                </c:pt>
                <c:pt idx="282">
                  <c:v>40575</c:v>
                </c:pt>
                <c:pt idx="283">
                  <c:v>40576</c:v>
                </c:pt>
                <c:pt idx="284">
                  <c:v>40577</c:v>
                </c:pt>
                <c:pt idx="285">
                  <c:v>40578</c:v>
                </c:pt>
                <c:pt idx="286">
                  <c:v>40581</c:v>
                </c:pt>
                <c:pt idx="287">
                  <c:v>40582</c:v>
                </c:pt>
                <c:pt idx="288">
                  <c:v>40583</c:v>
                </c:pt>
                <c:pt idx="289">
                  <c:v>40584</c:v>
                </c:pt>
                <c:pt idx="290">
                  <c:v>40585</c:v>
                </c:pt>
                <c:pt idx="291">
                  <c:v>40588</c:v>
                </c:pt>
                <c:pt idx="292">
                  <c:v>40589</c:v>
                </c:pt>
                <c:pt idx="293">
                  <c:v>40590</c:v>
                </c:pt>
                <c:pt idx="294">
                  <c:v>40591</c:v>
                </c:pt>
                <c:pt idx="295">
                  <c:v>40592</c:v>
                </c:pt>
                <c:pt idx="296">
                  <c:v>40595</c:v>
                </c:pt>
                <c:pt idx="297">
                  <c:v>40596</c:v>
                </c:pt>
                <c:pt idx="298">
                  <c:v>40597</c:v>
                </c:pt>
                <c:pt idx="299">
                  <c:v>40598</c:v>
                </c:pt>
                <c:pt idx="300">
                  <c:v>40599</c:v>
                </c:pt>
                <c:pt idx="301">
                  <c:v>40602</c:v>
                </c:pt>
                <c:pt idx="302">
                  <c:v>40603</c:v>
                </c:pt>
                <c:pt idx="303">
                  <c:v>40604</c:v>
                </c:pt>
                <c:pt idx="304">
                  <c:v>40605</c:v>
                </c:pt>
                <c:pt idx="305">
                  <c:v>40606</c:v>
                </c:pt>
                <c:pt idx="306">
                  <c:v>40609</c:v>
                </c:pt>
                <c:pt idx="307">
                  <c:v>40610</c:v>
                </c:pt>
                <c:pt idx="308">
                  <c:v>40611</c:v>
                </c:pt>
                <c:pt idx="309">
                  <c:v>40612</c:v>
                </c:pt>
                <c:pt idx="310">
                  <c:v>40613</c:v>
                </c:pt>
                <c:pt idx="311">
                  <c:v>40616</c:v>
                </c:pt>
                <c:pt idx="312">
                  <c:v>40617</c:v>
                </c:pt>
                <c:pt idx="313">
                  <c:v>40618</c:v>
                </c:pt>
                <c:pt idx="314">
                  <c:v>40619</c:v>
                </c:pt>
                <c:pt idx="315">
                  <c:v>40620</c:v>
                </c:pt>
                <c:pt idx="316">
                  <c:v>40623</c:v>
                </c:pt>
                <c:pt idx="317">
                  <c:v>40624</c:v>
                </c:pt>
                <c:pt idx="318">
                  <c:v>40625</c:v>
                </c:pt>
                <c:pt idx="319">
                  <c:v>40626</c:v>
                </c:pt>
                <c:pt idx="320">
                  <c:v>40627</c:v>
                </c:pt>
                <c:pt idx="321">
                  <c:v>40630</c:v>
                </c:pt>
                <c:pt idx="322">
                  <c:v>40631</c:v>
                </c:pt>
                <c:pt idx="323">
                  <c:v>40632</c:v>
                </c:pt>
                <c:pt idx="324">
                  <c:v>40633</c:v>
                </c:pt>
                <c:pt idx="325">
                  <c:v>40634</c:v>
                </c:pt>
                <c:pt idx="326">
                  <c:v>40637</c:v>
                </c:pt>
                <c:pt idx="327">
                  <c:v>40638</c:v>
                </c:pt>
                <c:pt idx="328">
                  <c:v>40639</c:v>
                </c:pt>
                <c:pt idx="329">
                  <c:v>40640</c:v>
                </c:pt>
                <c:pt idx="330">
                  <c:v>40641</c:v>
                </c:pt>
                <c:pt idx="331">
                  <c:v>40644</c:v>
                </c:pt>
                <c:pt idx="332">
                  <c:v>40645</c:v>
                </c:pt>
                <c:pt idx="333">
                  <c:v>40646</c:v>
                </c:pt>
                <c:pt idx="334">
                  <c:v>40647</c:v>
                </c:pt>
                <c:pt idx="335">
                  <c:v>40648</c:v>
                </c:pt>
                <c:pt idx="336">
                  <c:v>40651</c:v>
                </c:pt>
                <c:pt idx="337">
                  <c:v>40652</c:v>
                </c:pt>
                <c:pt idx="338">
                  <c:v>40653</c:v>
                </c:pt>
                <c:pt idx="339">
                  <c:v>40654</c:v>
                </c:pt>
                <c:pt idx="340">
                  <c:v>40659</c:v>
                </c:pt>
                <c:pt idx="341">
                  <c:v>40660</c:v>
                </c:pt>
                <c:pt idx="342">
                  <c:v>40661</c:v>
                </c:pt>
                <c:pt idx="343">
                  <c:v>40662</c:v>
                </c:pt>
                <c:pt idx="344">
                  <c:v>40665</c:v>
                </c:pt>
                <c:pt idx="345">
                  <c:v>40666</c:v>
                </c:pt>
                <c:pt idx="346">
                  <c:v>40667</c:v>
                </c:pt>
                <c:pt idx="347">
                  <c:v>40668</c:v>
                </c:pt>
                <c:pt idx="348">
                  <c:v>40669</c:v>
                </c:pt>
                <c:pt idx="349">
                  <c:v>40672</c:v>
                </c:pt>
                <c:pt idx="350">
                  <c:v>40673</c:v>
                </c:pt>
                <c:pt idx="351">
                  <c:v>40674</c:v>
                </c:pt>
                <c:pt idx="352">
                  <c:v>40675</c:v>
                </c:pt>
                <c:pt idx="353">
                  <c:v>40676</c:v>
                </c:pt>
                <c:pt idx="354">
                  <c:v>40679</c:v>
                </c:pt>
                <c:pt idx="355">
                  <c:v>40680</c:v>
                </c:pt>
                <c:pt idx="356">
                  <c:v>40681</c:v>
                </c:pt>
                <c:pt idx="357">
                  <c:v>40682</c:v>
                </c:pt>
                <c:pt idx="358">
                  <c:v>40683</c:v>
                </c:pt>
                <c:pt idx="359">
                  <c:v>40686</c:v>
                </c:pt>
                <c:pt idx="360">
                  <c:v>40687</c:v>
                </c:pt>
                <c:pt idx="361">
                  <c:v>40688</c:v>
                </c:pt>
                <c:pt idx="362">
                  <c:v>40689</c:v>
                </c:pt>
                <c:pt idx="363">
                  <c:v>40690</c:v>
                </c:pt>
                <c:pt idx="364">
                  <c:v>40693</c:v>
                </c:pt>
                <c:pt idx="365">
                  <c:v>40694</c:v>
                </c:pt>
                <c:pt idx="366">
                  <c:v>40695</c:v>
                </c:pt>
                <c:pt idx="367">
                  <c:v>40696</c:v>
                </c:pt>
                <c:pt idx="368">
                  <c:v>40697</c:v>
                </c:pt>
                <c:pt idx="369">
                  <c:v>40700</c:v>
                </c:pt>
                <c:pt idx="370">
                  <c:v>40701</c:v>
                </c:pt>
                <c:pt idx="371">
                  <c:v>40702</c:v>
                </c:pt>
                <c:pt idx="372">
                  <c:v>40703</c:v>
                </c:pt>
                <c:pt idx="373">
                  <c:v>40704</c:v>
                </c:pt>
                <c:pt idx="374">
                  <c:v>40707</c:v>
                </c:pt>
                <c:pt idx="375">
                  <c:v>40708</c:v>
                </c:pt>
                <c:pt idx="376">
                  <c:v>40709</c:v>
                </c:pt>
                <c:pt idx="377">
                  <c:v>40710</c:v>
                </c:pt>
                <c:pt idx="378">
                  <c:v>40711</c:v>
                </c:pt>
                <c:pt idx="379">
                  <c:v>40714</c:v>
                </c:pt>
                <c:pt idx="380">
                  <c:v>40715</c:v>
                </c:pt>
                <c:pt idx="381">
                  <c:v>40716</c:v>
                </c:pt>
                <c:pt idx="382">
                  <c:v>40717</c:v>
                </c:pt>
                <c:pt idx="383">
                  <c:v>40718</c:v>
                </c:pt>
                <c:pt idx="384">
                  <c:v>40721</c:v>
                </c:pt>
                <c:pt idx="385">
                  <c:v>40722</c:v>
                </c:pt>
                <c:pt idx="386">
                  <c:v>40723</c:v>
                </c:pt>
                <c:pt idx="387">
                  <c:v>40724</c:v>
                </c:pt>
                <c:pt idx="388">
                  <c:v>40725</c:v>
                </c:pt>
                <c:pt idx="389">
                  <c:v>40728</c:v>
                </c:pt>
                <c:pt idx="390">
                  <c:v>40729</c:v>
                </c:pt>
                <c:pt idx="391">
                  <c:v>40730</c:v>
                </c:pt>
                <c:pt idx="392">
                  <c:v>40731</c:v>
                </c:pt>
                <c:pt idx="393">
                  <c:v>40732</c:v>
                </c:pt>
                <c:pt idx="394">
                  <c:v>40735</c:v>
                </c:pt>
                <c:pt idx="395">
                  <c:v>40736</c:v>
                </c:pt>
                <c:pt idx="396">
                  <c:v>40737</c:v>
                </c:pt>
                <c:pt idx="397">
                  <c:v>40738</c:v>
                </c:pt>
                <c:pt idx="398">
                  <c:v>40739</c:v>
                </c:pt>
                <c:pt idx="399">
                  <c:v>40742</c:v>
                </c:pt>
                <c:pt idx="400">
                  <c:v>40743</c:v>
                </c:pt>
                <c:pt idx="401">
                  <c:v>40744</c:v>
                </c:pt>
                <c:pt idx="402">
                  <c:v>40745</c:v>
                </c:pt>
                <c:pt idx="403">
                  <c:v>40746</c:v>
                </c:pt>
                <c:pt idx="404">
                  <c:v>40749</c:v>
                </c:pt>
                <c:pt idx="405">
                  <c:v>40750</c:v>
                </c:pt>
                <c:pt idx="406">
                  <c:v>40751</c:v>
                </c:pt>
                <c:pt idx="407">
                  <c:v>40752</c:v>
                </c:pt>
                <c:pt idx="408">
                  <c:v>40753</c:v>
                </c:pt>
                <c:pt idx="409">
                  <c:v>40756</c:v>
                </c:pt>
                <c:pt idx="410">
                  <c:v>40757</c:v>
                </c:pt>
                <c:pt idx="411">
                  <c:v>40758</c:v>
                </c:pt>
                <c:pt idx="412">
                  <c:v>40759</c:v>
                </c:pt>
                <c:pt idx="413">
                  <c:v>40760</c:v>
                </c:pt>
                <c:pt idx="414">
                  <c:v>40763</c:v>
                </c:pt>
                <c:pt idx="415">
                  <c:v>40764</c:v>
                </c:pt>
                <c:pt idx="416">
                  <c:v>40765</c:v>
                </c:pt>
                <c:pt idx="417">
                  <c:v>40766</c:v>
                </c:pt>
                <c:pt idx="418">
                  <c:v>40767</c:v>
                </c:pt>
                <c:pt idx="419">
                  <c:v>40770</c:v>
                </c:pt>
                <c:pt idx="420">
                  <c:v>40771</c:v>
                </c:pt>
                <c:pt idx="421">
                  <c:v>40772</c:v>
                </c:pt>
                <c:pt idx="422">
                  <c:v>40773</c:v>
                </c:pt>
                <c:pt idx="423">
                  <c:v>40774</c:v>
                </c:pt>
                <c:pt idx="424">
                  <c:v>40777</c:v>
                </c:pt>
                <c:pt idx="425">
                  <c:v>40778</c:v>
                </c:pt>
                <c:pt idx="426">
                  <c:v>40779</c:v>
                </c:pt>
                <c:pt idx="427">
                  <c:v>40780</c:v>
                </c:pt>
                <c:pt idx="428">
                  <c:v>40781</c:v>
                </c:pt>
                <c:pt idx="429">
                  <c:v>40784</c:v>
                </c:pt>
                <c:pt idx="430">
                  <c:v>40785</c:v>
                </c:pt>
                <c:pt idx="431">
                  <c:v>40786</c:v>
                </c:pt>
                <c:pt idx="432">
                  <c:v>40787</c:v>
                </c:pt>
                <c:pt idx="433">
                  <c:v>40788</c:v>
                </c:pt>
                <c:pt idx="434">
                  <c:v>40791</c:v>
                </c:pt>
                <c:pt idx="435">
                  <c:v>40792</c:v>
                </c:pt>
                <c:pt idx="436">
                  <c:v>40793</c:v>
                </c:pt>
                <c:pt idx="437">
                  <c:v>40794</c:v>
                </c:pt>
                <c:pt idx="438">
                  <c:v>40795</c:v>
                </c:pt>
                <c:pt idx="439">
                  <c:v>40798</c:v>
                </c:pt>
                <c:pt idx="440">
                  <c:v>40799</c:v>
                </c:pt>
                <c:pt idx="441">
                  <c:v>40800</c:v>
                </c:pt>
                <c:pt idx="442">
                  <c:v>40801</c:v>
                </c:pt>
                <c:pt idx="443">
                  <c:v>40802</c:v>
                </c:pt>
                <c:pt idx="444">
                  <c:v>40805</c:v>
                </c:pt>
                <c:pt idx="445">
                  <c:v>40806</c:v>
                </c:pt>
                <c:pt idx="446">
                  <c:v>40807</c:v>
                </c:pt>
                <c:pt idx="447">
                  <c:v>40808</c:v>
                </c:pt>
                <c:pt idx="448">
                  <c:v>40809</c:v>
                </c:pt>
                <c:pt idx="449">
                  <c:v>40812</c:v>
                </c:pt>
                <c:pt idx="450">
                  <c:v>40813</c:v>
                </c:pt>
                <c:pt idx="451">
                  <c:v>40814</c:v>
                </c:pt>
                <c:pt idx="452">
                  <c:v>40815</c:v>
                </c:pt>
                <c:pt idx="453">
                  <c:v>40816</c:v>
                </c:pt>
                <c:pt idx="454">
                  <c:v>40819</c:v>
                </c:pt>
                <c:pt idx="455">
                  <c:v>40820</c:v>
                </c:pt>
                <c:pt idx="456">
                  <c:v>40821</c:v>
                </c:pt>
                <c:pt idx="457">
                  <c:v>40822</c:v>
                </c:pt>
                <c:pt idx="458">
                  <c:v>40823</c:v>
                </c:pt>
                <c:pt idx="459">
                  <c:v>40826</c:v>
                </c:pt>
                <c:pt idx="460">
                  <c:v>40827</c:v>
                </c:pt>
                <c:pt idx="461">
                  <c:v>40828</c:v>
                </c:pt>
                <c:pt idx="462">
                  <c:v>40829</c:v>
                </c:pt>
                <c:pt idx="463">
                  <c:v>40830</c:v>
                </c:pt>
                <c:pt idx="464">
                  <c:v>40833</c:v>
                </c:pt>
                <c:pt idx="465">
                  <c:v>40834</c:v>
                </c:pt>
                <c:pt idx="466">
                  <c:v>40835</c:v>
                </c:pt>
                <c:pt idx="467">
                  <c:v>40836</c:v>
                </c:pt>
                <c:pt idx="468">
                  <c:v>40837</c:v>
                </c:pt>
                <c:pt idx="469">
                  <c:v>40840</c:v>
                </c:pt>
                <c:pt idx="470">
                  <c:v>40841</c:v>
                </c:pt>
                <c:pt idx="471">
                  <c:v>40842</c:v>
                </c:pt>
                <c:pt idx="472">
                  <c:v>40843</c:v>
                </c:pt>
                <c:pt idx="473">
                  <c:v>40844</c:v>
                </c:pt>
                <c:pt idx="474">
                  <c:v>40847</c:v>
                </c:pt>
                <c:pt idx="475">
                  <c:v>40848</c:v>
                </c:pt>
                <c:pt idx="476">
                  <c:v>40849</c:v>
                </c:pt>
                <c:pt idx="477">
                  <c:v>40850</c:v>
                </c:pt>
                <c:pt idx="478">
                  <c:v>40851</c:v>
                </c:pt>
                <c:pt idx="479">
                  <c:v>40854</c:v>
                </c:pt>
                <c:pt idx="480">
                  <c:v>40855</c:v>
                </c:pt>
                <c:pt idx="481">
                  <c:v>40856</c:v>
                </c:pt>
                <c:pt idx="482">
                  <c:v>40857</c:v>
                </c:pt>
                <c:pt idx="483">
                  <c:v>40858</c:v>
                </c:pt>
                <c:pt idx="484">
                  <c:v>40861</c:v>
                </c:pt>
                <c:pt idx="485">
                  <c:v>40862</c:v>
                </c:pt>
                <c:pt idx="486">
                  <c:v>40863</c:v>
                </c:pt>
                <c:pt idx="487">
                  <c:v>40864</c:v>
                </c:pt>
                <c:pt idx="488">
                  <c:v>40865</c:v>
                </c:pt>
                <c:pt idx="489">
                  <c:v>40868</c:v>
                </c:pt>
                <c:pt idx="490">
                  <c:v>40869</c:v>
                </c:pt>
                <c:pt idx="491">
                  <c:v>40870</c:v>
                </c:pt>
                <c:pt idx="492">
                  <c:v>40871</c:v>
                </c:pt>
                <c:pt idx="493">
                  <c:v>40872</c:v>
                </c:pt>
                <c:pt idx="494">
                  <c:v>40875</c:v>
                </c:pt>
                <c:pt idx="495">
                  <c:v>40876</c:v>
                </c:pt>
                <c:pt idx="496">
                  <c:v>40877</c:v>
                </c:pt>
                <c:pt idx="497">
                  <c:v>40878</c:v>
                </c:pt>
                <c:pt idx="498">
                  <c:v>40879</c:v>
                </c:pt>
                <c:pt idx="499">
                  <c:v>40882</c:v>
                </c:pt>
                <c:pt idx="500">
                  <c:v>40883</c:v>
                </c:pt>
                <c:pt idx="501">
                  <c:v>40884</c:v>
                </c:pt>
                <c:pt idx="502">
                  <c:v>40885</c:v>
                </c:pt>
                <c:pt idx="503">
                  <c:v>40886</c:v>
                </c:pt>
                <c:pt idx="504">
                  <c:v>40889</c:v>
                </c:pt>
                <c:pt idx="505">
                  <c:v>40890</c:v>
                </c:pt>
                <c:pt idx="506">
                  <c:v>40891</c:v>
                </c:pt>
                <c:pt idx="507">
                  <c:v>40892</c:v>
                </c:pt>
                <c:pt idx="508">
                  <c:v>40893</c:v>
                </c:pt>
                <c:pt idx="509">
                  <c:v>40896</c:v>
                </c:pt>
                <c:pt idx="510">
                  <c:v>40897</c:v>
                </c:pt>
                <c:pt idx="511">
                  <c:v>40898</c:v>
                </c:pt>
                <c:pt idx="512">
                  <c:v>40899</c:v>
                </c:pt>
                <c:pt idx="513">
                  <c:v>40900</c:v>
                </c:pt>
                <c:pt idx="514">
                  <c:v>40904</c:v>
                </c:pt>
                <c:pt idx="515">
                  <c:v>40905</c:v>
                </c:pt>
                <c:pt idx="516">
                  <c:v>40906</c:v>
                </c:pt>
                <c:pt idx="517">
                  <c:v>40907</c:v>
                </c:pt>
                <c:pt idx="518">
                  <c:v>40910</c:v>
                </c:pt>
                <c:pt idx="519">
                  <c:v>40911</c:v>
                </c:pt>
                <c:pt idx="520">
                  <c:v>40912</c:v>
                </c:pt>
                <c:pt idx="521">
                  <c:v>40913</c:v>
                </c:pt>
                <c:pt idx="522">
                  <c:v>40914</c:v>
                </c:pt>
                <c:pt idx="523">
                  <c:v>40917</c:v>
                </c:pt>
                <c:pt idx="524">
                  <c:v>40918</c:v>
                </c:pt>
                <c:pt idx="525">
                  <c:v>40919</c:v>
                </c:pt>
                <c:pt idx="526">
                  <c:v>40920</c:v>
                </c:pt>
                <c:pt idx="527">
                  <c:v>40921</c:v>
                </c:pt>
                <c:pt idx="528">
                  <c:v>40924</c:v>
                </c:pt>
                <c:pt idx="529">
                  <c:v>40925</c:v>
                </c:pt>
                <c:pt idx="530">
                  <c:v>40926</c:v>
                </c:pt>
                <c:pt idx="531">
                  <c:v>40927</c:v>
                </c:pt>
                <c:pt idx="532">
                  <c:v>40928</c:v>
                </c:pt>
                <c:pt idx="533">
                  <c:v>40931</c:v>
                </c:pt>
                <c:pt idx="534">
                  <c:v>40932</c:v>
                </c:pt>
                <c:pt idx="535">
                  <c:v>40933</c:v>
                </c:pt>
                <c:pt idx="536">
                  <c:v>40934</c:v>
                </c:pt>
                <c:pt idx="537">
                  <c:v>40935</c:v>
                </c:pt>
                <c:pt idx="538">
                  <c:v>40938</c:v>
                </c:pt>
                <c:pt idx="539">
                  <c:v>40939</c:v>
                </c:pt>
                <c:pt idx="540">
                  <c:v>40940</c:v>
                </c:pt>
                <c:pt idx="541">
                  <c:v>40941</c:v>
                </c:pt>
                <c:pt idx="542">
                  <c:v>40942</c:v>
                </c:pt>
                <c:pt idx="543">
                  <c:v>40945</c:v>
                </c:pt>
                <c:pt idx="544">
                  <c:v>40946</c:v>
                </c:pt>
                <c:pt idx="545">
                  <c:v>40947</c:v>
                </c:pt>
                <c:pt idx="546">
                  <c:v>40948</c:v>
                </c:pt>
                <c:pt idx="547">
                  <c:v>40949</c:v>
                </c:pt>
                <c:pt idx="548">
                  <c:v>40952</c:v>
                </c:pt>
                <c:pt idx="549">
                  <c:v>40953</c:v>
                </c:pt>
                <c:pt idx="550">
                  <c:v>40954</c:v>
                </c:pt>
                <c:pt idx="551">
                  <c:v>40955</c:v>
                </c:pt>
                <c:pt idx="552">
                  <c:v>40956</c:v>
                </c:pt>
                <c:pt idx="553">
                  <c:v>40959</c:v>
                </c:pt>
                <c:pt idx="554">
                  <c:v>40960</c:v>
                </c:pt>
                <c:pt idx="555">
                  <c:v>40961</c:v>
                </c:pt>
                <c:pt idx="556">
                  <c:v>40962</c:v>
                </c:pt>
                <c:pt idx="557">
                  <c:v>40963</c:v>
                </c:pt>
                <c:pt idx="558">
                  <c:v>40966</c:v>
                </c:pt>
                <c:pt idx="559">
                  <c:v>40967</c:v>
                </c:pt>
                <c:pt idx="560">
                  <c:v>40968</c:v>
                </c:pt>
                <c:pt idx="561">
                  <c:v>40969</c:v>
                </c:pt>
                <c:pt idx="562">
                  <c:v>40970</c:v>
                </c:pt>
                <c:pt idx="563">
                  <c:v>40973</c:v>
                </c:pt>
                <c:pt idx="564">
                  <c:v>40974</c:v>
                </c:pt>
                <c:pt idx="565">
                  <c:v>40975</c:v>
                </c:pt>
                <c:pt idx="566">
                  <c:v>40976</c:v>
                </c:pt>
                <c:pt idx="567">
                  <c:v>40977</c:v>
                </c:pt>
                <c:pt idx="568">
                  <c:v>40980</c:v>
                </c:pt>
                <c:pt idx="569">
                  <c:v>40981</c:v>
                </c:pt>
                <c:pt idx="570">
                  <c:v>40982</c:v>
                </c:pt>
                <c:pt idx="571">
                  <c:v>40983</c:v>
                </c:pt>
                <c:pt idx="572">
                  <c:v>40984</c:v>
                </c:pt>
                <c:pt idx="573">
                  <c:v>40987</c:v>
                </c:pt>
                <c:pt idx="574">
                  <c:v>40988</c:v>
                </c:pt>
                <c:pt idx="575">
                  <c:v>40989</c:v>
                </c:pt>
                <c:pt idx="576">
                  <c:v>40990</c:v>
                </c:pt>
                <c:pt idx="577">
                  <c:v>40991</c:v>
                </c:pt>
                <c:pt idx="578">
                  <c:v>40994</c:v>
                </c:pt>
                <c:pt idx="579">
                  <c:v>40995</c:v>
                </c:pt>
                <c:pt idx="580">
                  <c:v>40996</c:v>
                </c:pt>
                <c:pt idx="581">
                  <c:v>40997</c:v>
                </c:pt>
                <c:pt idx="582">
                  <c:v>40998</c:v>
                </c:pt>
                <c:pt idx="583">
                  <c:v>41001</c:v>
                </c:pt>
                <c:pt idx="584">
                  <c:v>41002</c:v>
                </c:pt>
                <c:pt idx="585">
                  <c:v>41003</c:v>
                </c:pt>
                <c:pt idx="586">
                  <c:v>41004</c:v>
                </c:pt>
                <c:pt idx="587">
                  <c:v>41009</c:v>
                </c:pt>
                <c:pt idx="588">
                  <c:v>41010</c:v>
                </c:pt>
                <c:pt idx="589">
                  <c:v>41011</c:v>
                </c:pt>
                <c:pt idx="590">
                  <c:v>41012</c:v>
                </c:pt>
                <c:pt idx="591">
                  <c:v>41015</c:v>
                </c:pt>
                <c:pt idx="592">
                  <c:v>41016</c:v>
                </c:pt>
                <c:pt idx="593">
                  <c:v>41017</c:v>
                </c:pt>
                <c:pt idx="594">
                  <c:v>41018</c:v>
                </c:pt>
                <c:pt idx="595">
                  <c:v>41019</c:v>
                </c:pt>
                <c:pt idx="596">
                  <c:v>41022</c:v>
                </c:pt>
                <c:pt idx="597">
                  <c:v>41023</c:v>
                </c:pt>
                <c:pt idx="598">
                  <c:v>41024</c:v>
                </c:pt>
                <c:pt idx="599">
                  <c:v>41025</c:v>
                </c:pt>
                <c:pt idx="600">
                  <c:v>41026</c:v>
                </c:pt>
                <c:pt idx="601">
                  <c:v>41029</c:v>
                </c:pt>
                <c:pt idx="602">
                  <c:v>41030</c:v>
                </c:pt>
                <c:pt idx="603">
                  <c:v>41031</c:v>
                </c:pt>
                <c:pt idx="604">
                  <c:v>41032</c:v>
                </c:pt>
                <c:pt idx="605">
                  <c:v>41033</c:v>
                </c:pt>
                <c:pt idx="606">
                  <c:v>41036</c:v>
                </c:pt>
                <c:pt idx="607">
                  <c:v>41037</c:v>
                </c:pt>
                <c:pt idx="608">
                  <c:v>41038</c:v>
                </c:pt>
                <c:pt idx="609">
                  <c:v>41039</c:v>
                </c:pt>
                <c:pt idx="610">
                  <c:v>41040</c:v>
                </c:pt>
                <c:pt idx="611">
                  <c:v>41043</c:v>
                </c:pt>
                <c:pt idx="612">
                  <c:v>41044</c:v>
                </c:pt>
                <c:pt idx="613">
                  <c:v>41045</c:v>
                </c:pt>
                <c:pt idx="614">
                  <c:v>41046</c:v>
                </c:pt>
                <c:pt idx="615">
                  <c:v>41047</c:v>
                </c:pt>
                <c:pt idx="616">
                  <c:v>41050</c:v>
                </c:pt>
                <c:pt idx="617">
                  <c:v>41051</c:v>
                </c:pt>
                <c:pt idx="618">
                  <c:v>41052</c:v>
                </c:pt>
                <c:pt idx="619">
                  <c:v>41053</c:v>
                </c:pt>
                <c:pt idx="620">
                  <c:v>41054</c:v>
                </c:pt>
                <c:pt idx="621">
                  <c:v>41057</c:v>
                </c:pt>
                <c:pt idx="622">
                  <c:v>41058</c:v>
                </c:pt>
                <c:pt idx="623">
                  <c:v>41059</c:v>
                </c:pt>
                <c:pt idx="624">
                  <c:v>41060</c:v>
                </c:pt>
                <c:pt idx="625">
                  <c:v>41061</c:v>
                </c:pt>
                <c:pt idx="626">
                  <c:v>41064</c:v>
                </c:pt>
                <c:pt idx="627">
                  <c:v>41065</c:v>
                </c:pt>
                <c:pt idx="628">
                  <c:v>41066</c:v>
                </c:pt>
                <c:pt idx="629">
                  <c:v>41067</c:v>
                </c:pt>
                <c:pt idx="630">
                  <c:v>41068</c:v>
                </c:pt>
                <c:pt idx="631">
                  <c:v>41071</c:v>
                </c:pt>
                <c:pt idx="632">
                  <c:v>41072</c:v>
                </c:pt>
                <c:pt idx="633">
                  <c:v>41073</c:v>
                </c:pt>
                <c:pt idx="634">
                  <c:v>41074</c:v>
                </c:pt>
                <c:pt idx="635">
                  <c:v>41075</c:v>
                </c:pt>
                <c:pt idx="636">
                  <c:v>41078</c:v>
                </c:pt>
                <c:pt idx="637">
                  <c:v>41079</c:v>
                </c:pt>
                <c:pt idx="638">
                  <c:v>41080</c:v>
                </c:pt>
                <c:pt idx="639">
                  <c:v>41081</c:v>
                </c:pt>
                <c:pt idx="640">
                  <c:v>41082</c:v>
                </c:pt>
                <c:pt idx="641">
                  <c:v>41085</c:v>
                </c:pt>
                <c:pt idx="642">
                  <c:v>41086</c:v>
                </c:pt>
                <c:pt idx="643">
                  <c:v>41087</c:v>
                </c:pt>
                <c:pt idx="644">
                  <c:v>41088</c:v>
                </c:pt>
                <c:pt idx="645">
                  <c:v>41089</c:v>
                </c:pt>
                <c:pt idx="646">
                  <c:v>41092</c:v>
                </c:pt>
                <c:pt idx="647">
                  <c:v>41093</c:v>
                </c:pt>
                <c:pt idx="648">
                  <c:v>41094</c:v>
                </c:pt>
                <c:pt idx="649">
                  <c:v>41095</c:v>
                </c:pt>
                <c:pt idx="650">
                  <c:v>41096</c:v>
                </c:pt>
                <c:pt idx="651">
                  <c:v>41099</c:v>
                </c:pt>
                <c:pt idx="652">
                  <c:v>41100</c:v>
                </c:pt>
                <c:pt idx="653">
                  <c:v>41101</c:v>
                </c:pt>
                <c:pt idx="654">
                  <c:v>41102</c:v>
                </c:pt>
                <c:pt idx="655">
                  <c:v>41103</c:v>
                </c:pt>
                <c:pt idx="656">
                  <c:v>41106</c:v>
                </c:pt>
                <c:pt idx="657">
                  <c:v>41107</c:v>
                </c:pt>
                <c:pt idx="658">
                  <c:v>41108</c:v>
                </c:pt>
                <c:pt idx="659">
                  <c:v>41109</c:v>
                </c:pt>
                <c:pt idx="660">
                  <c:v>41110</c:v>
                </c:pt>
                <c:pt idx="661">
                  <c:v>41113</c:v>
                </c:pt>
                <c:pt idx="662">
                  <c:v>41114</c:v>
                </c:pt>
                <c:pt idx="663">
                  <c:v>41115</c:v>
                </c:pt>
                <c:pt idx="664">
                  <c:v>41116</c:v>
                </c:pt>
                <c:pt idx="665">
                  <c:v>41117</c:v>
                </c:pt>
                <c:pt idx="666">
                  <c:v>41120</c:v>
                </c:pt>
                <c:pt idx="667">
                  <c:v>41121</c:v>
                </c:pt>
                <c:pt idx="668">
                  <c:v>41122</c:v>
                </c:pt>
                <c:pt idx="669">
                  <c:v>41123</c:v>
                </c:pt>
                <c:pt idx="670">
                  <c:v>41124</c:v>
                </c:pt>
                <c:pt idx="671">
                  <c:v>41127</c:v>
                </c:pt>
                <c:pt idx="672">
                  <c:v>41128</c:v>
                </c:pt>
                <c:pt idx="673">
                  <c:v>41129</c:v>
                </c:pt>
                <c:pt idx="674">
                  <c:v>41130</c:v>
                </c:pt>
                <c:pt idx="675">
                  <c:v>41131</c:v>
                </c:pt>
                <c:pt idx="676">
                  <c:v>41134</c:v>
                </c:pt>
                <c:pt idx="677">
                  <c:v>41135</c:v>
                </c:pt>
                <c:pt idx="678">
                  <c:v>41136</c:v>
                </c:pt>
                <c:pt idx="679">
                  <c:v>41137</c:v>
                </c:pt>
                <c:pt idx="680">
                  <c:v>41138</c:v>
                </c:pt>
                <c:pt idx="681">
                  <c:v>41141</c:v>
                </c:pt>
                <c:pt idx="682">
                  <c:v>41142</c:v>
                </c:pt>
                <c:pt idx="683">
                  <c:v>41143</c:v>
                </c:pt>
                <c:pt idx="684">
                  <c:v>41144</c:v>
                </c:pt>
                <c:pt idx="685">
                  <c:v>41145</c:v>
                </c:pt>
                <c:pt idx="686">
                  <c:v>41148</c:v>
                </c:pt>
                <c:pt idx="687">
                  <c:v>41149</c:v>
                </c:pt>
                <c:pt idx="688">
                  <c:v>41150</c:v>
                </c:pt>
                <c:pt idx="689">
                  <c:v>41151</c:v>
                </c:pt>
                <c:pt idx="690">
                  <c:v>41152</c:v>
                </c:pt>
                <c:pt idx="691">
                  <c:v>41155</c:v>
                </c:pt>
                <c:pt idx="692">
                  <c:v>41156</c:v>
                </c:pt>
                <c:pt idx="693">
                  <c:v>41157</c:v>
                </c:pt>
                <c:pt idx="694">
                  <c:v>41158</c:v>
                </c:pt>
                <c:pt idx="695">
                  <c:v>41159</c:v>
                </c:pt>
                <c:pt idx="696">
                  <c:v>41162</c:v>
                </c:pt>
                <c:pt idx="697">
                  <c:v>41163</c:v>
                </c:pt>
                <c:pt idx="698">
                  <c:v>41164</c:v>
                </c:pt>
                <c:pt idx="699">
                  <c:v>41165</c:v>
                </c:pt>
                <c:pt idx="700">
                  <c:v>41166</c:v>
                </c:pt>
                <c:pt idx="701">
                  <c:v>41169</c:v>
                </c:pt>
                <c:pt idx="702">
                  <c:v>41170</c:v>
                </c:pt>
                <c:pt idx="703">
                  <c:v>41171</c:v>
                </c:pt>
                <c:pt idx="704">
                  <c:v>41172</c:v>
                </c:pt>
                <c:pt idx="705">
                  <c:v>41173</c:v>
                </c:pt>
                <c:pt idx="706">
                  <c:v>41176</c:v>
                </c:pt>
                <c:pt idx="707">
                  <c:v>41177</c:v>
                </c:pt>
                <c:pt idx="708">
                  <c:v>41178</c:v>
                </c:pt>
                <c:pt idx="709">
                  <c:v>41179</c:v>
                </c:pt>
                <c:pt idx="710">
                  <c:v>41180</c:v>
                </c:pt>
                <c:pt idx="711">
                  <c:v>41183</c:v>
                </c:pt>
                <c:pt idx="712">
                  <c:v>41184</c:v>
                </c:pt>
                <c:pt idx="713">
                  <c:v>41185</c:v>
                </c:pt>
                <c:pt idx="714">
                  <c:v>41186</c:v>
                </c:pt>
                <c:pt idx="715">
                  <c:v>41187</c:v>
                </c:pt>
                <c:pt idx="716">
                  <c:v>41190</c:v>
                </c:pt>
                <c:pt idx="717">
                  <c:v>41191</c:v>
                </c:pt>
                <c:pt idx="718">
                  <c:v>41192</c:v>
                </c:pt>
                <c:pt idx="719">
                  <c:v>41193</c:v>
                </c:pt>
                <c:pt idx="720">
                  <c:v>41194</c:v>
                </c:pt>
                <c:pt idx="721">
                  <c:v>41197</c:v>
                </c:pt>
                <c:pt idx="722">
                  <c:v>41198</c:v>
                </c:pt>
                <c:pt idx="723">
                  <c:v>41199</c:v>
                </c:pt>
                <c:pt idx="724">
                  <c:v>41200</c:v>
                </c:pt>
                <c:pt idx="725">
                  <c:v>41201</c:v>
                </c:pt>
                <c:pt idx="726">
                  <c:v>41204</c:v>
                </c:pt>
                <c:pt idx="727">
                  <c:v>41205</c:v>
                </c:pt>
                <c:pt idx="728">
                  <c:v>41206</c:v>
                </c:pt>
                <c:pt idx="729">
                  <c:v>41207</c:v>
                </c:pt>
                <c:pt idx="730">
                  <c:v>41208</c:v>
                </c:pt>
                <c:pt idx="731">
                  <c:v>41211</c:v>
                </c:pt>
                <c:pt idx="732">
                  <c:v>41212</c:v>
                </c:pt>
                <c:pt idx="733">
                  <c:v>41213</c:v>
                </c:pt>
                <c:pt idx="734">
                  <c:v>41214</c:v>
                </c:pt>
                <c:pt idx="735">
                  <c:v>41215</c:v>
                </c:pt>
                <c:pt idx="736">
                  <c:v>41218</c:v>
                </c:pt>
                <c:pt idx="737">
                  <c:v>41219</c:v>
                </c:pt>
                <c:pt idx="738">
                  <c:v>41220</c:v>
                </c:pt>
                <c:pt idx="739">
                  <c:v>41221</c:v>
                </c:pt>
                <c:pt idx="740">
                  <c:v>41222</c:v>
                </c:pt>
                <c:pt idx="741">
                  <c:v>41225</c:v>
                </c:pt>
                <c:pt idx="742">
                  <c:v>41226</c:v>
                </c:pt>
                <c:pt idx="743">
                  <c:v>41227</c:v>
                </c:pt>
                <c:pt idx="744">
                  <c:v>41228</c:v>
                </c:pt>
                <c:pt idx="745">
                  <c:v>41229</c:v>
                </c:pt>
                <c:pt idx="746">
                  <c:v>41232</c:v>
                </c:pt>
                <c:pt idx="747">
                  <c:v>41233</c:v>
                </c:pt>
                <c:pt idx="748">
                  <c:v>41234</c:v>
                </c:pt>
                <c:pt idx="749">
                  <c:v>41235</c:v>
                </c:pt>
                <c:pt idx="750">
                  <c:v>41236</c:v>
                </c:pt>
                <c:pt idx="751">
                  <c:v>41239</c:v>
                </c:pt>
                <c:pt idx="752">
                  <c:v>41240</c:v>
                </c:pt>
                <c:pt idx="753">
                  <c:v>41241</c:v>
                </c:pt>
                <c:pt idx="754">
                  <c:v>41242</c:v>
                </c:pt>
                <c:pt idx="755">
                  <c:v>41243</c:v>
                </c:pt>
                <c:pt idx="756">
                  <c:v>41246</c:v>
                </c:pt>
                <c:pt idx="757">
                  <c:v>41247</c:v>
                </c:pt>
                <c:pt idx="758">
                  <c:v>41248</c:v>
                </c:pt>
                <c:pt idx="759">
                  <c:v>41249</c:v>
                </c:pt>
                <c:pt idx="760">
                  <c:v>41250</c:v>
                </c:pt>
                <c:pt idx="761">
                  <c:v>41253</c:v>
                </c:pt>
                <c:pt idx="762">
                  <c:v>41254</c:v>
                </c:pt>
                <c:pt idx="763">
                  <c:v>41255</c:v>
                </c:pt>
                <c:pt idx="764">
                  <c:v>41256</c:v>
                </c:pt>
                <c:pt idx="765">
                  <c:v>41257</c:v>
                </c:pt>
                <c:pt idx="766">
                  <c:v>41260</c:v>
                </c:pt>
                <c:pt idx="767">
                  <c:v>41261</c:v>
                </c:pt>
                <c:pt idx="768">
                  <c:v>41262</c:v>
                </c:pt>
                <c:pt idx="769">
                  <c:v>41263</c:v>
                </c:pt>
                <c:pt idx="770">
                  <c:v>41264</c:v>
                </c:pt>
                <c:pt idx="771">
                  <c:v>41267</c:v>
                </c:pt>
                <c:pt idx="772">
                  <c:v>41270</c:v>
                </c:pt>
                <c:pt idx="773">
                  <c:v>41271</c:v>
                </c:pt>
                <c:pt idx="774">
                  <c:v>41274</c:v>
                </c:pt>
                <c:pt idx="775">
                  <c:v>41276</c:v>
                </c:pt>
                <c:pt idx="776">
                  <c:v>41277</c:v>
                </c:pt>
                <c:pt idx="777">
                  <c:v>41278</c:v>
                </c:pt>
                <c:pt idx="778">
                  <c:v>41281</c:v>
                </c:pt>
                <c:pt idx="779">
                  <c:v>41282</c:v>
                </c:pt>
                <c:pt idx="780">
                  <c:v>41283</c:v>
                </c:pt>
                <c:pt idx="781">
                  <c:v>41284</c:v>
                </c:pt>
                <c:pt idx="782">
                  <c:v>41285</c:v>
                </c:pt>
                <c:pt idx="783">
                  <c:v>41288</c:v>
                </c:pt>
                <c:pt idx="784">
                  <c:v>41289</c:v>
                </c:pt>
                <c:pt idx="785">
                  <c:v>41290</c:v>
                </c:pt>
                <c:pt idx="786">
                  <c:v>41291</c:v>
                </c:pt>
                <c:pt idx="787">
                  <c:v>41292</c:v>
                </c:pt>
                <c:pt idx="788">
                  <c:v>41295</c:v>
                </c:pt>
                <c:pt idx="789">
                  <c:v>41296</c:v>
                </c:pt>
                <c:pt idx="790">
                  <c:v>41297</c:v>
                </c:pt>
                <c:pt idx="791">
                  <c:v>41298</c:v>
                </c:pt>
                <c:pt idx="792">
                  <c:v>41299</c:v>
                </c:pt>
                <c:pt idx="793">
                  <c:v>41302</c:v>
                </c:pt>
                <c:pt idx="794">
                  <c:v>41303</c:v>
                </c:pt>
                <c:pt idx="795">
                  <c:v>41304</c:v>
                </c:pt>
                <c:pt idx="796">
                  <c:v>41305</c:v>
                </c:pt>
                <c:pt idx="797">
                  <c:v>41306</c:v>
                </c:pt>
                <c:pt idx="798">
                  <c:v>41309</c:v>
                </c:pt>
                <c:pt idx="799">
                  <c:v>41310</c:v>
                </c:pt>
                <c:pt idx="800">
                  <c:v>41311</c:v>
                </c:pt>
                <c:pt idx="801">
                  <c:v>41312</c:v>
                </c:pt>
                <c:pt idx="802">
                  <c:v>41313</c:v>
                </c:pt>
                <c:pt idx="803">
                  <c:v>41316</c:v>
                </c:pt>
                <c:pt idx="804">
                  <c:v>41317</c:v>
                </c:pt>
                <c:pt idx="805">
                  <c:v>41318</c:v>
                </c:pt>
                <c:pt idx="806">
                  <c:v>41319</c:v>
                </c:pt>
                <c:pt idx="807">
                  <c:v>41320</c:v>
                </c:pt>
                <c:pt idx="808">
                  <c:v>41323</c:v>
                </c:pt>
                <c:pt idx="809">
                  <c:v>41324</c:v>
                </c:pt>
                <c:pt idx="810">
                  <c:v>41325</c:v>
                </c:pt>
                <c:pt idx="811">
                  <c:v>41326</c:v>
                </c:pt>
                <c:pt idx="812">
                  <c:v>41327</c:v>
                </c:pt>
                <c:pt idx="813">
                  <c:v>41330</c:v>
                </c:pt>
                <c:pt idx="814">
                  <c:v>41331</c:v>
                </c:pt>
                <c:pt idx="815">
                  <c:v>41332</c:v>
                </c:pt>
                <c:pt idx="816">
                  <c:v>41333</c:v>
                </c:pt>
                <c:pt idx="817">
                  <c:v>41334</c:v>
                </c:pt>
                <c:pt idx="818">
                  <c:v>41337</c:v>
                </c:pt>
                <c:pt idx="819">
                  <c:v>41338</c:v>
                </c:pt>
                <c:pt idx="820">
                  <c:v>41339</c:v>
                </c:pt>
                <c:pt idx="821">
                  <c:v>41340</c:v>
                </c:pt>
                <c:pt idx="822">
                  <c:v>41341</c:v>
                </c:pt>
                <c:pt idx="823">
                  <c:v>41344</c:v>
                </c:pt>
                <c:pt idx="824">
                  <c:v>41345</c:v>
                </c:pt>
                <c:pt idx="825">
                  <c:v>41346</c:v>
                </c:pt>
                <c:pt idx="826">
                  <c:v>41347</c:v>
                </c:pt>
                <c:pt idx="827">
                  <c:v>41348</c:v>
                </c:pt>
                <c:pt idx="828">
                  <c:v>41351</c:v>
                </c:pt>
                <c:pt idx="829">
                  <c:v>41352</c:v>
                </c:pt>
                <c:pt idx="830">
                  <c:v>41353</c:v>
                </c:pt>
                <c:pt idx="831">
                  <c:v>41354</c:v>
                </c:pt>
                <c:pt idx="832">
                  <c:v>41355</c:v>
                </c:pt>
                <c:pt idx="833">
                  <c:v>41358</c:v>
                </c:pt>
                <c:pt idx="834">
                  <c:v>41359</c:v>
                </c:pt>
                <c:pt idx="835">
                  <c:v>41360</c:v>
                </c:pt>
                <c:pt idx="836">
                  <c:v>41361</c:v>
                </c:pt>
                <c:pt idx="837">
                  <c:v>41366</c:v>
                </c:pt>
                <c:pt idx="838">
                  <c:v>41367</c:v>
                </c:pt>
                <c:pt idx="839">
                  <c:v>41368</c:v>
                </c:pt>
                <c:pt idx="840">
                  <c:v>41369</c:v>
                </c:pt>
                <c:pt idx="841">
                  <c:v>41372</c:v>
                </c:pt>
                <c:pt idx="842">
                  <c:v>41373</c:v>
                </c:pt>
                <c:pt idx="843">
                  <c:v>41374</c:v>
                </c:pt>
                <c:pt idx="844">
                  <c:v>41375</c:v>
                </c:pt>
                <c:pt idx="845">
                  <c:v>41376</c:v>
                </c:pt>
                <c:pt idx="846">
                  <c:v>41379</c:v>
                </c:pt>
                <c:pt idx="847">
                  <c:v>41380</c:v>
                </c:pt>
                <c:pt idx="848">
                  <c:v>41381</c:v>
                </c:pt>
                <c:pt idx="849">
                  <c:v>41382</c:v>
                </c:pt>
                <c:pt idx="850">
                  <c:v>41383</c:v>
                </c:pt>
                <c:pt idx="851">
                  <c:v>41386</c:v>
                </c:pt>
                <c:pt idx="852">
                  <c:v>41387</c:v>
                </c:pt>
                <c:pt idx="853">
                  <c:v>41388</c:v>
                </c:pt>
                <c:pt idx="854">
                  <c:v>41389</c:v>
                </c:pt>
                <c:pt idx="855">
                  <c:v>41390</c:v>
                </c:pt>
                <c:pt idx="856">
                  <c:v>41393</c:v>
                </c:pt>
                <c:pt idx="857">
                  <c:v>41394</c:v>
                </c:pt>
                <c:pt idx="858">
                  <c:v>41395</c:v>
                </c:pt>
                <c:pt idx="859">
                  <c:v>41396</c:v>
                </c:pt>
                <c:pt idx="860">
                  <c:v>41397</c:v>
                </c:pt>
                <c:pt idx="861">
                  <c:v>41400</c:v>
                </c:pt>
                <c:pt idx="862">
                  <c:v>41401</c:v>
                </c:pt>
                <c:pt idx="863">
                  <c:v>41402</c:v>
                </c:pt>
                <c:pt idx="864">
                  <c:v>41403</c:v>
                </c:pt>
                <c:pt idx="865">
                  <c:v>41404</c:v>
                </c:pt>
                <c:pt idx="866">
                  <c:v>41407</c:v>
                </c:pt>
                <c:pt idx="867">
                  <c:v>41408</c:v>
                </c:pt>
                <c:pt idx="868">
                  <c:v>41409</c:v>
                </c:pt>
                <c:pt idx="869">
                  <c:v>41410</c:v>
                </c:pt>
                <c:pt idx="870">
                  <c:v>41411</c:v>
                </c:pt>
                <c:pt idx="871">
                  <c:v>41414</c:v>
                </c:pt>
                <c:pt idx="872">
                  <c:v>41415</c:v>
                </c:pt>
                <c:pt idx="873">
                  <c:v>41416</c:v>
                </c:pt>
                <c:pt idx="874">
                  <c:v>41417</c:v>
                </c:pt>
                <c:pt idx="875">
                  <c:v>41418</c:v>
                </c:pt>
                <c:pt idx="876">
                  <c:v>41421</c:v>
                </c:pt>
                <c:pt idx="877">
                  <c:v>41422</c:v>
                </c:pt>
                <c:pt idx="878">
                  <c:v>41423</c:v>
                </c:pt>
                <c:pt idx="879">
                  <c:v>41424</c:v>
                </c:pt>
                <c:pt idx="880">
                  <c:v>41425</c:v>
                </c:pt>
                <c:pt idx="881">
                  <c:v>41428</c:v>
                </c:pt>
                <c:pt idx="882">
                  <c:v>41429</c:v>
                </c:pt>
                <c:pt idx="883">
                  <c:v>41430</c:v>
                </c:pt>
                <c:pt idx="884">
                  <c:v>41431</c:v>
                </c:pt>
                <c:pt idx="885">
                  <c:v>41432</c:v>
                </c:pt>
                <c:pt idx="886">
                  <c:v>41435</c:v>
                </c:pt>
                <c:pt idx="887">
                  <c:v>41436</c:v>
                </c:pt>
                <c:pt idx="888">
                  <c:v>41437</c:v>
                </c:pt>
                <c:pt idx="889">
                  <c:v>41438</c:v>
                </c:pt>
                <c:pt idx="890">
                  <c:v>41439</c:v>
                </c:pt>
                <c:pt idx="891">
                  <c:v>41442</c:v>
                </c:pt>
                <c:pt idx="892">
                  <c:v>41443</c:v>
                </c:pt>
                <c:pt idx="893">
                  <c:v>41444</c:v>
                </c:pt>
                <c:pt idx="894">
                  <c:v>41445</c:v>
                </c:pt>
                <c:pt idx="895">
                  <c:v>41446</c:v>
                </c:pt>
                <c:pt idx="896">
                  <c:v>41449</c:v>
                </c:pt>
                <c:pt idx="897">
                  <c:v>41450</c:v>
                </c:pt>
                <c:pt idx="898">
                  <c:v>41451</c:v>
                </c:pt>
                <c:pt idx="899">
                  <c:v>41452</c:v>
                </c:pt>
                <c:pt idx="900">
                  <c:v>41453</c:v>
                </c:pt>
                <c:pt idx="901">
                  <c:v>41456</c:v>
                </c:pt>
                <c:pt idx="902">
                  <c:v>41457</c:v>
                </c:pt>
                <c:pt idx="903">
                  <c:v>41458</c:v>
                </c:pt>
                <c:pt idx="904">
                  <c:v>41459</c:v>
                </c:pt>
                <c:pt idx="905">
                  <c:v>41460</c:v>
                </c:pt>
                <c:pt idx="906">
                  <c:v>41463</c:v>
                </c:pt>
                <c:pt idx="907">
                  <c:v>41464</c:v>
                </c:pt>
                <c:pt idx="908">
                  <c:v>41465</c:v>
                </c:pt>
                <c:pt idx="909">
                  <c:v>41466</c:v>
                </c:pt>
                <c:pt idx="910">
                  <c:v>41467</c:v>
                </c:pt>
                <c:pt idx="911">
                  <c:v>41470</c:v>
                </c:pt>
                <c:pt idx="912">
                  <c:v>41471</c:v>
                </c:pt>
                <c:pt idx="913">
                  <c:v>41472</c:v>
                </c:pt>
                <c:pt idx="914">
                  <c:v>41473</c:v>
                </c:pt>
                <c:pt idx="915">
                  <c:v>41474</c:v>
                </c:pt>
                <c:pt idx="916">
                  <c:v>41477</c:v>
                </c:pt>
                <c:pt idx="917">
                  <c:v>41478</c:v>
                </c:pt>
                <c:pt idx="918">
                  <c:v>41479</c:v>
                </c:pt>
                <c:pt idx="919">
                  <c:v>41480</c:v>
                </c:pt>
                <c:pt idx="920">
                  <c:v>41481</c:v>
                </c:pt>
                <c:pt idx="921">
                  <c:v>41484</c:v>
                </c:pt>
                <c:pt idx="922">
                  <c:v>41485</c:v>
                </c:pt>
                <c:pt idx="923">
                  <c:v>41486</c:v>
                </c:pt>
                <c:pt idx="924">
                  <c:v>41487</c:v>
                </c:pt>
                <c:pt idx="925">
                  <c:v>41488</c:v>
                </c:pt>
                <c:pt idx="926">
                  <c:v>41491</c:v>
                </c:pt>
                <c:pt idx="927">
                  <c:v>41492</c:v>
                </c:pt>
                <c:pt idx="928">
                  <c:v>41493</c:v>
                </c:pt>
                <c:pt idx="929">
                  <c:v>41494</c:v>
                </c:pt>
                <c:pt idx="930">
                  <c:v>41495</c:v>
                </c:pt>
                <c:pt idx="931">
                  <c:v>41498</c:v>
                </c:pt>
                <c:pt idx="932">
                  <c:v>41499</c:v>
                </c:pt>
                <c:pt idx="933">
                  <c:v>41500</c:v>
                </c:pt>
                <c:pt idx="934">
                  <c:v>41501</c:v>
                </c:pt>
                <c:pt idx="935">
                  <c:v>41502</c:v>
                </c:pt>
                <c:pt idx="936">
                  <c:v>41505</c:v>
                </c:pt>
                <c:pt idx="937">
                  <c:v>41506</c:v>
                </c:pt>
                <c:pt idx="938">
                  <c:v>41507</c:v>
                </c:pt>
                <c:pt idx="939">
                  <c:v>41508</c:v>
                </c:pt>
                <c:pt idx="940">
                  <c:v>41509</c:v>
                </c:pt>
                <c:pt idx="941">
                  <c:v>41512</c:v>
                </c:pt>
                <c:pt idx="942">
                  <c:v>41513</c:v>
                </c:pt>
                <c:pt idx="943">
                  <c:v>41514</c:v>
                </c:pt>
                <c:pt idx="944">
                  <c:v>41515</c:v>
                </c:pt>
                <c:pt idx="945">
                  <c:v>41516</c:v>
                </c:pt>
                <c:pt idx="946">
                  <c:v>41519</c:v>
                </c:pt>
                <c:pt idx="947">
                  <c:v>41520</c:v>
                </c:pt>
                <c:pt idx="948">
                  <c:v>41521</c:v>
                </c:pt>
                <c:pt idx="949">
                  <c:v>41522</c:v>
                </c:pt>
                <c:pt idx="950">
                  <c:v>41523</c:v>
                </c:pt>
                <c:pt idx="951">
                  <c:v>41526</c:v>
                </c:pt>
                <c:pt idx="952">
                  <c:v>41527</c:v>
                </c:pt>
                <c:pt idx="953">
                  <c:v>41528</c:v>
                </c:pt>
                <c:pt idx="954">
                  <c:v>41529</c:v>
                </c:pt>
                <c:pt idx="955">
                  <c:v>41530</c:v>
                </c:pt>
                <c:pt idx="956">
                  <c:v>41533</c:v>
                </c:pt>
                <c:pt idx="957">
                  <c:v>41534</c:v>
                </c:pt>
                <c:pt idx="958">
                  <c:v>41535</c:v>
                </c:pt>
                <c:pt idx="959">
                  <c:v>41536</c:v>
                </c:pt>
                <c:pt idx="960">
                  <c:v>41537</c:v>
                </c:pt>
                <c:pt idx="961">
                  <c:v>41540</c:v>
                </c:pt>
                <c:pt idx="962">
                  <c:v>41541</c:v>
                </c:pt>
                <c:pt idx="963">
                  <c:v>41542</c:v>
                </c:pt>
                <c:pt idx="964">
                  <c:v>41543</c:v>
                </c:pt>
                <c:pt idx="965">
                  <c:v>41544</c:v>
                </c:pt>
                <c:pt idx="966">
                  <c:v>41547</c:v>
                </c:pt>
                <c:pt idx="967">
                  <c:v>41548</c:v>
                </c:pt>
                <c:pt idx="968">
                  <c:v>41549</c:v>
                </c:pt>
                <c:pt idx="969">
                  <c:v>41550</c:v>
                </c:pt>
                <c:pt idx="970">
                  <c:v>41551</c:v>
                </c:pt>
                <c:pt idx="971">
                  <c:v>41554</c:v>
                </c:pt>
                <c:pt idx="972">
                  <c:v>41555</c:v>
                </c:pt>
                <c:pt idx="973">
                  <c:v>41556</c:v>
                </c:pt>
                <c:pt idx="974">
                  <c:v>41557</c:v>
                </c:pt>
                <c:pt idx="975">
                  <c:v>41558</c:v>
                </c:pt>
                <c:pt idx="976">
                  <c:v>41561</c:v>
                </c:pt>
                <c:pt idx="977">
                  <c:v>41562</c:v>
                </c:pt>
                <c:pt idx="978">
                  <c:v>41563</c:v>
                </c:pt>
                <c:pt idx="979">
                  <c:v>41564</c:v>
                </c:pt>
                <c:pt idx="980">
                  <c:v>41565</c:v>
                </c:pt>
                <c:pt idx="981">
                  <c:v>41568</c:v>
                </c:pt>
                <c:pt idx="982">
                  <c:v>41569</c:v>
                </c:pt>
                <c:pt idx="983">
                  <c:v>41570</c:v>
                </c:pt>
                <c:pt idx="984">
                  <c:v>41571</c:v>
                </c:pt>
                <c:pt idx="985">
                  <c:v>41572</c:v>
                </c:pt>
                <c:pt idx="986">
                  <c:v>41575</c:v>
                </c:pt>
                <c:pt idx="987">
                  <c:v>41576</c:v>
                </c:pt>
                <c:pt idx="988">
                  <c:v>41577</c:v>
                </c:pt>
                <c:pt idx="989">
                  <c:v>41578</c:v>
                </c:pt>
                <c:pt idx="990">
                  <c:v>41579</c:v>
                </c:pt>
                <c:pt idx="991">
                  <c:v>41582</c:v>
                </c:pt>
                <c:pt idx="992">
                  <c:v>41583</c:v>
                </c:pt>
                <c:pt idx="993">
                  <c:v>41584</c:v>
                </c:pt>
                <c:pt idx="994">
                  <c:v>41585</c:v>
                </c:pt>
                <c:pt idx="995">
                  <c:v>41586</c:v>
                </c:pt>
                <c:pt idx="996">
                  <c:v>41589</c:v>
                </c:pt>
                <c:pt idx="997">
                  <c:v>41590</c:v>
                </c:pt>
                <c:pt idx="998">
                  <c:v>41591</c:v>
                </c:pt>
                <c:pt idx="999">
                  <c:v>41592</c:v>
                </c:pt>
                <c:pt idx="1000">
                  <c:v>41593</c:v>
                </c:pt>
                <c:pt idx="1001">
                  <c:v>41596</c:v>
                </c:pt>
                <c:pt idx="1002">
                  <c:v>41597</c:v>
                </c:pt>
                <c:pt idx="1003">
                  <c:v>41598</c:v>
                </c:pt>
                <c:pt idx="1004">
                  <c:v>41599</c:v>
                </c:pt>
                <c:pt idx="1005">
                  <c:v>41600</c:v>
                </c:pt>
                <c:pt idx="1006">
                  <c:v>41603</c:v>
                </c:pt>
                <c:pt idx="1007">
                  <c:v>41604</c:v>
                </c:pt>
                <c:pt idx="1008">
                  <c:v>41605</c:v>
                </c:pt>
                <c:pt idx="1009">
                  <c:v>41606</c:v>
                </c:pt>
                <c:pt idx="1010">
                  <c:v>41607</c:v>
                </c:pt>
                <c:pt idx="1011">
                  <c:v>41610</c:v>
                </c:pt>
                <c:pt idx="1012">
                  <c:v>41611</c:v>
                </c:pt>
                <c:pt idx="1013">
                  <c:v>41612</c:v>
                </c:pt>
                <c:pt idx="1014">
                  <c:v>41613</c:v>
                </c:pt>
                <c:pt idx="1015">
                  <c:v>41614</c:v>
                </c:pt>
                <c:pt idx="1016">
                  <c:v>41617</c:v>
                </c:pt>
                <c:pt idx="1017">
                  <c:v>41618</c:v>
                </c:pt>
                <c:pt idx="1018">
                  <c:v>41619</c:v>
                </c:pt>
                <c:pt idx="1019">
                  <c:v>41620</c:v>
                </c:pt>
                <c:pt idx="1020">
                  <c:v>41621</c:v>
                </c:pt>
                <c:pt idx="1021">
                  <c:v>41624</c:v>
                </c:pt>
                <c:pt idx="1022">
                  <c:v>41625</c:v>
                </c:pt>
                <c:pt idx="1023">
                  <c:v>41626</c:v>
                </c:pt>
                <c:pt idx="1024">
                  <c:v>41627</c:v>
                </c:pt>
                <c:pt idx="1025">
                  <c:v>41628</c:v>
                </c:pt>
                <c:pt idx="1026">
                  <c:v>41631</c:v>
                </c:pt>
                <c:pt idx="1027">
                  <c:v>41632</c:v>
                </c:pt>
                <c:pt idx="1028">
                  <c:v>41635</c:v>
                </c:pt>
                <c:pt idx="1029">
                  <c:v>41638</c:v>
                </c:pt>
                <c:pt idx="1030">
                  <c:v>41639</c:v>
                </c:pt>
                <c:pt idx="1031">
                  <c:v>41641</c:v>
                </c:pt>
                <c:pt idx="1032">
                  <c:v>41642</c:v>
                </c:pt>
                <c:pt idx="1033">
                  <c:v>41645</c:v>
                </c:pt>
                <c:pt idx="1034">
                  <c:v>41646</c:v>
                </c:pt>
                <c:pt idx="1035">
                  <c:v>41647</c:v>
                </c:pt>
                <c:pt idx="1036">
                  <c:v>41648</c:v>
                </c:pt>
                <c:pt idx="1037">
                  <c:v>41649</c:v>
                </c:pt>
                <c:pt idx="1038">
                  <c:v>41652</c:v>
                </c:pt>
                <c:pt idx="1039">
                  <c:v>41653</c:v>
                </c:pt>
                <c:pt idx="1040">
                  <c:v>41654</c:v>
                </c:pt>
                <c:pt idx="1041">
                  <c:v>41655</c:v>
                </c:pt>
                <c:pt idx="1042">
                  <c:v>41656</c:v>
                </c:pt>
                <c:pt idx="1043">
                  <c:v>41659</c:v>
                </c:pt>
                <c:pt idx="1044">
                  <c:v>41660</c:v>
                </c:pt>
                <c:pt idx="1045">
                  <c:v>41661</c:v>
                </c:pt>
                <c:pt idx="1046">
                  <c:v>41662</c:v>
                </c:pt>
                <c:pt idx="1047">
                  <c:v>41663</c:v>
                </c:pt>
                <c:pt idx="1048">
                  <c:v>41666</c:v>
                </c:pt>
                <c:pt idx="1049">
                  <c:v>41667</c:v>
                </c:pt>
                <c:pt idx="1050">
                  <c:v>41668</c:v>
                </c:pt>
                <c:pt idx="1051">
                  <c:v>41669</c:v>
                </c:pt>
                <c:pt idx="1052">
                  <c:v>41670</c:v>
                </c:pt>
                <c:pt idx="1053">
                  <c:v>41673</c:v>
                </c:pt>
                <c:pt idx="1054">
                  <c:v>41674</c:v>
                </c:pt>
                <c:pt idx="1055">
                  <c:v>41675</c:v>
                </c:pt>
                <c:pt idx="1056">
                  <c:v>41676</c:v>
                </c:pt>
                <c:pt idx="1057">
                  <c:v>41677</c:v>
                </c:pt>
                <c:pt idx="1058">
                  <c:v>41680</c:v>
                </c:pt>
                <c:pt idx="1059">
                  <c:v>41681</c:v>
                </c:pt>
                <c:pt idx="1060">
                  <c:v>41682</c:v>
                </c:pt>
                <c:pt idx="1061">
                  <c:v>41683</c:v>
                </c:pt>
                <c:pt idx="1062">
                  <c:v>41684</c:v>
                </c:pt>
                <c:pt idx="1063">
                  <c:v>41687</c:v>
                </c:pt>
                <c:pt idx="1064">
                  <c:v>41688</c:v>
                </c:pt>
                <c:pt idx="1065">
                  <c:v>41689</c:v>
                </c:pt>
                <c:pt idx="1066">
                  <c:v>41690</c:v>
                </c:pt>
                <c:pt idx="1067">
                  <c:v>41691</c:v>
                </c:pt>
                <c:pt idx="1068">
                  <c:v>41694</c:v>
                </c:pt>
                <c:pt idx="1069">
                  <c:v>41695</c:v>
                </c:pt>
                <c:pt idx="1070">
                  <c:v>41696</c:v>
                </c:pt>
                <c:pt idx="1071">
                  <c:v>41697</c:v>
                </c:pt>
                <c:pt idx="1072">
                  <c:v>41698</c:v>
                </c:pt>
                <c:pt idx="1073">
                  <c:v>41701</c:v>
                </c:pt>
                <c:pt idx="1074">
                  <c:v>41702</c:v>
                </c:pt>
                <c:pt idx="1075">
                  <c:v>41703</c:v>
                </c:pt>
                <c:pt idx="1076">
                  <c:v>41704</c:v>
                </c:pt>
                <c:pt idx="1077">
                  <c:v>41705</c:v>
                </c:pt>
                <c:pt idx="1078">
                  <c:v>41708</c:v>
                </c:pt>
                <c:pt idx="1079">
                  <c:v>41709</c:v>
                </c:pt>
                <c:pt idx="1080">
                  <c:v>41710</c:v>
                </c:pt>
                <c:pt idx="1081">
                  <c:v>41711</c:v>
                </c:pt>
                <c:pt idx="1082">
                  <c:v>41712</c:v>
                </c:pt>
                <c:pt idx="1083">
                  <c:v>41715</c:v>
                </c:pt>
                <c:pt idx="1084">
                  <c:v>41716</c:v>
                </c:pt>
                <c:pt idx="1085">
                  <c:v>41717</c:v>
                </c:pt>
                <c:pt idx="1086">
                  <c:v>41718</c:v>
                </c:pt>
                <c:pt idx="1087">
                  <c:v>41719</c:v>
                </c:pt>
                <c:pt idx="1088">
                  <c:v>41722</c:v>
                </c:pt>
                <c:pt idx="1089">
                  <c:v>41723</c:v>
                </c:pt>
                <c:pt idx="1090">
                  <c:v>41724</c:v>
                </c:pt>
                <c:pt idx="1091">
                  <c:v>41725</c:v>
                </c:pt>
                <c:pt idx="1092">
                  <c:v>41726</c:v>
                </c:pt>
                <c:pt idx="1093">
                  <c:v>41729</c:v>
                </c:pt>
                <c:pt idx="1094">
                  <c:v>41730</c:v>
                </c:pt>
                <c:pt idx="1095">
                  <c:v>41731</c:v>
                </c:pt>
                <c:pt idx="1096">
                  <c:v>41732</c:v>
                </c:pt>
                <c:pt idx="1097">
                  <c:v>41733</c:v>
                </c:pt>
                <c:pt idx="1098">
                  <c:v>41736</c:v>
                </c:pt>
                <c:pt idx="1099">
                  <c:v>41737</c:v>
                </c:pt>
                <c:pt idx="1100">
                  <c:v>41738</c:v>
                </c:pt>
                <c:pt idx="1101">
                  <c:v>41739</c:v>
                </c:pt>
                <c:pt idx="1102">
                  <c:v>41740</c:v>
                </c:pt>
                <c:pt idx="1103">
                  <c:v>41743</c:v>
                </c:pt>
                <c:pt idx="1104">
                  <c:v>41744</c:v>
                </c:pt>
                <c:pt idx="1105">
                  <c:v>41745</c:v>
                </c:pt>
                <c:pt idx="1106">
                  <c:v>41746</c:v>
                </c:pt>
                <c:pt idx="1107">
                  <c:v>41751</c:v>
                </c:pt>
                <c:pt idx="1108">
                  <c:v>41752</c:v>
                </c:pt>
                <c:pt idx="1109">
                  <c:v>41753</c:v>
                </c:pt>
                <c:pt idx="1110">
                  <c:v>41754</c:v>
                </c:pt>
                <c:pt idx="1111">
                  <c:v>41757</c:v>
                </c:pt>
                <c:pt idx="1112">
                  <c:v>41758</c:v>
                </c:pt>
                <c:pt idx="1113">
                  <c:v>41759</c:v>
                </c:pt>
                <c:pt idx="1114">
                  <c:v>41760</c:v>
                </c:pt>
                <c:pt idx="1115">
                  <c:v>41761</c:v>
                </c:pt>
                <c:pt idx="1116">
                  <c:v>41764</c:v>
                </c:pt>
                <c:pt idx="1117">
                  <c:v>41765</c:v>
                </c:pt>
                <c:pt idx="1118">
                  <c:v>41766</c:v>
                </c:pt>
                <c:pt idx="1119">
                  <c:v>41767</c:v>
                </c:pt>
                <c:pt idx="1120">
                  <c:v>41768</c:v>
                </c:pt>
                <c:pt idx="1121">
                  <c:v>41771</c:v>
                </c:pt>
                <c:pt idx="1122">
                  <c:v>41772</c:v>
                </c:pt>
                <c:pt idx="1123">
                  <c:v>41773</c:v>
                </c:pt>
                <c:pt idx="1124">
                  <c:v>41774</c:v>
                </c:pt>
                <c:pt idx="1125">
                  <c:v>41775</c:v>
                </c:pt>
                <c:pt idx="1126">
                  <c:v>41778</c:v>
                </c:pt>
                <c:pt idx="1127">
                  <c:v>41779</c:v>
                </c:pt>
                <c:pt idx="1128">
                  <c:v>41780</c:v>
                </c:pt>
                <c:pt idx="1129">
                  <c:v>41781</c:v>
                </c:pt>
                <c:pt idx="1130">
                  <c:v>41782</c:v>
                </c:pt>
                <c:pt idx="1131">
                  <c:v>41785</c:v>
                </c:pt>
                <c:pt idx="1132">
                  <c:v>41786</c:v>
                </c:pt>
                <c:pt idx="1133">
                  <c:v>41787</c:v>
                </c:pt>
                <c:pt idx="1134">
                  <c:v>41788</c:v>
                </c:pt>
                <c:pt idx="1135">
                  <c:v>41789</c:v>
                </c:pt>
                <c:pt idx="1136">
                  <c:v>41792</c:v>
                </c:pt>
                <c:pt idx="1137">
                  <c:v>41793</c:v>
                </c:pt>
                <c:pt idx="1138">
                  <c:v>41794</c:v>
                </c:pt>
                <c:pt idx="1139">
                  <c:v>41795</c:v>
                </c:pt>
                <c:pt idx="1140">
                  <c:v>41796</c:v>
                </c:pt>
                <c:pt idx="1141">
                  <c:v>41799</c:v>
                </c:pt>
                <c:pt idx="1142">
                  <c:v>41800</c:v>
                </c:pt>
                <c:pt idx="1143">
                  <c:v>41801</c:v>
                </c:pt>
                <c:pt idx="1144">
                  <c:v>41802</c:v>
                </c:pt>
                <c:pt idx="1145">
                  <c:v>41803</c:v>
                </c:pt>
                <c:pt idx="1146">
                  <c:v>41806</c:v>
                </c:pt>
                <c:pt idx="1147">
                  <c:v>41807</c:v>
                </c:pt>
                <c:pt idx="1148">
                  <c:v>41808</c:v>
                </c:pt>
                <c:pt idx="1149">
                  <c:v>41809</c:v>
                </c:pt>
                <c:pt idx="1150">
                  <c:v>41810</c:v>
                </c:pt>
                <c:pt idx="1151">
                  <c:v>41813</c:v>
                </c:pt>
                <c:pt idx="1152">
                  <c:v>41814</c:v>
                </c:pt>
                <c:pt idx="1153">
                  <c:v>41815</c:v>
                </c:pt>
                <c:pt idx="1154">
                  <c:v>41816</c:v>
                </c:pt>
                <c:pt idx="1155">
                  <c:v>41817</c:v>
                </c:pt>
                <c:pt idx="1156">
                  <c:v>41820</c:v>
                </c:pt>
                <c:pt idx="1157">
                  <c:v>41821</c:v>
                </c:pt>
                <c:pt idx="1158">
                  <c:v>41822</c:v>
                </c:pt>
                <c:pt idx="1159">
                  <c:v>41823</c:v>
                </c:pt>
                <c:pt idx="1160">
                  <c:v>41824</c:v>
                </c:pt>
                <c:pt idx="1161">
                  <c:v>41827</c:v>
                </c:pt>
                <c:pt idx="1162">
                  <c:v>41828</c:v>
                </c:pt>
                <c:pt idx="1163">
                  <c:v>41829</c:v>
                </c:pt>
                <c:pt idx="1164">
                  <c:v>41830</c:v>
                </c:pt>
                <c:pt idx="1165">
                  <c:v>41831</c:v>
                </c:pt>
                <c:pt idx="1166">
                  <c:v>41834</c:v>
                </c:pt>
                <c:pt idx="1167">
                  <c:v>41835</c:v>
                </c:pt>
                <c:pt idx="1168">
                  <c:v>41836</c:v>
                </c:pt>
                <c:pt idx="1169">
                  <c:v>41837</c:v>
                </c:pt>
                <c:pt idx="1170">
                  <c:v>41838</c:v>
                </c:pt>
                <c:pt idx="1171">
                  <c:v>41841</c:v>
                </c:pt>
                <c:pt idx="1172">
                  <c:v>41842</c:v>
                </c:pt>
                <c:pt idx="1173">
                  <c:v>41843</c:v>
                </c:pt>
                <c:pt idx="1174">
                  <c:v>41844</c:v>
                </c:pt>
                <c:pt idx="1175">
                  <c:v>41845</c:v>
                </c:pt>
                <c:pt idx="1176">
                  <c:v>41848</c:v>
                </c:pt>
                <c:pt idx="1177">
                  <c:v>41849</c:v>
                </c:pt>
                <c:pt idx="1178">
                  <c:v>41850</c:v>
                </c:pt>
                <c:pt idx="1179">
                  <c:v>41851</c:v>
                </c:pt>
                <c:pt idx="1180">
                  <c:v>41852</c:v>
                </c:pt>
                <c:pt idx="1181">
                  <c:v>41855</c:v>
                </c:pt>
                <c:pt idx="1182">
                  <c:v>41856</c:v>
                </c:pt>
                <c:pt idx="1183">
                  <c:v>41857</c:v>
                </c:pt>
                <c:pt idx="1184">
                  <c:v>41858</c:v>
                </c:pt>
                <c:pt idx="1185">
                  <c:v>41859</c:v>
                </c:pt>
                <c:pt idx="1186">
                  <c:v>41862</c:v>
                </c:pt>
                <c:pt idx="1187">
                  <c:v>41863</c:v>
                </c:pt>
                <c:pt idx="1188">
                  <c:v>41864</c:v>
                </c:pt>
                <c:pt idx="1189">
                  <c:v>41865</c:v>
                </c:pt>
                <c:pt idx="1190">
                  <c:v>41866</c:v>
                </c:pt>
                <c:pt idx="1191">
                  <c:v>41869</c:v>
                </c:pt>
                <c:pt idx="1192">
                  <c:v>41870</c:v>
                </c:pt>
                <c:pt idx="1193">
                  <c:v>41871</c:v>
                </c:pt>
                <c:pt idx="1194">
                  <c:v>41872</c:v>
                </c:pt>
                <c:pt idx="1195">
                  <c:v>41873</c:v>
                </c:pt>
                <c:pt idx="1196">
                  <c:v>41876</c:v>
                </c:pt>
                <c:pt idx="1197">
                  <c:v>41877</c:v>
                </c:pt>
                <c:pt idx="1198">
                  <c:v>41878</c:v>
                </c:pt>
                <c:pt idx="1199">
                  <c:v>41879</c:v>
                </c:pt>
                <c:pt idx="1200">
                  <c:v>41880</c:v>
                </c:pt>
                <c:pt idx="1201">
                  <c:v>41883</c:v>
                </c:pt>
                <c:pt idx="1202">
                  <c:v>41884</c:v>
                </c:pt>
                <c:pt idx="1203">
                  <c:v>41885</c:v>
                </c:pt>
                <c:pt idx="1204">
                  <c:v>41886</c:v>
                </c:pt>
                <c:pt idx="1205">
                  <c:v>41887</c:v>
                </c:pt>
                <c:pt idx="1206">
                  <c:v>41890</c:v>
                </c:pt>
                <c:pt idx="1207">
                  <c:v>41891</c:v>
                </c:pt>
                <c:pt idx="1208">
                  <c:v>41892</c:v>
                </c:pt>
                <c:pt idx="1209">
                  <c:v>41893</c:v>
                </c:pt>
                <c:pt idx="1210">
                  <c:v>41894</c:v>
                </c:pt>
                <c:pt idx="1211">
                  <c:v>41897</c:v>
                </c:pt>
                <c:pt idx="1212">
                  <c:v>41898</c:v>
                </c:pt>
                <c:pt idx="1213">
                  <c:v>41899</c:v>
                </c:pt>
                <c:pt idx="1214">
                  <c:v>41900</c:v>
                </c:pt>
                <c:pt idx="1215">
                  <c:v>41901</c:v>
                </c:pt>
                <c:pt idx="1216">
                  <c:v>41904</c:v>
                </c:pt>
                <c:pt idx="1217">
                  <c:v>41905</c:v>
                </c:pt>
                <c:pt idx="1218">
                  <c:v>41906</c:v>
                </c:pt>
                <c:pt idx="1219">
                  <c:v>41907</c:v>
                </c:pt>
                <c:pt idx="1220">
                  <c:v>41908</c:v>
                </c:pt>
                <c:pt idx="1221">
                  <c:v>41911</c:v>
                </c:pt>
                <c:pt idx="1222">
                  <c:v>41912</c:v>
                </c:pt>
                <c:pt idx="1223">
                  <c:v>41913</c:v>
                </c:pt>
                <c:pt idx="1224">
                  <c:v>41914</c:v>
                </c:pt>
                <c:pt idx="1225">
                  <c:v>41915</c:v>
                </c:pt>
                <c:pt idx="1226">
                  <c:v>41918</c:v>
                </c:pt>
                <c:pt idx="1227">
                  <c:v>41919</c:v>
                </c:pt>
                <c:pt idx="1228">
                  <c:v>41920</c:v>
                </c:pt>
                <c:pt idx="1229">
                  <c:v>41921</c:v>
                </c:pt>
                <c:pt idx="1230">
                  <c:v>41922</c:v>
                </c:pt>
                <c:pt idx="1231">
                  <c:v>41925</c:v>
                </c:pt>
                <c:pt idx="1232">
                  <c:v>41926</c:v>
                </c:pt>
                <c:pt idx="1233">
                  <c:v>41927</c:v>
                </c:pt>
                <c:pt idx="1234">
                  <c:v>41928</c:v>
                </c:pt>
                <c:pt idx="1235">
                  <c:v>41929</c:v>
                </c:pt>
                <c:pt idx="1236">
                  <c:v>41932</c:v>
                </c:pt>
                <c:pt idx="1237">
                  <c:v>41933</c:v>
                </c:pt>
                <c:pt idx="1238">
                  <c:v>41934</c:v>
                </c:pt>
                <c:pt idx="1239">
                  <c:v>41935</c:v>
                </c:pt>
                <c:pt idx="1240">
                  <c:v>41936</c:v>
                </c:pt>
                <c:pt idx="1241">
                  <c:v>41939</c:v>
                </c:pt>
                <c:pt idx="1242">
                  <c:v>41940</c:v>
                </c:pt>
                <c:pt idx="1243">
                  <c:v>41941</c:v>
                </c:pt>
                <c:pt idx="1244">
                  <c:v>41942</c:v>
                </c:pt>
                <c:pt idx="1245">
                  <c:v>41943</c:v>
                </c:pt>
              </c:numCache>
            </c:numRef>
          </c:cat>
          <c:val>
            <c:numRef>
              <c:f>Sheet1!$C$2:$C$1247</c:f>
              <c:numCache>
                <c:formatCode>General</c:formatCode>
                <c:ptCount val="1246"/>
                <c:pt idx="0">
                  <c:v>100</c:v>
                </c:pt>
                <c:pt idx="1">
                  <c:v>101.14541137030311</c:v>
                </c:pt>
                <c:pt idx="2">
                  <c:v>101.62383014387484</c:v>
                </c:pt>
                <c:pt idx="3">
                  <c:v>101.89970666294175</c:v>
                </c:pt>
                <c:pt idx="4">
                  <c:v>102.2663779857522</c:v>
                </c:pt>
                <c:pt idx="5">
                  <c:v>102.74130465148762</c:v>
                </c:pt>
                <c:pt idx="6">
                  <c:v>101.9485961726498</c:v>
                </c:pt>
                <c:pt idx="7">
                  <c:v>101.36890627182567</c:v>
                </c:pt>
                <c:pt idx="8">
                  <c:v>101.74605391814499</c:v>
                </c:pt>
                <c:pt idx="9">
                  <c:v>102.54225450481911</c:v>
                </c:pt>
                <c:pt idx="10">
                  <c:v>102.26987009358849</c:v>
                </c:pt>
                <c:pt idx="11">
                  <c:v>102.35018857382315</c:v>
                </c:pt>
                <c:pt idx="12">
                  <c:v>103.49210783628999</c:v>
                </c:pt>
                <c:pt idx="13">
                  <c:v>103.08353121944404</c:v>
                </c:pt>
                <c:pt idx="14">
                  <c:v>102.01145411370302</c:v>
                </c:pt>
                <c:pt idx="15">
                  <c:v>100.02793686269031</c:v>
                </c:pt>
                <c:pt idx="16">
                  <c:v>99.752060343623398</c:v>
                </c:pt>
                <c:pt idx="17">
                  <c:v>99.926665735437908</c:v>
                </c:pt>
                <c:pt idx="18">
                  <c:v>99.748568235787118</c:v>
                </c:pt>
                <c:pt idx="19">
                  <c:v>99.315546864087139</c:v>
                </c:pt>
                <c:pt idx="20">
                  <c:v>98.945383433440412</c:v>
                </c:pt>
                <c:pt idx="21">
                  <c:v>99.807934069004048</c:v>
                </c:pt>
                <c:pt idx="22">
                  <c:v>100.80318480234669</c:v>
                </c:pt>
                <c:pt idx="23">
                  <c:v>100.61111887135074</c:v>
                </c:pt>
                <c:pt idx="24">
                  <c:v>98.721888531917855</c:v>
                </c:pt>
                <c:pt idx="25">
                  <c:v>98.442519905014663</c:v>
                </c:pt>
                <c:pt idx="26">
                  <c:v>97.974577454951799</c:v>
                </c:pt>
                <c:pt idx="27">
                  <c:v>98.473948875541268</c:v>
                </c:pt>
                <c:pt idx="28">
                  <c:v>98.81268333566139</c:v>
                </c:pt>
                <c:pt idx="29">
                  <c:v>100.08730269590724</c:v>
                </c:pt>
                <c:pt idx="30">
                  <c:v>99.979047352982263</c:v>
                </c:pt>
                <c:pt idx="31">
                  <c:v>100.08381058807096</c:v>
                </c:pt>
                <c:pt idx="32">
                  <c:v>100.85207431205477</c:v>
                </c:pt>
                <c:pt idx="33">
                  <c:v>102.06034362341107</c:v>
                </c:pt>
                <c:pt idx="34">
                  <c:v>102.7203520044699</c:v>
                </c:pt>
                <c:pt idx="35">
                  <c:v>103.1009917586255</c:v>
                </c:pt>
                <c:pt idx="36">
                  <c:v>103.05210224891745</c:v>
                </c:pt>
                <c:pt idx="37">
                  <c:v>102.23145690738929</c:v>
                </c:pt>
                <c:pt idx="38">
                  <c:v>102.35368068165944</c:v>
                </c:pt>
                <c:pt idx="39">
                  <c:v>102.1616147506635</c:v>
                </c:pt>
                <c:pt idx="40">
                  <c:v>102.0882804861014</c:v>
                </c:pt>
                <c:pt idx="41">
                  <c:v>104.02640033524236</c:v>
                </c:pt>
                <c:pt idx="42">
                  <c:v>104.22195837407457</c:v>
                </c:pt>
                <c:pt idx="43">
                  <c:v>103.97751082553428</c:v>
                </c:pt>
                <c:pt idx="44">
                  <c:v>104.43497695208828</c:v>
                </c:pt>
                <c:pt idx="45">
                  <c:v>105.7549937142059</c:v>
                </c:pt>
                <c:pt idx="46">
                  <c:v>105.83182008660428</c:v>
                </c:pt>
                <c:pt idx="47">
                  <c:v>106.33468361503003</c:v>
                </c:pt>
                <c:pt idx="48">
                  <c:v>106.26484145830423</c:v>
                </c:pt>
                <c:pt idx="49">
                  <c:v>106.41500209526471</c:v>
                </c:pt>
                <c:pt idx="50">
                  <c:v>106.20896773292358</c:v>
                </c:pt>
                <c:pt idx="51">
                  <c:v>106.53373376169854</c:v>
                </c:pt>
                <c:pt idx="52">
                  <c:v>106.74675233971224</c:v>
                </c:pt>
                <c:pt idx="53">
                  <c:v>107.70708199469199</c:v>
                </c:pt>
                <c:pt idx="54">
                  <c:v>108.25534292498953</c:v>
                </c:pt>
                <c:pt idx="55">
                  <c:v>108.33216929738792</c:v>
                </c:pt>
                <c:pt idx="56">
                  <c:v>108.54518787540157</c:v>
                </c:pt>
                <c:pt idx="57">
                  <c:v>109.18075150160635</c:v>
                </c:pt>
                <c:pt idx="58">
                  <c:v>109.72552032406759</c:v>
                </c:pt>
                <c:pt idx="59">
                  <c:v>109.90361782371841</c:v>
                </c:pt>
                <c:pt idx="60">
                  <c:v>109.64520184383292</c:v>
                </c:pt>
                <c:pt idx="61">
                  <c:v>109.80933091213856</c:v>
                </c:pt>
                <c:pt idx="62">
                  <c:v>110.25981282301997</c:v>
                </c:pt>
                <c:pt idx="63">
                  <c:v>109.32043581505798</c:v>
                </c:pt>
                <c:pt idx="64">
                  <c:v>110.35759184243608</c:v>
                </c:pt>
                <c:pt idx="65">
                  <c:v>110.41695767565302</c:v>
                </c:pt>
                <c:pt idx="66">
                  <c:v>111.04902919402151</c:v>
                </c:pt>
                <c:pt idx="67">
                  <c:v>112.15253527028915</c:v>
                </c:pt>
                <c:pt idx="68">
                  <c:v>112.11412208408996</c:v>
                </c:pt>
                <c:pt idx="69">
                  <c:v>111.813800810169</c:v>
                </c:pt>
                <c:pt idx="70">
                  <c:v>112.18396424081575</c:v>
                </c:pt>
                <c:pt idx="71">
                  <c:v>111.38776365414165</c:v>
                </c:pt>
                <c:pt idx="72">
                  <c:v>111.43316105601342</c:v>
                </c:pt>
                <c:pt idx="73">
                  <c:v>112.08618522139963</c:v>
                </c:pt>
                <c:pt idx="74">
                  <c:v>112.8334962983657</c:v>
                </c:pt>
                <c:pt idx="75">
                  <c:v>111.57633747730129</c:v>
                </c:pt>
                <c:pt idx="76">
                  <c:v>111.4366531638497</c:v>
                </c:pt>
                <c:pt idx="77">
                  <c:v>112.42841178935605</c:v>
                </c:pt>
                <c:pt idx="78">
                  <c:v>112.76365414163989</c:v>
                </c:pt>
                <c:pt idx="79">
                  <c:v>112.8928621315826</c:v>
                </c:pt>
                <c:pt idx="80">
                  <c:v>113.00810169018018</c:v>
                </c:pt>
                <c:pt idx="81">
                  <c:v>113.67509428691156</c:v>
                </c:pt>
                <c:pt idx="82">
                  <c:v>111.37030311496019</c:v>
                </c:pt>
                <c:pt idx="83">
                  <c:v>111.46808213437629</c:v>
                </c:pt>
                <c:pt idx="84">
                  <c:v>112.42841178935605</c:v>
                </c:pt>
                <c:pt idx="85">
                  <c:v>111.17474507612795</c:v>
                </c:pt>
                <c:pt idx="86">
                  <c:v>112.52269870093589</c:v>
                </c:pt>
                <c:pt idx="87">
                  <c:v>110.90236066489732</c:v>
                </c:pt>
                <c:pt idx="88">
                  <c:v>111.08045816454811</c:v>
                </c:pt>
                <c:pt idx="89">
                  <c:v>109.34837267774829</c:v>
                </c:pt>
                <c:pt idx="90">
                  <c:v>107.36485542673557</c:v>
                </c:pt>
                <c:pt idx="91">
                  <c:v>110.96871071378682</c:v>
                </c:pt>
                <c:pt idx="92">
                  <c:v>111.4366531638497</c:v>
                </c:pt>
                <c:pt idx="93">
                  <c:v>112.87540159240118</c:v>
                </c:pt>
                <c:pt idx="94">
                  <c:v>113.37128090515434</c:v>
                </c:pt>
                <c:pt idx="95">
                  <c:v>111.813800810169</c:v>
                </c:pt>
                <c:pt idx="96">
                  <c:v>111.78586394747869</c:v>
                </c:pt>
                <c:pt idx="97">
                  <c:v>111.09093448805697</c:v>
                </c:pt>
                <c:pt idx="98">
                  <c:v>109.78139404944824</c:v>
                </c:pt>
                <c:pt idx="99">
                  <c:v>106.67691018298646</c:v>
                </c:pt>
                <c:pt idx="100">
                  <c:v>105.72705685151558</c:v>
                </c:pt>
                <c:pt idx="101">
                  <c:v>106.36611258555664</c:v>
                </c:pt>
                <c:pt idx="102">
                  <c:v>105.88420170414861</c:v>
                </c:pt>
                <c:pt idx="103">
                  <c:v>106.61405224193324</c:v>
                </c:pt>
                <c:pt idx="104">
                  <c:v>109.40424640312894</c:v>
                </c:pt>
                <c:pt idx="105">
                  <c:v>108.42994831680402</c:v>
                </c:pt>
                <c:pt idx="106">
                  <c:v>108.93281184522978</c:v>
                </c:pt>
                <c:pt idx="107">
                  <c:v>107.79089258276295</c:v>
                </c:pt>
                <c:pt idx="108">
                  <c:v>109.47758066769102</c:v>
                </c:pt>
                <c:pt idx="109">
                  <c:v>110.68235787121105</c:v>
                </c:pt>
                <c:pt idx="110">
                  <c:v>109.15281463891604</c:v>
                </c:pt>
                <c:pt idx="111">
                  <c:v>108.15057968990081</c:v>
                </c:pt>
                <c:pt idx="112">
                  <c:v>108.41248777762256</c:v>
                </c:pt>
                <c:pt idx="113">
                  <c:v>107.95851375890486</c:v>
                </c:pt>
                <c:pt idx="114">
                  <c:v>110.04679424500627</c:v>
                </c:pt>
                <c:pt idx="115">
                  <c:v>110.72775527308283</c:v>
                </c:pt>
                <c:pt idx="116">
                  <c:v>110.18647855845786</c:v>
                </c:pt>
                <c:pt idx="117">
                  <c:v>111.60078223215532</c:v>
                </c:pt>
                <c:pt idx="118">
                  <c:v>111.81729291800531</c:v>
                </c:pt>
                <c:pt idx="119">
                  <c:v>111.65316384969968</c:v>
                </c:pt>
                <c:pt idx="120">
                  <c:v>111.66014806537225</c:v>
                </c:pt>
                <c:pt idx="121">
                  <c:v>112.27475904455927</c:v>
                </c:pt>
                <c:pt idx="122">
                  <c:v>111.66014806537225</c:v>
                </c:pt>
                <c:pt idx="123">
                  <c:v>111.10490291940216</c:v>
                </c:pt>
                <c:pt idx="124">
                  <c:v>109.11090934488057</c:v>
                </c:pt>
                <c:pt idx="125">
                  <c:v>109.00614610979187</c:v>
                </c:pt>
                <c:pt idx="126">
                  <c:v>108.98170135493783</c:v>
                </c:pt>
                <c:pt idx="127">
                  <c:v>106.88294454532756</c:v>
                </c:pt>
                <c:pt idx="128">
                  <c:v>105.59784886157284</c:v>
                </c:pt>
                <c:pt idx="129">
                  <c:v>103.35242352283838</c:v>
                </c:pt>
                <c:pt idx="130">
                  <c:v>102.21748847604412</c:v>
                </c:pt>
                <c:pt idx="131">
                  <c:v>102.50733342645621</c:v>
                </c:pt>
                <c:pt idx="132">
                  <c:v>103.35591563067467</c:v>
                </c:pt>
                <c:pt idx="133">
                  <c:v>105.42324346975833</c:v>
                </c:pt>
                <c:pt idx="134">
                  <c:v>106.31722307584856</c:v>
                </c:pt>
                <c:pt idx="135">
                  <c:v>107.35437910322672</c:v>
                </c:pt>
                <c:pt idx="136">
                  <c:v>107.76993993574521</c:v>
                </c:pt>
                <c:pt idx="137">
                  <c:v>108.73725380639753</c:v>
                </c:pt>
                <c:pt idx="138">
                  <c:v>108.64296689481772</c:v>
                </c:pt>
                <c:pt idx="139">
                  <c:v>107.23564743679283</c:v>
                </c:pt>
                <c:pt idx="140">
                  <c:v>104.57116915770359</c:v>
                </c:pt>
                <c:pt idx="141">
                  <c:v>104.36513479536249</c:v>
                </c:pt>
                <c:pt idx="142">
                  <c:v>105.40578293057688</c:v>
                </c:pt>
                <c:pt idx="143">
                  <c:v>105.50356194999301</c:v>
                </c:pt>
                <c:pt idx="144">
                  <c:v>106.82357871211062</c:v>
                </c:pt>
                <c:pt idx="145">
                  <c:v>108.29724821902499</c:v>
                </c:pt>
                <c:pt idx="146">
                  <c:v>108.48232993434837</c:v>
                </c:pt>
                <c:pt idx="147">
                  <c:v>108.20296130744518</c:v>
                </c:pt>
                <c:pt idx="148">
                  <c:v>107.86073473948876</c:v>
                </c:pt>
                <c:pt idx="149">
                  <c:v>107.2112026819388</c:v>
                </c:pt>
                <c:pt idx="150">
                  <c:v>107.33691856404526</c:v>
                </c:pt>
                <c:pt idx="151">
                  <c:v>108.63947478698141</c:v>
                </c:pt>
                <c:pt idx="152">
                  <c:v>108.45090096382175</c:v>
                </c:pt>
                <c:pt idx="153">
                  <c:v>109.04805140382734</c:v>
                </c:pt>
                <c:pt idx="154">
                  <c:v>109.03408297248218</c:v>
                </c:pt>
                <c:pt idx="155">
                  <c:v>107.86073473948876</c:v>
                </c:pt>
                <c:pt idx="156">
                  <c:v>108.77915910043301</c:v>
                </c:pt>
                <c:pt idx="157">
                  <c:v>108.86646179634027</c:v>
                </c:pt>
                <c:pt idx="158">
                  <c:v>107.37882385808074</c:v>
                </c:pt>
                <c:pt idx="159">
                  <c:v>107.14834474088559</c:v>
                </c:pt>
                <c:pt idx="160">
                  <c:v>107.61279508311216</c:v>
                </c:pt>
                <c:pt idx="161">
                  <c:v>107.20072635842995</c:v>
                </c:pt>
                <c:pt idx="162">
                  <c:v>108.21343763095403</c:v>
                </c:pt>
                <c:pt idx="163">
                  <c:v>108.44740885598547</c:v>
                </c:pt>
                <c:pt idx="164">
                  <c:v>107.16231317223075</c:v>
                </c:pt>
                <c:pt idx="165">
                  <c:v>107.357871211063</c:v>
                </c:pt>
                <c:pt idx="166">
                  <c:v>107.55692135773151</c:v>
                </c:pt>
                <c:pt idx="167">
                  <c:v>105.97150440005588</c:v>
                </c:pt>
                <c:pt idx="168">
                  <c:v>105.89817013549379</c:v>
                </c:pt>
                <c:pt idx="169">
                  <c:v>105.34990920519624</c:v>
                </c:pt>
                <c:pt idx="170">
                  <c:v>106.66294175164128</c:v>
                </c:pt>
                <c:pt idx="171">
                  <c:v>106.43595474228245</c:v>
                </c:pt>
                <c:pt idx="172">
                  <c:v>105.94007542952926</c:v>
                </c:pt>
                <c:pt idx="173">
                  <c:v>108.00041905294033</c:v>
                </c:pt>
                <c:pt idx="174">
                  <c:v>108.68836429668949</c:v>
                </c:pt>
                <c:pt idx="175">
                  <c:v>109.56837547143454</c:v>
                </c:pt>
                <c:pt idx="176">
                  <c:v>109.93155468640872</c:v>
                </c:pt>
                <c:pt idx="177">
                  <c:v>110.06076267635146</c:v>
                </c:pt>
                <c:pt idx="178">
                  <c:v>110.3540997345998</c:v>
                </c:pt>
                <c:pt idx="179">
                  <c:v>111.223634585836</c:v>
                </c:pt>
                <c:pt idx="180">
                  <c:v>111.55538483028356</c:v>
                </c:pt>
                <c:pt idx="181">
                  <c:v>111.83126134935047</c:v>
                </c:pt>
                <c:pt idx="182">
                  <c:v>111.28300041905294</c:v>
                </c:pt>
                <c:pt idx="183">
                  <c:v>110.92680541975135</c:v>
                </c:pt>
                <c:pt idx="184">
                  <c:v>110.12362061740465</c:v>
                </c:pt>
                <c:pt idx="185">
                  <c:v>110.50426037156026</c:v>
                </c:pt>
                <c:pt idx="186">
                  <c:v>111.62173487917306</c:v>
                </c:pt>
                <c:pt idx="187">
                  <c:v>111.05601340969409</c:v>
                </c:pt>
                <c:pt idx="188">
                  <c:v>108.86646179634027</c:v>
                </c:pt>
                <c:pt idx="189">
                  <c:v>108.84201704148624</c:v>
                </c:pt>
                <c:pt idx="190">
                  <c:v>109.4496438050007</c:v>
                </c:pt>
                <c:pt idx="191">
                  <c:v>109.36932532476602</c:v>
                </c:pt>
                <c:pt idx="192">
                  <c:v>109.12138566838945</c:v>
                </c:pt>
                <c:pt idx="193">
                  <c:v>108.69534851236205</c:v>
                </c:pt>
                <c:pt idx="194">
                  <c:v>107.82232155328954</c:v>
                </c:pt>
                <c:pt idx="195">
                  <c:v>107.53596871071377</c:v>
                </c:pt>
                <c:pt idx="196">
                  <c:v>107.27755273082833</c:v>
                </c:pt>
                <c:pt idx="197">
                  <c:v>108.15057968990081</c:v>
                </c:pt>
                <c:pt idx="198">
                  <c:v>108.38105880709597</c:v>
                </c:pt>
                <c:pt idx="199">
                  <c:v>108.09470596452017</c:v>
                </c:pt>
                <c:pt idx="200">
                  <c:v>108.42994831680402</c:v>
                </c:pt>
                <c:pt idx="201">
                  <c:v>108.80011174745077</c:v>
                </c:pt>
                <c:pt idx="202">
                  <c:v>108.99916189411928</c:v>
                </c:pt>
                <c:pt idx="203">
                  <c:v>109.31694370722167</c:v>
                </c:pt>
                <c:pt idx="204">
                  <c:v>108.75471434557899</c:v>
                </c:pt>
                <c:pt idx="205">
                  <c:v>109.05154351166362</c:v>
                </c:pt>
                <c:pt idx="206">
                  <c:v>109.77091772593937</c:v>
                </c:pt>
                <c:pt idx="207">
                  <c:v>109.51250174605391</c:v>
                </c:pt>
                <c:pt idx="208">
                  <c:v>109.24011733482328</c:v>
                </c:pt>
                <c:pt idx="209">
                  <c:v>109.27503841318619</c:v>
                </c:pt>
                <c:pt idx="210">
                  <c:v>109.68710713786842</c:v>
                </c:pt>
                <c:pt idx="211">
                  <c:v>109.87917306886435</c:v>
                </c:pt>
                <c:pt idx="212">
                  <c:v>110.19695488196675</c:v>
                </c:pt>
                <c:pt idx="213">
                  <c:v>110.00838105880707</c:v>
                </c:pt>
                <c:pt idx="214">
                  <c:v>109.70456767704985</c:v>
                </c:pt>
                <c:pt idx="215">
                  <c:v>109.80583880430228</c:v>
                </c:pt>
                <c:pt idx="216">
                  <c:v>110.0013968431345</c:v>
                </c:pt>
                <c:pt idx="217">
                  <c:v>109.86520463751921</c:v>
                </c:pt>
                <c:pt idx="218">
                  <c:v>109.95599944126275</c:v>
                </c:pt>
                <c:pt idx="219">
                  <c:v>110.92680541975135</c:v>
                </c:pt>
                <c:pt idx="220">
                  <c:v>112.57158821064395</c:v>
                </c:pt>
                <c:pt idx="221">
                  <c:v>113.39223355217207</c:v>
                </c:pt>
                <c:pt idx="222">
                  <c:v>113.10937281743259</c:v>
                </c:pt>
                <c:pt idx="223">
                  <c:v>114.03827350188574</c:v>
                </c:pt>
                <c:pt idx="224">
                  <c:v>114.10811565861152</c:v>
                </c:pt>
                <c:pt idx="225">
                  <c:v>112.77762257298505</c:v>
                </c:pt>
                <c:pt idx="226">
                  <c:v>113.56683894398658</c:v>
                </c:pt>
                <c:pt idx="227">
                  <c:v>111.81729291800531</c:v>
                </c:pt>
                <c:pt idx="228">
                  <c:v>112.12459840759881</c:v>
                </c:pt>
                <c:pt idx="229">
                  <c:v>113.42366252269871</c:v>
                </c:pt>
                <c:pt idx="230">
                  <c:v>113.05699119988826</c:v>
                </c:pt>
                <c:pt idx="231">
                  <c:v>113.16873865064952</c:v>
                </c:pt>
                <c:pt idx="232">
                  <c:v>112.72174884760442</c:v>
                </c:pt>
                <c:pt idx="233">
                  <c:v>114.05922614890346</c:v>
                </c:pt>
                <c:pt idx="234">
                  <c:v>114.41891325604135</c:v>
                </c:pt>
                <c:pt idx="235">
                  <c:v>114.53415281463893</c:v>
                </c:pt>
                <c:pt idx="236">
                  <c:v>114.76463193183403</c:v>
                </c:pt>
                <c:pt idx="237">
                  <c:v>114.6459002654002</c:v>
                </c:pt>
                <c:pt idx="238">
                  <c:v>116.44084369325324</c:v>
                </c:pt>
                <c:pt idx="239">
                  <c:v>117.50593658332168</c:v>
                </c:pt>
                <c:pt idx="240">
                  <c:v>116.57354379103226</c:v>
                </c:pt>
                <c:pt idx="241">
                  <c:v>117.18815477021928</c:v>
                </c:pt>
                <c:pt idx="242">
                  <c:v>117.12878893700238</c:v>
                </c:pt>
                <c:pt idx="243">
                  <c:v>117.99133957256601</c:v>
                </c:pt>
                <c:pt idx="244">
                  <c:v>118.77007962005868</c:v>
                </c:pt>
                <c:pt idx="245">
                  <c:v>118.84341388462074</c:v>
                </c:pt>
                <c:pt idx="246">
                  <c:v>118.21483447408853</c:v>
                </c:pt>
                <c:pt idx="247">
                  <c:v>118.48372677748289</c:v>
                </c:pt>
                <c:pt idx="248">
                  <c:v>118.23927922894258</c:v>
                </c:pt>
                <c:pt idx="249">
                  <c:v>119.42310378544489</c:v>
                </c:pt>
                <c:pt idx="250">
                  <c:v>119.63263025562227</c:v>
                </c:pt>
                <c:pt idx="251">
                  <c:v>120.26470177399078</c:v>
                </c:pt>
                <c:pt idx="252">
                  <c:v>121.07137868417375</c:v>
                </c:pt>
                <c:pt idx="253">
                  <c:v>121.6510685849979</c:v>
                </c:pt>
                <c:pt idx="254">
                  <c:v>121.91297667271965</c:v>
                </c:pt>
                <c:pt idx="255">
                  <c:v>121.50789216371001</c:v>
                </c:pt>
                <c:pt idx="256">
                  <c:v>121.08883922335521</c:v>
                </c:pt>
                <c:pt idx="257">
                  <c:v>121.52186059505516</c:v>
                </c:pt>
                <c:pt idx="258">
                  <c:v>121.83964240815754</c:v>
                </c:pt>
                <c:pt idx="259">
                  <c:v>120.27867020533594</c:v>
                </c:pt>
                <c:pt idx="260">
                  <c:v>119.43008800111747</c:v>
                </c:pt>
                <c:pt idx="261">
                  <c:v>120.61391255761977</c:v>
                </c:pt>
                <c:pt idx="262">
                  <c:v>121.17264981142617</c:v>
                </c:pt>
                <c:pt idx="263">
                  <c:v>122.3494901522559</c:v>
                </c:pt>
                <c:pt idx="264">
                  <c:v>123.26442240536389</c:v>
                </c:pt>
                <c:pt idx="265">
                  <c:v>123.54029892443077</c:v>
                </c:pt>
                <c:pt idx="266">
                  <c:v>123.37267774828887</c:v>
                </c:pt>
                <c:pt idx="267">
                  <c:v>124.06411509987427</c:v>
                </c:pt>
                <c:pt idx="268">
                  <c:v>124.42729431484845</c:v>
                </c:pt>
                <c:pt idx="269">
                  <c:v>122.57996926945103</c:v>
                </c:pt>
                <c:pt idx="270">
                  <c:v>122.64282721050425</c:v>
                </c:pt>
                <c:pt idx="271">
                  <c:v>123.17711970945663</c:v>
                </c:pt>
                <c:pt idx="272">
                  <c:v>123.05140382735019</c:v>
                </c:pt>
                <c:pt idx="273">
                  <c:v>121.49043162452855</c:v>
                </c:pt>
                <c:pt idx="274">
                  <c:v>120.88978907668668</c:v>
                </c:pt>
                <c:pt idx="275">
                  <c:v>120.04120687246822</c:v>
                </c:pt>
                <c:pt idx="276">
                  <c:v>120.08660427433999</c:v>
                </c:pt>
                <c:pt idx="277">
                  <c:v>120.02025422545049</c:v>
                </c:pt>
                <c:pt idx="278">
                  <c:v>120.53010196954881</c:v>
                </c:pt>
                <c:pt idx="279">
                  <c:v>120.43232295013269</c:v>
                </c:pt>
                <c:pt idx="280">
                  <c:v>119.66056711831261</c:v>
                </c:pt>
                <c:pt idx="281">
                  <c:v>119.44405643246263</c:v>
                </c:pt>
                <c:pt idx="282">
                  <c:v>120.68724682218188</c:v>
                </c:pt>
                <c:pt idx="283">
                  <c:v>120.8129627042883</c:v>
                </c:pt>
                <c:pt idx="284">
                  <c:v>122.13297946640591</c:v>
                </c:pt>
                <c:pt idx="285">
                  <c:v>123.0060064254784</c:v>
                </c:pt>
                <c:pt idx="286">
                  <c:v>123.78474647297108</c:v>
                </c:pt>
                <c:pt idx="287">
                  <c:v>123.36220142477998</c:v>
                </c:pt>
                <c:pt idx="288">
                  <c:v>122.61489034781394</c:v>
                </c:pt>
                <c:pt idx="289">
                  <c:v>123.10378544489453</c:v>
                </c:pt>
                <c:pt idx="290">
                  <c:v>123.85808073753317</c:v>
                </c:pt>
                <c:pt idx="291">
                  <c:v>125.09777901941612</c:v>
                </c:pt>
                <c:pt idx="292">
                  <c:v>124.54951808911861</c:v>
                </c:pt>
                <c:pt idx="293">
                  <c:v>125.2060343623411</c:v>
                </c:pt>
                <c:pt idx="294">
                  <c:v>125.35968710713787</c:v>
                </c:pt>
                <c:pt idx="295">
                  <c:v>125.09777901941612</c:v>
                </c:pt>
                <c:pt idx="296">
                  <c:v>124.3749126973041</c:v>
                </c:pt>
                <c:pt idx="297">
                  <c:v>122.34599804441962</c:v>
                </c:pt>
                <c:pt idx="298">
                  <c:v>121.025981282302</c:v>
                </c:pt>
                <c:pt idx="299">
                  <c:v>120.53010196954881</c:v>
                </c:pt>
                <c:pt idx="300">
                  <c:v>122.22028216231318</c:v>
                </c:pt>
                <c:pt idx="301">
                  <c:v>122.64282721050425</c:v>
                </c:pt>
                <c:pt idx="302">
                  <c:v>121.57424221259951</c:v>
                </c:pt>
                <c:pt idx="303">
                  <c:v>120.86883642966895</c:v>
                </c:pt>
                <c:pt idx="304">
                  <c:v>121.5847185361084</c:v>
                </c:pt>
                <c:pt idx="305">
                  <c:v>120.87582064534152</c:v>
                </c:pt>
                <c:pt idx="306">
                  <c:v>119.8386646179634</c:v>
                </c:pt>
                <c:pt idx="307">
                  <c:v>120.99804441961169</c:v>
                </c:pt>
                <c:pt idx="308">
                  <c:v>120.7396284397262</c:v>
                </c:pt>
                <c:pt idx="309">
                  <c:v>119.4510406481352</c:v>
                </c:pt>
                <c:pt idx="310">
                  <c:v>119.2135773152675</c:v>
                </c:pt>
                <c:pt idx="311">
                  <c:v>116.76211761419194</c:v>
                </c:pt>
                <c:pt idx="312">
                  <c:v>114.04176560972201</c:v>
                </c:pt>
                <c:pt idx="313">
                  <c:v>113.51096521860595</c:v>
                </c:pt>
                <c:pt idx="314">
                  <c:v>114.40843693253247</c:v>
                </c:pt>
                <c:pt idx="315">
                  <c:v>114.12906830562927</c:v>
                </c:pt>
                <c:pt idx="316">
                  <c:v>115.53638776365413</c:v>
                </c:pt>
                <c:pt idx="317">
                  <c:v>115.71797737114122</c:v>
                </c:pt>
                <c:pt idx="318">
                  <c:v>116.46179634027098</c:v>
                </c:pt>
                <c:pt idx="319">
                  <c:v>116.94021511384271</c:v>
                </c:pt>
                <c:pt idx="320">
                  <c:v>117.5722866322112</c:v>
                </c:pt>
                <c:pt idx="321">
                  <c:v>117.52339712250316</c:v>
                </c:pt>
                <c:pt idx="322">
                  <c:v>118.09261069981841</c:v>
                </c:pt>
                <c:pt idx="323">
                  <c:v>118.96214555105462</c:v>
                </c:pt>
                <c:pt idx="324">
                  <c:v>118.07515016063697</c:v>
                </c:pt>
                <c:pt idx="325">
                  <c:v>119.00405084509006</c:v>
                </c:pt>
                <c:pt idx="326">
                  <c:v>118.67928481631513</c:v>
                </c:pt>
                <c:pt idx="327">
                  <c:v>118.71769800251431</c:v>
                </c:pt>
                <c:pt idx="328">
                  <c:v>118.00880011174746</c:v>
                </c:pt>
                <c:pt idx="329">
                  <c:v>118.15896074870791</c:v>
                </c:pt>
                <c:pt idx="330">
                  <c:v>117.56530241653861</c:v>
                </c:pt>
                <c:pt idx="331">
                  <c:v>117.184662662383</c:v>
                </c:pt>
                <c:pt idx="332">
                  <c:v>115.58527727336221</c:v>
                </c:pt>
                <c:pt idx="333">
                  <c:v>115.96591702751779</c:v>
                </c:pt>
                <c:pt idx="334">
                  <c:v>116.15099874284118</c:v>
                </c:pt>
                <c:pt idx="335">
                  <c:v>116.59449643805</c:v>
                </c:pt>
                <c:pt idx="336">
                  <c:v>116.53163849699678</c:v>
                </c:pt>
                <c:pt idx="337">
                  <c:v>116.2836988406202</c:v>
                </c:pt>
                <c:pt idx="338">
                  <c:v>116.96465986869673</c:v>
                </c:pt>
                <c:pt idx="339">
                  <c:v>117.46403128928623</c:v>
                </c:pt>
                <c:pt idx="340">
                  <c:v>117.50593658332168</c:v>
                </c:pt>
                <c:pt idx="341">
                  <c:v>117.7783209945523</c:v>
                </c:pt>
                <c:pt idx="342">
                  <c:v>117.52688923033942</c:v>
                </c:pt>
                <c:pt idx="343">
                  <c:v>117.76086045537086</c:v>
                </c:pt>
                <c:pt idx="344">
                  <c:v>117.62117614191925</c:v>
                </c:pt>
                <c:pt idx="345">
                  <c:v>117.30688643665317</c:v>
                </c:pt>
                <c:pt idx="346">
                  <c:v>116.04972761558876</c:v>
                </c:pt>
                <c:pt idx="347">
                  <c:v>116.89132560413466</c:v>
                </c:pt>
                <c:pt idx="348">
                  <c:v>118.08213437630953</c:v>
                </c:pt>
                <c:pt idx="349">
                  <c:v>119.60818550076826</c:v>
                </c:pt>
                <c:pt idx="350">
                  <c:v>119.96787260790613</c:v>
                </c:pt>
                <c:pt idx="351">
                  <c:v>119.75485402989243</c:v>
                </c:pt>
                <c:pt idx="352">
                  <c:v>120.03771476463191</c:v>
                </c:pt>
                <c:pt idx="353">
                  <c:v>119.29738790333846</c:v>
                </c:pt>
                <c:pt idx="354">
                  <c:v>118.49071099315547</c:v>
                </c:pt>
                <c:pt idx="355">
                  <c:v>118.39991618941193</c:v>
                </c:pt>
                <c:pt idx="356">
                  <c:v>118.82944545327558</c:v>
                </c:pt>
                <c:pt idx="357">
                  <c:v>119.16119569772314</c:v>
                </c:pt>
                <c:pt idx="358">
                  <c:v>119.22405363877637</c:v>
                </c:pt>
                <c:pt idx="359">
                  <c:v>118.29166084648695</c:v>
                </c:pt>
                <c:pt idx="360">
                  <c:v>117.82022628858778</c:v>
                </c:pt>
                <c:pt idx="361">
                  <c:v>118.48721888531917</c:v>
                </c:pt>
                <c:pt idx="362">
                  <c:v>118.87484285514738</c:v>
                </c:pt>
                <c:pt idx="363">
                  <c:v>118.57801368906271</c:v>
                </c:pt>
                <c:pt idx="364">
                  <c:v>118.46975834613774</c:v>
                </c:pt>
                <c:pt idx="365">
                  <c:v>119.05294035479817</c:v>
                </c:pt>
                <c:pt idx="366">
                  <c:v>117.13228104483866</c:v>
                </c:pt>
                <c:pt idx="367">
                  <c:v>116.10909344880569</c:v>
                </c:pt>
                <c:pt idx="368">
                  <c:v>114.67034502025422</c:v>
                </c:pt>
                <c:pt idx="369">
                  <c:v>113.51096521860595</c:v>
                </c:pt>
                <c:pt idx="370">
                  <c:v>113.08492806257857</c:v>
                </c:pt>
                <c:pt idx="371">
                  <c:v>112.80905154351166</c:v>
                </c:pt>
                <c:pt idx="372">
                  <c:v>114.06271825673977</c:v>
                </c:pt>
                <c:pt idx="373">
                  <c:v>113.57033105182288</c:v>
                </c:pt>
                <c:pt idx="374">
                  <c:v>113.46556781673418</c:v>
                </c:pt>
                <c:pt idx="375">
                  <c:v>114.15351306048329</c:v>
                </c:pt>
                <c:pt idx="376">
                  <c:v>113.76588909065511</c:v>
                </c:pt>
                <c:pt idx="377">
                  <c:v>113.99986031568655</c:v>
                </c:pt>
                <c:pt idx="378">
                  <c:v>113.2839782092471</c:v>
                </c:pt>
                <c:pt idx="379">
                  <c:v>113.31191507193743</c:v>
                </c:pt>
                <c:pt idx="380">
                  <c:v>114.61097918703729</c:v>
                </c:pt>
                <c:pt idx="381">
                  <c:v>113.97192345299622</c:v>
                </c:pt>
                <c:pt idx="382">
                  <c:v>114.63542394189132</c:v>
                </c:pt>
                <c:pt idx="383">
                  <c:v>114.02081296270427</c:v>
                </c:pt>
                <c:pt idx="384">
                  <c:v>113.6017600223495</c:v>
                </c:pt>
                <c:pt idx="385">
                  <c:v>114.24779997206313</c:v>
                </c:pt>
                <c:pt idx="386">
                  <c:v>115.56083251850818</c:v>
                </c:pt>
                <c:pt idx="387">
                  <c:v>116.23480933091214</c:v>
                </c:pt>
                <c:pt idx="388">
                  <c:v>117.44657075010477</c:v>
                </c:pt>
                <c:pt idx="389">
                  <c:v>117.63514457326443</c:v>
                </c:pt>
                <c:pt idx="390">
                  <c:v>117.84117893560553</c:v>
                </c:pt>
                <c:pt idx="391">
                  <c:v>118.79801648274899</c:v>
                </c:pt>
                <c:pt idx="392">
                  <c:v>119.18564045257718</c:v>
                </c:pt>
                <c:pt idx="393">
                  <c:v>119.30786422684731</c:v>
                </c:pt>
                <c:pt idx="394">
                  <c:v>119.04595613912556</c:v>
                </c:pt>
                <c:pt idx="395">
                  <c:v>118.340550356195</c:v>
                </c:pt>
                <c:pt idx="396">
                  <c:v>118.09261069981841</c:v>
                </c:pt>
                <c:pt idx="397">
                  <c:v>117.292918005308</c:v>
                </c:pt>
                <c:pt idx="398">
                  <c:v>117.75736834753457</c:v>
                </c:pt>
                <c:pt idx="399">
                  <c:v>117.11482050565721</c:v>
                </c:pt>
                <c:pt idx="400">
                  <c:v>117.45006285794103</c:v>
                </c:pt>
                <c:pt idx="401">
                  <c:v>118.11705545467244</c:v>
                </c:pt>
                <c:pt idx="402">
                  <c:v>118.30912138566838</c:v>
                </c:pt>
                <c:pt idx="403">
                  <c:v>118.92024025701913</c:v>
                </c:pt>
                <c:pt idx="404">
                  <c:v>118.46626623830143</c:v>
                </c:pt>
                <c:pt idx="405">
                  <c:v>117.40815756390558</c:v>
                </c:pt>
                <c:pt idx="406">
                  <c:v>116.23830143874842</c:v>
                </c:pt>
                <c:pt idx="407">
                  <c:v>116.33957256600083</c:v>
                </c:pt>
                <c:pt idx="408">
                  <c:v>115.21162173487917</c:v>
                </c:pt>
                <c:pt idx="409">
                  <c:v>115.85416957675652</c:v>
                </c:pt>
                <c:pt idx="410">
                  <c:v>113.24556502304792</c:v>
                </c:pt>
                <c:pt idx="411">
                  <c:v>112.06872468221817</c:v>
                </c:pt>
                <c:pt idx="412">
                  <c:v>108.34264562089677</c:v>
                </c:pt>
                <c:pt idx="413">
                  <c:v>106.72230758485821</c:v>
                </c:pt>
                <c:pt idx="414">
                  <c:v>101.38636681100712</c:v>
                </c:pt>
                <c:pt idx="415">
                  <c:v>103.87973180611819</c:v>
                </c:pt>
                <c:pt idx="416">
                  <c:v>101.19779298784746</c:v>
                </c:pt>
                <c:pt idx="417">
                  <c:v>103.70512641430368</c:v>
                </c:pt>
                <c:pt idx="418">
                  <c:v>105.40578293057688</c:v>
                </c:pt>
                <c:pt idx="419">
                  <c:v>105.84578851794943</c:v>
                </c:pt>
                <c:pt idx="420">
                  <c:v>105.49308562648415</c:v>
                </c:pt>
                <c:pt idx="421">
                  <c:v>105.45467244028495</c:v>
                </c:pt>
                <c:pt idx="422">
                  <c:v>101.87176980025143</c:v>
                </c:pt>
                <c:pt idx="423">
                  <c:v>99.696186618242763</c:v>
                </c:pt>
                <c:pt idx="424">
                  <c:v>99.888252549238715</c:v>
                </c:pt>
                <c:pt idx="425">
                  <c:v>102.11970945662803</c:v>
                </c:pt>
                <c:pt idx="426">
                  <c:v>102.90543371979327</c:v>
                </c:pt>
                <c:pt idx="427">
                  <c:v>102.16859896633608</c:v>
                </c:pt>
                <c:pt idx="428">
                  <c:v>102.82860734739488</c:v>
                </c:pt>
                <c:pt idx="429">
                  <c:v>104.00195558038831</c:v>
                </c:pt>
                <c:pt idx="430">
                  <c:v>105.21022489174466</c:v>
                </c:pt>
                <c:pt idx="431">
                  <c:v>106.82707081994694</c:v>
                </c:pt>
                <c:pt idx="432">
                  <c:v>107.27056851515574</c:v>
                </c:pt>
                <c:pt idx="433">
                  <c:v>105.12292219583739</c:v>
                </c:pt>
                <c:pt idx="434">
                  <c:v>103.86227126693672</c:v>
                </c:pt>
                <c:pt idx="435">
                  <c:v>103.35591563067467</c:v>
                </c:pt>
                <c:pt idx="436">
                  <c:v>106.17753876239698</c:v>
                </c:pt>
                <c:pt idx="437">
                  <c:v>106.09722028216231</c:v>
                </c:pt>
                <c:pt idx="438">
                  <c:v>105.17181170554547</c:v>
                </c:pt>
                <c:pt idx="439">
                  <c:v>104.79466405922612</c:v>
                </c:pt>
                <c:pt idx="440">
                  <c:v>105.37435396005029</c:v>
                </c:pt>
                <c:pt idx="441">
                  <c:v>106.35214415421149</c:v>
                </c:pt>
                <c:pt idx="442">
                  <c:v>107.2216790054477</c:v>
                </c:pt>
                <c:pt idx="443">
                  <c:v>108.36359826791451</c:v>
                </c:pt>
                <c:pt idx="444">
                  <c:v>107.91660846486938</c:v>
                </c:pt>
                <c:pt idx="445">
                  <c:v>107.61279508311216</c:v>
                </c:pt>
                <c:pt idx="446">
                  <c:v>105.54546724402849</c:v>
                </c:pt>
                <c:pt idx="447">
                  <c:v>102.82162313172229</c:v>
                </c:pt>
                <c:pt idx="448">
                  <c:v>102.90194161195699</c:v>
                </c:pt>
                <c:pt idx="449">
                  <c:v>104.52577175583183</c:v>
                </c:pt>
                <c:pt idx="450">
                  <c:v>106.21245984075986</c:v>
                </c:pt>
                <c:pt idx="451">
                  <c:v>105.02165106858499</c:v>
                </c:pt>
                <c:pt idx="452">
                  <c:v>105.31498812683336</c:v>
                </c:pt>
                <c:pt idx="453">
                  <c:v>104.71085347115519</c:v>
                </c:pt>
                <c:pt idx="454">
                  <c:v>103.03114960189971</c:v>
                </c:pt>
                <c:pt idx="455">
                  <c:v>102.86702053359407</c:v>
                </c:pt>
                <c:pt idx="456">
                  <c:v>104.66894817711972</c:v>
                </c:pt>
                <c:pt idx="457">
                  <c:v>106.58611537924291</c:v>
                </c:pt>
                <c:pt idx="458">
                  <c:v>106.18103087023327</c:v>
                </c:pt>
                <c:pt idx="459">
                  <c:v>107.68962145551053</c:v>
                </c:pt>
                <c:pt idx="460">
                  <c:v>108.10867439586534</c:v>
                </c:pt>
                <c:pt idx="461">
                  <c:v>108.37407459142337</c:v>
                </c:pt>
                <c:pt idx="462">
                  <c:v>108.54518787540157</c:v>
                </c:pt>
                <c:pt idx="463">
                  <c:v>108.78614331610559</c:v>
                </c:pt>
                <c:pt idx="464">
                  <c:v>108.32518508171532</c:v>
                </c:pt>
                <c:pt idx="465">
                  <c:v>109.36234110909344</c:v>
                </c:pt>
                <c:pt idx="466">
                  <c:v>108.25534292498953</c:v>
                </c:pt>
                <c:pt idx="467">
                  <c:v>108.26232714066208</c:v>
                </c:pt>
                <c:pt idx="468">
                  <c:v>109.18075150160635</c:v>
                </c:pt>
                <c:pt idx="469">
                  <c:v>110.93378963542395</c:v>
                </c:pt>
                <c:pt idx="470">
                  <c:v>109.35186478558457</c:v>
                </c:pt>
                <c:pt idx="471">
                  <c:v>110.40648135214414</c:v>
                </c:pt>
                <c:pt idx="472">
                  <c:v>112.43190389719233</c:v>
                </c:pt>
                <c:pt idx="473">
                  <c:v>112.48777762257298</c:v>
                </c:pt>
                <c:pt idx="474">
                  <c:v>110.95125017460539</c:v>
                </c:pt>
                <c:pt idx="475">
                  <c:v>109.19821204078781</c:v>
                </c:pt>
                <c:pt idx="476">
                  <c:v>109.55789914792568</c:v>
                </c:pt>
                <c:pt idx="477">
                  <c:v>111.57982958513757</c:v>
                </c:pt>
                <c:pt idx="478">
                  <c:v>111.16776086045536</c:v>
                </c:pt>
                <c:pt idx="479">
                  <c:v>111.40871630115936</c:v>
                </c:pt>
                <c:pt idx="480">
                  <c:v>111.91157982958515</c:v>
                </c:pt>
                <c:pt idx="481">
                  <c:v>110.59505517530381</c:v>
                </c:pt>
                <c:pt idx="482">
                  <c:v>110.34362341109095</c:v>
                </c:pt>
                <c:pt idx="483">
                  <c:v>111.60078223215532</c:v>
                </c:pt>
                <c:pt idx="484">
                  <c:v>111.48903478139405</c:v>
                </c:pt>
                <c:pt idx="485">
                  <c:v>112.03031149601898</c:v>
                </c:pt>
                <c:pt idx="486">
                  <c:v>110.88490012571586</c:v>
                </c:pt>
                <c:pt idx="487">
                  <c:v>109.54043860874422</c:v>
                </c:pt>
                <c:pt idx="488">
                  <c:v>108.9258276295572</c:v>
                </c:pt>
                <c:pt idx="489">
                  <c:v>106.92484983936303</c:v>
                </c:pt>
                <c:pt idx="490">
                  <c:v>106.36611258555664</c:v>
                </c:pt>
                <c:pt idx="491">
                  <c:v>105.22070121525353</c:v>
                </c:pt>
                <c:pt idx="492">
                  <c:v>105.17530381338176</c:v>
                </c:pt>
                <c:pt idx="493">
                  <c:v>105.37784606788657</c:v>
                </c:pt>
                <c:pt idx="494">
                  <c:v>108.01787959212179</c:v>
                </c:pt>
                <c:pt idx="495">
                  <c:v>108.89789076686687</c:v>
                </c:pt>
                <c:pt idx="496">
                  <c:v>111.97094566280205</c:v>
                </c:pt>
                <c:pt idx="497">
                  <c:v>112.00586674116497</c:v>
                </c:pt>
                <c:pt idx="498">
                  <c:v>112.62396982818828</c:v>
                </c:pt>
                <c:pt idx="499">
                  <c:v>113.42366252269871</c:v>
                </c:pt>
                <c:pt idx="500">
                  <c:v>113.57033105182288</c:v>
                </c:pt>
                <c:pt idx="501">
                  <c:v>113.88462075708898</c:v>
                </c:pt>
                <c:pt idx="502">
                  <c:v>112.42142757368347</c:v>
                </c:pt>
                <c:pt idx="503">
                  <c:v>113.10937281743259</c:v>
                </c:pt>
                <c:pt idx="504">
                  <c:v>112.63793825953346</c:v>
                </c:pt>
                <c:pt idx="505">
                  <c:v>112.80555943567536</c:v>
                </c:pt>
                <c:pt idx="506">
                  <c:v>112.01983517251011</c:v>
                </c:pt>
                <c:pt idx="507">
                  <c:v>111.9569772314569</c:v>
                </c:pt>
                <c:pt idx="508">
                  <c:v>111.88015085905852</c:v>
                </c:pt>
                <c:pt idx="509">
                  <c:v>111.03506076267632</c:v>
                </c:pt>
                <c:pt idx="510">
                  <c:v>112.99064115099873</c:v>
                </c:pt>
                <c:pt idx="511">
                  <c:v>113.58429948316804</c:v>
                </c:pt>
                <c:pt idx="512">
                  <c:v>114.31065791311634</c:v>
                </c:pt>
                <c:pt idx="513">
                  <c:v>115.38622712669367</c:v>
                </c:pt>
                <c:pt idx="514">
                  <c:v>115.29194021511383</c:v>
                </c:pt>
                <c:pt idx="515">
                  <c:v>114.86590305908646</c:v>
                </c:pt>
                <c:pt idx="516">
                  <c:v>116.04972761558876</c:v>
                </c:pt>
                <c:pt idx="517">
                  <c:v>115.99385389020813</c:v>
                </c:pt>
                <c:pt idx="518">
                  <c:v>116.33608045816455</c:v>
                </c:pt>
                <c:pt idx="519">
                  <c:v>117.65958932811844</c:v>
                </c:pt>
                <c:pt idx="520">
                  <c:v>118.7246822181869</c:v>
                </c:pt>
                <c:pt idx="521">
                  <c:v>119.10532197234249</c:v>
                </c:pt>
                <c:pt idx="522">
                  <c:v>119.31135633468361</c:v>
                </c:pt>
                <c:pt idx="523">
                  <c:v>119.18564045257718</c:v>
                </c:pt>
                <c:pt idx="524">
                  <c:v>120.30660706802625</c:v>
                </c:pt>
                <c:pt idx="525">
                  <c:v>120.87582064534152</c:v>
                </c:pt>
                <c:pt idx="526">
                  <c:v>120.15993853890205</c:v>
                </c:pt>
                <c:pt idx="527">
                  <c:v>120.79899427294313</c:v>
                </c:pt>
                <c:pt idx="528">
                  <c:v>120.86534432183265</c:v>
                </c:pt>
                <c:pt idx="529">
                  <c:v>121.2320156446431</c:v>
                </c:pt>
                <c:pt idx="530">
                  <c:v>121.50789216371001</c:v>
                </c:pt>
                <c:pt idx="531">
                  <c:v>121.87456348652046</c:v>
                </c:pt>
                <c:pt idx="532">
                  <c:v>121.91996088839223</c:v>
                </c:pt>
                <c:pt idx="533">
                  <c:v>121.41360525213018</c:v>
                </c:pt>
                <c:pt idx="534">
                  <c:v>121.45201843832938</c:v>
                </c:pt>
                <c:pt idx="535">
                  <c:v>122.13647157424221</c:v>
                </c:pt>
                <c:pt idx="536">
                  <c:v>121.21455510546167</c:v>
                </c:pt>
                <c:pt idx="537">
                  <c:v>121.03645760581088</c:v>
                </c:pt>
                <c:pt idx="538">
                  <c:v>120.47073613633188</c:v>
                </c:pt>
                <c:pt idx="539">
                  <c:v>120.92820226288588</c:v>
                </c:pt>
                <c:pt idx="540">
                  <c:v>121.56376588909066</c:v>
                </c:pt>
                <c:pt idx="541">
                  <c:v>122.08408995669787</c:v>
                </c:pt>
                <c:pt idx="542">
                  <c:v>123.84760441402429</c:v>
                </c:pt>
                <c:pt idx="543">
                  <c:v>124.24570470736136</c:v>
                </c:pt>
                <c:pt idx="544">
                  <c:v>123.17362760162034</c:v>
                </c:pt>
                <c:pt idx="545">
                  <c:v>123.40061461097918</c:v>
                </c:pt>
                <c:pt idx="546">
                  <c:v>123.21902500349211</c:v>
                </c:pt>
                <c:pt idx="547">
                  <c:v>122.86981421986312</c:v>
                </c:pt>
                <c:pt idx="548">
                  <c:v>123.54379103226707</c:v>
                </c:pt>
                <c:pt idx="549">
                  <c:v>123.83014387484286</c:v>
                </c:pt>
                <c:pt idx="550">
                  <c:v>124.62634446151696</c:v>
                </c:pt>
                <c:pt idx="551">
                  <c:v>125.34222656795642</c:v>
                </c:pt>
                <c:pt idx="552">
                  <c:v>124.99650789216371</c:v>
                </c:pt>
                <c:pt idx="553">
                  <c:v>124.87428411789354</c:v>
                </c:pt>
                <c:pt idx="554">
                  <c:v>124.69269451040648</c:v>
                </c:pt>
                <c:pt idx="555">
                  <c:v>124.40983377566698</c:v>
                </c:pt>
                <c:pt idx="556">
                  <c:v>124.21427573683475</c:v>
                </c:pt>
                <c:pt idx="557">
                  <c:v>123.47045676770499</c:v>
                </c:pt>
                <c:pt idx="558">
                  <c:v>123.89649392373236</c:v>
                </c:pt>
                <c:pt idx="559">
                  <c:v>124.15490990361782</c:v>
                </c:pt>
                <c:pt idx="560">
                  <c:v>124.19332308981701</c:v>
                </c:pt>
                <c:pt idx="561">
                  <c:v>125.13270009777901</c:v>
                </c:pt>
                <c:pt idx="562">
                  <c:v>125.79620058667412</c:v>
                </c:pt>
                <c:pt idx="563">
                  <c:v>124.91618941192904</c:v>
                </c:pt>
                <c:pt idx="564">
                  <c:v>123.44251990501466</c:v>
                </c:pt>
                <c:pt idx="565">
                  <c:v>123.9209386785864</c:v>
                </c:pt>
                <c:pt idx="566">
                  <c:v>124.42729431484845</c:v>
                </c:pt>
                <c:pt idx="567">
                  <c:v>126.03017181170553</c:v>
                </c:pt>
                <c:pt idx="568">
                  <c:v>125.63556362620476</c:v>
                </c:pt>
                <c:pt idx="569">
                  <c:v>127.76574940634167</c:v>
                </c:pt>
                <c:pt idx="570">
                  <c:v>128.31401033663917</c:v>
                </c:pt>
                <c:pt idx="571">
                  <c:v>128.72957116915768</c:v>
                </c:pt>
                <c:pt idx="572">
                  <c:v>128.38036038552869</c:v>
                </c:pt>
                <c:pt idx="573">
                  <c:v>128.12543651347951</c:v>
                </c:pt>
                <c:pt idx="574">
                  <c:v>127.45495180891186</c:v>
                </c:pt>
                <c:pt idx="575">
                  <c:v>127.34320435815059</c:v>
                </c:pt>
                <c:pt idx="576">
                  <c:v>126.56795641849419</c:v>
                </c:pt>
                <c:pt idx="577">
                  <c:v>126.27461936024585</c:v>
                </c:pt>
                <c:pt idx="578">
                  <c:v>127.09177259393769</c:v>
                </c:pt>
                <c:pt idx="579">
                  <c:v>127.08478837826512</c:v>
                </c:pt>
                <c:pt idx="580">
                  <c:v>126.58541695767565</c:v>
                </c:pt>
                <c:pt idx="581">
                  <c:v>126.01271127252409</c:v>
                </c:pt>
                <c:pt idx="582">
                  <c:v>126.2850956837547</c:v>
                </c:pt>
                <c:pt idx="583">
                  <c:v>127.59463612236345</c:v>
                </c:pt>
                <c:pt idx="584">
                  <c:v>126.56795641849419</c:v>
                </c:pt>
                <c:pt idx="585">
                  <c:v>126.24668249755551</c:v>
                </c:pt>
                <c:pt idx="586">
                  <c:v>126.63081435954741</c:v>
                </c:pt>
                <c:pt idx="587">
                  <c:v>123.50188573823159</c:v>
                </c:pt>
                <c:pt idx="588">
                  <c:v>123.81966755133398</c:v>
                </c:pt>
                <c:pt idx="589">
                  <c:v>125.03841318619919</c:v>
                </c:pt>
                <c:pt idx="590">
                  <c:v>124.43078642268472</c:v>
                </c:pt>
                <c:pt idx="591">
                  <c:v>124.51110490291939</c:v>
                </c:pt>
                <c:pt idx="592">
                  <c:v>125.67746892024026</c:v>
                </c:pt>
                <c:pt idx="593">
                  <c:v>125.60413465567817</c:v>
                </c:pt>
                <c:pt idx="594">
                  <c:v>124.84285514736695</c:v>
                </c:pt>
                <c:pt idx="595">
                  <c:v>124.61586813800811</c:v>
                </c:pt>
                <c:pt idx="596">
                  <c:v>123.71839642408156</c:v>
                </c:pt>
                <c:pt idx="597">
                  <c:v>123.71490431624528</c:v>
                </c:pt>
                <c:pt idx="598">
                  <c:v>125.23047911719513</c:v>
                </c:pt>
                <c:pt idx="599">
                  <c:v>125.57619779298786</c:v>
                </c:pt>
                <c:pt idx="600">
                  <c:v>125.82762955720072</c:v>
                </c:pt>
                <c:pt idx="601">
                  <c:v>125.67048470456767</c:v>
                </c:pt>
                <c:pt idx="602">
                  <c:v>126.01620338036039</c:v>
                </c:pt>
                <c:pt idx="603">
                  <c:v>126.21874563486519</c:v>
                </c:pt>
                <c:pt idx="604">
                  <c:v>125.56572146947897</c:v>
                </c:pt>
                <c:pt idx="605">
                  <c:v>124.0885598547283</c:v>
                </c:pt>
                <c:pt idx="606">
                  <c:v>124.27364157005168</c:v>
                </c:pt>
                <c:pt idx="607">
                  <c:v>123.79173068864367</c:v>
                </c:pt>
                <c:pt idx="608">
                  <c:v>123.48442519905014</c:v>
                </c:pt>
                <c:pt idx="609">
                  <c:v>123.69395166922754</c:v>
                </c:pt>
                <c:pt idx="610">
                  <c:v>123.58220421846626</c:v>
                </c:pt>
                <c:pt idx="611">
                  <c:v>122.83140103366392</c:v>
                </c:pt>
                <c:pt idx="612">
                  <c:v>122.40885598547283</c:v>
                </c:pt>
                <c:pt idx="613">
                  <c:v>121.7907528984495</c:v>
                </c:pt>
                <c:pt idx="614">
                  <c:v>120.87232853750523</c:v>
                </c:pt>
                <c:pt idx="615">
                  <c:v>119.3846905992457</c:v>
                </c:pt>
                <c:pt idx="616">
                  <c:v>120.28216231317221</c:v>
                </c:pt>
                <c:pt idx="617">
                  <c:v>121.27042883084229</c:v>
                </c:pt>
                <c:pt idx="618">
                  <c:v>121.61963961447128</c:v>
                </c:pt>
                <c:pt idx="619">
                  <c:v>122.04218466266239</c:v>
                </c:pt>
                <c:pt idx="620">
                  <c:v>122.41234809330912</c:v>
                </c:pt>
                <c:pt idx="621">
                  <c:v>122.33901382874701</c:v>
                </c:pt>
                <c:pt idx="622">
                  <c:v>123.58569632630254</c:v>
                </c:pt>
                <c:pt idx="623">
                  <c:v>122.97806956278809</c:v>
                </c:pt>
                <c:pt idx="624">
                  <c:v>122.8733063276994</c:v>
                </c:pt>
                <c:pt idx="625">
                  <c:v>120.37644922475206</c:v>
                </c:pt>
                <c:pt idx="626">
                  <c:v>118.86785863947478</c:v>
                </c:pt>
                <c:pt idx="627">
                  <c:v>119.89803045118033</c:v>
                </c:pt>
                <c:pt idx="628">
                  <c:v>122.21679005447687</c:v>
                </c:pt>
                <c:pt idx="629">
                  <c:v>122.35298226009219</c:v>
                </c:pt>
                <c:pt idx="630">
                  <c:v>123.05489593518648</c:v>
                </c:pt>
                <c:pt idx="631">
                  <c:v>122.22726637798573</c:v>
                </c:pt>
                <c:pt idx="632">
                  <c:v>123.49490152255899</c:v>
                </c:pt>
                <c:pt idx="633">
                  <c:v>122.21329794664059</c:v>
                </c:pt>
                <c:pt idx="634">
                  <c:v>122.56600083810586</c:v>
                </c:pt>
                <c:pt idx="635">
                  <c:v>123.59268054197514</c:v>
                </c:pt>
                <c:pt idx="636">
                  <c:v>124.40983377566698</c:v>
                </c:pt>
                <c:pt idx="637">
                  <c:v>124.96857102947338</c:v>
                </c:pt>
                <c:pt idx="638">
                  <c:v>125.02095264701774</c:v>
                </c:pt>
                <c:pt idx="639">
                  <c:v>123.71490431624528</c:v>
                </c:pt>
                <c:pt idx="640">
                  <c:v>124.24570470736136</c:v>
                </c:pt>
                <c:pt idx="641">
                  <c:v>123.0060064254784</c:v>
                </c:pt>
                <c:pt idx="642">
                  <c:v>123.30283559156305</c:v>
                </c:pt>
                <c:pt idx="643">
                  <c:v>124.62285235368067</c:v>
                </c:pt>
                <c:pt idx="644">
                  <c:v>124.74856823578713</c:v>
                </c:pt>
                <c:pt idx="645">
                  <c:v>125.81016901801927</c:v>
                </c:pt>
                <c:pt idx="646">
                  <c:v>127.36066489733201</c:v>
                </c:pt>
                <c:pt idx="647">
                  <c:v>128.26861293476742</c:v>
                </c:pt>
                <c:pt idx="648">
                  <c:v>129.12417935465845</c:v>
                </c:pt>
                <c:pt idx="649">
                  <c:v>129.65847185361085</c:v>
                </c:pt>
                <c:pt idx="650">
                  <c:v>129.11021092331333</c:v>
                </c:pt>
                <c:pt idx="651">
                  <c:v>128.61433161056013</c:v>
                </c:pt>
                <c:pt idx="652">
                  <c:v>128.5549657773432</c:v>
                </c:pt>
                <c:pt idx="653">
                  <c:v>128.60385528705126</c:v>
                </c:pt>
                <c:pt idx="654">
                  <c:v>128.08003911160773</c:v>
                </c:pt>
                <c:pt idx="655">
                  <c:v>129.34418214834474</c:v>
                </c:pt>
                <c:pt idx="656">
                  <c:v>129.39307165805278</c:v>
                </c:pt>
                <c:pt idx="657">
                  <c:v>130.05308003911159</c:v>
                </c:pt>
                <c:pt idx="658">
                  <c:v>130.52102248917444</c:v>
                </c:pt>
                <c:pt idx="659">
                  <c:v>131.52674954602597</c:v>
                </c:pt>
                <c:pt idx="660">
                  <c:v>130.81086743958653</c:v>
                </c:pt>
                <c:pt idx="661">
                  <c:v>129.21497415840199</c:v>
                </c:pt>
                <c:pt idx="662">
                  <c:v>128.61433161056013</c:v>
                </c:pt>
                <c:pt idx="663">
                  <c:v>128.0625785724263</c:v>
                </c:pt>
                <c:pt idx="664">
                  <c:v>128.97401871769799</c:v>
                </c:pt>
                <c:pt idx="665">
                  <c:v>130.55245145970108</c:v>
                </c:pt>
                <c:pt idx="666">
                  <c:v>132.35088699539043</c:v>
                </c:pt>
                <c:pt idx="667">
                  <c:v>131.25785724263164</c:v>
                </c:pt>
                <c:pt idx="668">
                  <c:v>131.20198351725099</c:v>
                </c:pt>
                <c:pt idx="669">
                  <c:v>131.29277832099456</c:v>
                </c:pt>
                <c:pt idx="670">
                  <c:v>131.89342086883642</c:v>
                </c:pt>
                <c:pt idx="671">
                  <c:v>132.06104204497834</c:v>
                </c:pt>
                <c:pt idx="672">
                  <c:v>132.86073473948875</c:v>
                </c:pt>
                <c:pt idx="673">
                  <c:v>133.57312473809191</c:v>
                </c:pt>
                <c:pt idx="674">
                  <c:v>134.29599106020393</c:v>
                </c:pt>
                <c:pt idx="675">
                  <c:v>134.27154630534989</c:v>
                </c:pt>
                <c:pt idx="676">
                  <c:v>133.65693532616288</c:v>
                </c:pt>
                <c:pt idx="677">
                  <c:v>134.14583042324347</c:v>
                </c:pt>
                <c:pt idx="678">
                  <c:v>134.51250174605391</c:v>
                </c:pt>
                <c:pt idx="679">
                  <c:v>134.76393351026681</c:v>
                </c:pt>
                <c:pt idx="680">
                  <c:v>135.77664478279087</c:v>
                </c:pt>
                <c:pt idx="681">
                  <c:v>135.26679703869254</c:v>
                </c:pt>
                <c:pt idx="682">
                  <c:v>134.17725939377007</c:v>
                </c:pt>
                <c:pt idx="683">
                  <c:v>133.71979326721609</c:v>
                </c:pt>
                <c:pt idx="684">
                  <c:v>132.29501327000978</c:v>
                </c:pt>
                <c:pt idx="685">
                  <c:v>133.00391116077662</c:v>
                </c:pt>
                <c:pt idx="686">
                  <c:v>133.09470596452019</c:v>
                </c:pt>
                <c:pt idx="687">
                  <c:v>132.31247380919123</c:v>
                </c:pt>
                <c:pt idx="688">
                  <c:v>132.64422405363877</c:v>
                </c:pt>
                <c:pt idx="689">
                  <c:v>131.81310238860175</c:v>
                </c:pt>
                <c:pt idx="690">
                  <c:v>131.42198631093726</c:v>
                </c:pt>
                <c:pt idx="691">
                  <c:v>131.82707081994693</c:v>
                </c:pt>
                <c:pt idx="692">
                  <c:v>131.41150998742842</c:v>
                </c:pt>
                <c:pt idx="693">
                  <c:v>130.83531219444055</c:v>
                </c:pt>
                <c:pt idx="694">
                  <c:v>132.95502165106859</c:v>
                </c:pt>
                <c:pt idx="695">
                  <c:v>132.76295572007263</c:v>
                </c:pt>
                <c:pt idx="696">
                  <c:v>132.36485542673557</c:v>
                </c:pt>
                <c:pt idx="697">
                  <c:v>132.28453694650091</c:v>
                </c:pt>
                <c:pt idx="698">
                  <c:v>132.3927922894259</c:v>
                </c:pt>
                <c:pt idx="699">
                  <c:v>133.429948316804</c:v>
                </c:pt>
                <c:pt idx="700">
                  <c:v>132.81184522978069</c:v>
                </c:pt>
                <c:pt idx="701">
                  <c:v>132.40326861293474</c:v>
                </c:pt>
                <c:pt idx="702">
                  <c:v>132.72803464170971</c:v>
                </c:pt>
                <c:pt idx="703">
                  <c:v>133.16105601340968</c:v>
                </c:pt>
                <c:pt idx="704">
                  <c:v>133.54518787540158</c:v>
                </c:pt>
                <c:pt idx="705">
                  <c:v>133.55217209107417</c:v>
                </c:pt>
                <c:pt idx="706">
                  <c:v>133.7128090515435</c:v>
                </c:pt>
                <c:pt idx="707">
                  <c:v>132.85025841597988</c:v>
                </c:pt>
                <c:pt idx="708">
                  <c:v>132.41025282860736</c:v>
                </c:pt>
                <c:pt idx="709">
                  <c:v>133.27629557200723</c:v>
                </c:pt>
                <c:pt idx="710">
                  <c:v>132.34041067188156</c:v>
                </c:pt>
                <c:pt idx="711">
                  <c:v>132.67565302416537</c:v>
                </c:pt>
                <c:pt idx="712">
                  <c:v>132.4242212599525</c:v>
                </c:pt>
                <c:pt idx="713">
                  <c:v>132.70708199469198</c:v>
                </c:pt>
                <c:pt idx="714">
                  <c:v>132.67565302416537</c:v>
                </c:pt>
                <c:pt idx="715">
                  <c:v>132.70708199469198</c:v>
                </c:pt>
                <c:pt idx="716">
                  <c:v>132.79089258276295</c:v>
                </c:pt>
                <c:pt idx="717">
                  <c:v>132.27056851515573</c:v>
                </c:pt>
                <c:pt idx="718">
                  <c:v>131.37309680122922</c:v>
                </c:pt>
                <c:pt idx="719">
                  <c:v>131.33468361503003</c:v>
                </c:pt>
                <c:pt idx="720">
                  <c:v>130.83531219444055</c:v>
                </c:pt>
                <c:pt idx="721">
                  <c:v>131.80611817292919</c:v>
                </c:pt>
                <c:pt idx="722">
                  <c:v>132.57787400474925</c:v>
                </c:pt>
                <c:pt idx="723">
                  <c:v>132.61977929878472</c:v>
                </c:pt>
                <c:pt idx="724">
                  <c:v>132.94105321972341</c:v>
                </c:pt>
                <c:pt idx="725">
                  <c:v>131.89691297667272</c:v>
                </c:pt>
                <c:pt idx="726">
                  <c:v>131.36262047772036</c:v>
                </c:pt>
                <c:pt idx="727">
                  <c:v>130.38832239139543</c:v>
                </c:pt>
                <c:pt idx="728">
                  <c:v>130.23466964659869</c:v>
                </c:pt>
                <c:pt idx="729">
                  <c:v>130.74102528286073</c:v>
                </c:pt>
                <c:pt idx="730">
                  <c:v>130.74102528286073</c:v>
                </c:pt>
                <c:pt idx="731">
                  <c:v>130.66769101829865</c:v>
                </c:pt>
                <c:pt idx="732">
                  <c:v>130.46514876379382</c:v>
                </c:pt>
                <c:pt idx="733">
                  <c:v>130.62578572426315</c:v>
                </c:pt>
                <c:pt idx="734">
                  <c:v>131.96326302556224</c:v>
                </c:pt>
                <c:pt idx="735">
                  <c:v>132.22517111328395</c:v>
                </c:pt>
                <c:pt idx="736">
                  <c:v>132.59882665176698</c:v>
                </c:pt>
                <c:pt idx="737">
                  <c:v>133.19248498393631</c:v>
                </c:pt>
                <c:pt idx="738">
                  <c:v>131.56167062438888</c:v>
                </c:pt>
                <c:pt idx="739">
                  <c:v>130.59086464590027</c:v>
                </c:pt>
                <c:pt idx="740">
                  <c:v>130.72007263584297</c:v>
                </c:pt>
                <c:pt idx="741">
                  <c:v>130.51753038133819</c:v>
                </c:pt>
                <c:pt idx="742">
                  <c:v>130.26959072496157</c:v>
                </c:pt>
                <c:pt idx="743">
                  <c:v>128.65623690459563</c:v>
                </c:pt>
                <c:pt idx="744">
                  <c:v>127.67495460259812</c:v>
                </c:pt>
                <c:pt idx="745">
                  <c:v>128.49559994412627</c:v>
                </c:pt>
                <c:pt idx="746">
                  <c:v>130.17530381338173</c:v>
                </c:pt>
                <c:pt idx="747">
                  <c:v>130.36038552870514</c:v>
                </c:pt>
                <c:pt idx="748">
                  <c:v>130.50705405782932</c:v>
                </c:pt>
                <c:pt idx="749">
                  <c:v>130.50006984215671</c:v>
                </c:pt>
                <c:pt idx="750">
                  <c:v>131.18452297806957</c:v>
                </c:pt>
                <c:pt idx="751">
                  <c:v>130.91213856683893</c:v>
                </c:pt>
                <c:pt idx="752">
                  <c:v>130.95055175303813</c:v>
                </c:pt>
                <c:pt idx="753">
                  <c:v>131.57913116357034</c:v>
                </c:pt>
                <c:pt idx="754">
                  <c:v>132.00516831959769</c:v>
                </c:pt>
                <c:pt idx="755">
                  <c:v>131.76072077105741</c:v>
                </c:pt>
                <c:pt idx="756">
                  <c:v>131.03087023327279</c:v>
                </c:pt>
                <c:pt idx="757">
                  <c:v>130.87023327280346</c:v>
                </c:pt>
                <c:pt idx="758">
                  <c:v>131.22992037994132</c:v>
                </c:pt>
                <c:pt idx="759">
                  <c:v>132.4242212599525</c:v>
                </c:pt>
                <c:pt idx="760">
                  <c:v>133.18200866042741</c:v>
                </c:pt>
                <c:pt idx="761">
                  <c:v>133.32518508171532</c:v>
                </c:pt>
                <c:pt idx="762">
                  <c:v>133.36709037575082</c:v>
                </c:pt>
                <c:pt idx="763">
                  <c:v>133.20645341528146</c:v>
                </c:pt>
                <c:pt idx="764">
                  <c:v>132.31596591702751</c:v>
                </c:pt>
                <c:pt idx="765">
                  <c:v>131.900405084509</c:v>
                </c:pt>
                <c:pt idx="766">
                  <c:v>132.31596591702751</c:v>
                </c:pt>
                <c:pt idx="767">
                  <c:v>133.03184802346695</c:v>
                </c:pt>
                <c:pt idx="768">
                  <c:v>132.72105042603715</c:v>
                </c:pt>
                <c:pt idx="769">
                  <c:v>133.24486660148065</c:v>
                </c:pt>
                <c:pt idx="770">
                  <c:v>132.83978209247101</c:v>
                </c:pt>
                <c:pt idx="771">
                  <c:v>132.36136331889927</c:v>
                </c:pt>
                <c:pt idx="772">
                  <c:v>131.95977091772593</c:v>
                </c:pt>
                <c:pt idx="773">
                  <c:v>131.093728174326</c:v>
                </c:pt>
                <c:pt idx="774">
                  <c:v>132.54993714205895</c:v>
                </c:pt>
                <c:pt idx="775">
                  <c:v>134.82679145131999</c:v>
                </c:pt>
                <c:pt idx="776">
                  <c:v>136.04204497834894</c:v>
                </c:pt>
                <c:pt idx="777">
                  <c:v>137.11761419192624</c:v>
                </c:pt>
                <c:pt idx="778">
                  <c:v>136.25855566419892</c:v>
                </c:pt>
                <c:pt idx="779">
                  <c:v>136.15379242911021</c:v>
                </c:pt>
                <c:pt idx="780">
                  <c:v>136.87665875122221</c:v>
                </c:pt>
                <c:pt idx="781">
                  <c:v>136.22363458583601</c:v>
                </c:pt>
                <c:pt idx="782">
                  <c:v>135.20044698980305</c:v>
                </c:pt>
                <c:pt idx="783">
                  <c:v>134.83726777482886</c:v>
                </c:pt>
                <c:pt idx="784">
                  <c:v>135.25981282301996</c:v>
                </c:pt>
                <c:pt idx="785">
                  <c:v>135.41346556781673</c:v>
                </c:pt>
                <c:pt idx="786">
                  <c:v>135.47981561670625</c:v>
                </c:pt>
                <c:pt idx="787">
                  <c:v>136.3598267914513</c:v>
                </c:pt>
                <c:pt idx="788">
                  <c:v>136.25506355636261</c:v>
                </c:pt>
                <c:pt idx="789">
                  <c:v>136.95348512362062</c:v>
                </c:pt>
                <c:pt idx="790">
                  <c:v>136.93602458443917</c:v>
                </c:pt>
                <c:pt idx="791">
                  <c:v>136.27950831121666</c:v>
                </c:pt>
                <c:pt idx="792">
                  <c:v>136.1503003212739</c:v>
                </c:pt>
                <c:pt idx="793">
                  <c:v>136.07347394887555</c:v>
                </c:pt>
                <c:pt idx="794">
                  <c:v>136.62871909484565</c:v>
                </c:pt>
                <c:pt idx="795">
                  <c:v>135.63696046933927</c:v>
                </c:pt>
                <c:pt idx="796">
                  <c:v>135.24235228383853</c:v>
                </c:pt>
                <c:pt idx="797">
                  <c:v>135.07822321553289</c:v>
                </c:pt>
                <c:pt idx="798">
                  <c:v>134.82679145131999</c:v>
                </c:pt>
                <c:pt idx="799">
                  <c:v>135.57061042044978</c:v>
                </c:pt>
                <c:pt idx="800">
                  <c:v>135.84648693951669</c:v>
                </c:pt>
                <c:pt idx="801">
                  <c:v>136.76141919262466</c:v>
                </c:pt>
                <c:pt idx="802">
                  <c:v>137.67635144573265</c:v>
                </c:pt>
                <c:pt idx="803">
                  <c:v>137.23285375052382</c:v>
                </c:pt>
                <c:pt idx="804">
                  <c:v>137.18396424081573</c:v>
                </c:pt>
                <c:pt idx="805">
                  <c:v>137.51222237742701</c:v>
                </c:pt>
                <c:pt idx="806">
                  <c:v>138.29445453275596</c:v>
                </c:pt>
                <c:pt idx="807">
                  <c:v>137.7496857102947</c:v>
                </c:pt>
                <c:pt idx="808">
                  <c:v>137.93476742561811</c:v>
                </c:pt>
                <c:pt idx="809">
                  <c:v>138.9789076686688</c:v>
                </c:pt>
                <c:pt idx="810">
                  <c:v>137.95572007263584</c:v>
                </c:pt>
                <c:pt idx="811">
                  <c:v>137.72873306327696</c:v>
                </c:pt>
                <c:pt idx="812">
                  <c:v>139.34907109931555</c:v>
                </c:pt>
                <c:pt idx="813">
                  <c:v>137.82301997485683</c:v>
                </c:pt>
                <c:pt idx="814">
                  <c:v>138.78684173767286</c:v>
                </c:pt>
                <c:pt idx="815">
                  <c:v>139.69828188294454</c:v>
                </c:pt>
                <c:pt idx="816">
                  <c:v>140.68305629277833</c:v>
                </c:pt>
                <c:pt idx="817">
                  <c:v>141.3186199189831</c:v>
                </c:pt>
                <c:pt idx="818">
                  <c:v>141.36750942869114</c:v>
                </c:pt>
                <c:pt idx="819">
                  <c:v>142.70498672999022</c:v>
                </c:pt>
                <c:pt idx="820">
                  <c:v>143.23927922894259</c:v>
                </c:pt>
                <c:pt idx="821">
                  <c:v>142.57577874004747</c:v>
                </c:pt>
                <c:pt idx="822">
                  <c:v>144.06690878614333</c:v>
                </c:pt>
                <c:pt idx="823">
                  <c:v>144.31135633468361</c:v>
                </c:pt>
                <c:pt idx="824">
                  <c:v>144.08087721748845</c:v>
                </c:pt>
                <c:pt idx="825">
                  <c:v>144.52786702053359</c:v>
                </c:pt>
                <c:pt idx="826">
                  <c:v>145.20882804861012</c:v>
                </c:pt>
                <c:pt idx="827">
                  <c:v>144.74437770638357</c:v>
                </c:pt>
                <c:pt idx="828">
                  <c:v>144.57326442240537</c:v>
                </c:pt>
                <c:pt idx="829">
                  <c:v>144.98882525492388</c:v>
                </c:pt>
                <c:pt idx="830">
                  <c:v>145.07263584299483</c:v>
                </c:pt>
                <c:pt idx="831">
                  <c:v>144.62564603994969</c:v>
                </c:pt>
                <c:pt idx="832">
                  <c:v>144.37072216790054</c:v>
                </c:pt>
                <c:pt idx="833">
                  <c:v>145.10406481352143</c:v>
                </c:pt>
                <c:pt idx="834">
                  <c:v>145.97359966475764</c:v>
                </c:pt>
                <c:pt idx="835">
                  <c:v>146.58821064394468</c:v>
                </c:pt>
                <c:pt idx="836">
                  <c:v>146.43455789914793</c:v>
                </c:pt>
                <c:pt idx="837">
                  <c:v>146.53582902640034</c:v>
                </c:pt>
                <c:pt idx="838">
                  <c:v>145.53010196954881</c:v>
                </c:pt>
                <c:pt idx="839">
                  <c:v>145.07612795083111</c:v>
                </c:pt>
                <c:pt idx="840">
                  <c:v>142.88657633747729</c:v>
                </c:pt>
                <c:pt idx="841">
                  <c:v>143.73515854169577</c:v>
                </c:pt>
                <c:pt idx="842">
                  <c:v>143.96912976672718</c:v>
                </c:pt>
                <c:pt idx="843">
                  <c:v>145.6383573124738</c:v>
                </c:pt>
                <c:pt idx="844">
                  <c:v>146.2634446151697</c:v>
                </c:pt>
                <c:pt idx="845">
                  <c:v>146.00502863528425</c:v>
                </c:pt>
                <c:pt idx="846">
                  <c:v>143.71071378684172</c:v>
                </c:pt>
                <c:pt idx="847">
                  <c:v>143.90976393351028</c:v>
                </c:pt>
                <c:pt idx="848">
                  <c:v>143.1589607487079</c:v>
                </c:pt>
                <c:pt idx="849">
                  <c:v>142.01704148624108</c:v>
                </c:pt>
                <c:pt idx="850">
                  <c:v>142.90054476882247</c:v>
                </c:pt>
                <c:pt idx="851">
                  <c:v>143.97960609023605</c:v>
                </c:pt>
                <c:pt idx="852">
                  <c:v>145.80597848861572</c:v>
                </c:pt>
                <c:pt idx="853">
                  <c:v>146.79075289844948</c:v>
                </c:pt>
                <c:pt idx="854">
                  <c:v>147.54155608325183</c:v>
                </c:pt>
                <c:pt idx="855">
                  <c:v>147.23075848582204</c:v>
                </c:pt>
                <c:pt idx="856">
                  <c:v>147.48917446570749</c:v>
                </c:pt>
                <c:pt idx="857">
                  <c:v>147.32504539740185</c:v>
                </c:pt>
                <c:pt idx="858">
                  <c:v>146.33328677189553</c:v>
                </c:pt>
                <c:pt idx="859">
                  <c:v>147.92918005308005</c:v>
                </c:pt>
                <c:pt idx="860">
                  <c:v>148.69395166922754</c:v>
                </c:pt>
                <c:pt idx="861">
                  <c:v>149.32253107975976</c:v>
                </c:pt>
                <c:pt idx="862">
                  <c:v>150.06635004888952</c:v>
                </c:pt>
                <c:pt idx="863">
                  <c:v>150.28984495041206</c:v>
                </c:pt>
                <c:pt idx="864">
                  <c:v>150.43651347953625</c:v>
                </c:pt>
                <c:pt idx="865">
                  <c:v>151.84732504539738</c:v>
                </c:pt>
                <c:pt idx="866">
                  <c:v>151.92764352563205</c:v>
                </c:pt>
                <c:pt idx="867">
                  <c:v>152.8216231317223</c:v>
                </c:pt>
                <c:pt idx="868">
                  <c:v>154.79466405922614</c:v>
                </c:pt>
                <c:pt idx="869">
                  <c:v>153.87973180611817</c:v>
                </c:pt>
                <c:pt idx="870">
                  <c:v>155.28705126414303</c:v>
                </c:pt>
                <c:pt idx="871">
                  <c:v>155.70610420449782</c:v>
                </c:pt>
                <c:pt idx="872">
                  <c:v>155.73404106718814</c:v>
                </c:pt>
                <c:pt idx="873">
                  <c:v>154.96228523536806</c:v>
                </c:pt>
                <c:pt idx="874">
                  <c:v>152.55273082832798</c:v>
                </c:pt>
                <c:pt idx="875">
                  <c:v>152.19304372119009</c:v>
                </c:pt>
                <c:pt idx="876">
                  <c:v>151.72510127112727</c:v>
                </c:pt>
                <c:pt idx="877">
                  <c:v>153.51655259114401</c:v>
                </c:pt>
                <c:pt idx="878">
                  <c:v>151.47716161475066</c:v>
                </c:pt>
                <c:pt idx="879">
                  <c:v>150.64254784187733</c:v>
                </c:pt>
                <c:pt idx="880">
                  <c:v>149.75904455929597</c:v>
                </c:pt>
                <c:pt idx="881">
                  <c:v>149.01871769800252</c:v>
                </c:pt>
                <c:pt idx="882">
                  <c:v>148.66601480653722</c:v>
                </c:pt>
                <c:pt idx="883">
                  <c:v>146.27392093867857</c:v>
                </c:pt>
                <c:pt idx="884">
                  <c:v>145.40089397960608</c:v>
                </c:pt>
                <c:pt idx="885">
                  <c:v>146.59519485961727</c:v>
                </c:pt>
                <c:pt idx="886">
                  <c:v>147.21329794664058</c:v>
                </c:pt>
                <c:pt idx="887">
                  <c:v>145.38343344042462</c:v>
                </c:pt>
                <c:pt idx="888">
                  <c:v>144.23452996228522</c:v>
                </c:pt>
                <c:pt idx="889">
                  <c:v>145.16343064673836</c:v>
                </c:pt>
                <c:pt idx="890">
                  <c:v>144.75834613772872</c:v>
                </c:pt>
                <c:pt idx="891">
                  <c:v>146.00153652744797</c:v>
                </c:pt>
                <c:pt idx="892">
                  <c:v>146.07487079201005</c:v>
                </c:pt>
                <c:pt idx="893">
                  <c:v>145.22978069562785</c:v>
                </c:pt>
                <c:pt idx="894">
                  <c:v>142.61768403408294</c:v>
                </c:pt>
                <c:pt idx="895">
                  <c:v>142.76086045537087</c:v>
                </c:pt>
                <c:pt idx="896">
                  <c:v>141.16496717418633</c:v>
                </c:pt>
                <c:pt idx="897">
                  <c:v>142.48847604414024</c:v>
                </c:pt>
                <c:pt idx="898">
                  <c:v>144.63612236345858</c:v>
                </c:pt>
                <c:pt idx="899">
                  <c:v>145.74312054756251</c:v>
                </c:pt>
                <c:pt idx="900">
                  <c:v>145.61740466545606</c:v>
                </c:pt>
                <c:pt idx="901">
                  <c:v>146.31931834055035</c:v>
                </c:pt>
                <c:pt idx="902">
                  <c:v>146.39265260511243</c:v>
                </c:pt>
                <c:pt idx="903">
                  <c:v>146.63710015365274</c:v>
                </c:pt>
                <c:pt idx="904">
                  <c:v>148.12473809191226</c:v>
                </c:pt>
                <c:pt idx="905">
                  <c:v>149.11649671741861</c:v>
                </c:pt>
                <c:pt idx="906">
                  <c:v>149.60539181449923</c:v>
                </c:pt>
                <c:pt idx="907">
                  <c:v>151.66224333007403</c:v>
                </c:pt>
                <c:pt idx="908">
                  <c:v>151.3200167621176</c:v>
                </c:pt>
                <c:pt idx="909">
                  <c:v>151.59240117334824</c:v>
                </c:pt>
                <c:pt idx="910">
                  <c:v>151.5993853890208</c:v>
                </c:pt>
                <c:pt idx="911">
                  <c:v>151.92065930995949</c:v>
                </c:pt>
                <c:pt idx="912">
                  <c:v>150.87302695907249</c:v>
                </c:pt>
                <c:pt idx="913">
                  <c:v>151.65875122223775</c:v>
                </c:pt>
                <c:pt idx="914">
                  <c:v>152.4479675932393</c:v>
                </c:pt>
                <c:pt idx="915">
                  <c:v>152.11621734879174</c:v>
                </c:pt>
                <c:pt idx="916">
                  <c:v>152.22447269171673</c:v>
                </c:pt>
                <c:pt idx="917">
                  <c:v>151.89272244726916</c:v>
                </c:pt>
                <c:pt idx="918">
                  <c:v>151.56446431065791</c:v>
                </c:pt>
                <c:pt idx="919">
                  <c:v>151.47716161475066</c:v>
                </c:pt>
                <c:pt idx="920">
                  <c:v>150.98128230199748</c:v>
                </c:pt>
                <c:pt idx="921">
                  <c:v>150.34571867579268</c:v>
                </c:pt>
                <c:pt idx="922">
                  <c:v>150.60762676351445</c:v>
                </c:pt>
                <c:pt idx="923">
                  <c:v>149.99650789216369</c:v>
                </c:pt>
                <c:pt idx="924">
                  <c:v>152.22796479955301</c:v>
                </c:pt>
                <c:pt idx="925">
                  <c:v>152.64003352423524</c:v>
                </c:pt>
                <c:pt idx="926">
                  <c:v>152.8216231317223</c:v>
                </c:pt>
                <c:pt idx="927">
                  <c:v>151.85430926106997</c:v>
                </c:pt>
                <c:pt idx="928">
                  <c:v>150.88350328258136</c:v>
                </c:pt>
                <c:pt idx="929">
                  <c:v>150.97779019416117</c:v>
                </c:pt>
                <c:pt idx="930">
                  <c:v>151.29207989942731</c:v>
                </c:pt>
                <c:pt idx="931">
                  <c:v>151.67970386925549</c:v>
                </c:pt>
                <c:pt idx="932">
                  <c:v>152.65749406341666</c:v>
                </c:pt>
                <c:pt idx="933">
                  <c:v>152.42003073054897</c:v>
                </c:pt>
                <c:pt idx="934">
                  <c:v>150.71588210643944</c:v>
                </c:pt>
                <c:pt idx="935">
                  <c:v>149.88825254923873</c:v>
                </c:pt>
                <c:pt idx="936">
                  <c:v>149.0222098058388</c:v>
                </c:pt>
                <c:pt idx="937">
                  <c:v>148.03394328816876</c:v>
                </c:pt>
                <c:pt idx="938">
                  <c:v>147.55552451459701</c:v>
                </c:pt>
                <c:pt idx="939">
                  <c:v>148.6799832378824</c:v>
                </c:pt>
                <c:pt idx="940">
                  <c:v>149.13046514876379</c:v>
                </c:pt>
                <c:pt idx="941">
                  <c:v>149.06062299203799</c:v>
                </c:pt>
                <c:pt idx="942">
                  <c:v>146.90599245704706</c:v>
                </c:pt>
                <c:pt idx="943">
                  <c:v>146.97932672160917</c:v>
                </c:pt>
                <c:pt idx="944">
                  <c:v>148.40410671881548</c:v>
                </c:pt>
                <c:pt idx="945">
                  <c:v>148.00949853331468</c:v>
                </c:pt>
                <c:pt idx="946">
                  <c:v>148.91046235507753</c:v>
                </c:pt>
                <c:pt idx="947">
                  <c:v>149.80793406900406</c:v>
                </c:pt>
                <c:pt idx="948">
                  <c:v>150.36317921497414</c:v>
                </c:pt>
                <c:pt idx="949">
                  <c:v>151.40033524235227</c:v>
                </c:pt>
                <c:pt idx="950">
                  <c:v>151.44922475206033</c:v>
                </c:pt>
                <c:pt idx="951">
                  <c:v>151.75653024165385</c:v>
                </c:pt>
                <c:pt idx="952">
                  <c:v>152.96829166084649</c:v>
                </c:pt>
                <c:pt idx="953">
                  <c:v>153.20924710155052</c:v>
                </c:pt>
                <c:pt idx="954">
                  <c:v>152.8914652884481</c:v>
                </c:pt>
                <c:pt idx="955">
                  <c:v>153.52353680681659</c:v>
                </c:pt>
                <c:pt idx="956">
                  <c:v>153.75750803184803</c:v>
                </c:pt>
                <c:pt idx="957">
                  <c:v>153.8378265120827</c:v>
                </c:pt>
                <c:pt idx="958">
                  <c:v>155.21720910741723</c:v>
                </c:pt>
                <c:pt idx="959">
                  <c:v>154.19052940354797</c:v>
                </c:pt>
                <c:pt idx="960">
                  <c:v>153.63528425757787</c:v>
                </c:pt>
                <c:pt idx="961">
                  <c:v>153.32448666014807</c:v>
                </c:pt>
                <c:pt idx="962">
                  <c:v>153.12194440564323</c:v>
                </c:pt>
                <c:pt idx="963">
                  <c:v>152.77622572985052</c:v>
                </c:pt>
                <c:pt idx="964">
                  <c:v>153.4536946500908</c:v>
                </c:pt>
                <c:pt idx="965">
                  <c:v>152.63654141639893</c:v>
                </c:pt>
                <c:pt idx="966">
                  <c:v>151.55398798714904</c:v>
                </c:pt>
                <c:pt idx="967">
                  <c:v>152.64003352423524</c:v>
                </c:pt>
                <c:pt idx="968">
                  <c:v>151.66573543791031</c:v>
                </c:pt>
                <c:pt idx="969">
                  <c:v>150.53080039111609</c:v>
                </c:pt>
                <c:pt idx="970">
                  <c:v>151.27461936024585</c:v>
                </c:pt>
                <c:pt idx="971">
                  <c:v>150.44698980304511</c:v>
                </c:pt>
                <c:pt idx="972">
                  <c:v>148.9418913256041</c:v>
                </c:pt>
                <c:pt idx="973">
                  <c:v>149.52507333426453</c:v>
                </c:pt>
                <c:pt idx="974">
                  <c:v>151.98700935884898</c:v>
                </c:pt>
                <c:pt idx="975">
                  <c:v>152.6784467104344</c:v>
                </c:pt>
                <c:pt idx="976">
                  <c:v>152.93337058248358</c:v>
                </c:pt>
                <c:pt idx="977">
                  <c:v>153.45020254225449</c:v>
                </c:pt>
                <c:pt idx="978">
                  <c:v>154.73180611817293</c:v>
                </c:pt>
                <c:pt idx="979">
                  <c:v>154.40005587372536</c:v>
                </c:pt>
                <c:pt idx="980">
                  <c:v>155.16831959770917</c:v>
                </c:pt>
                <c:pt idx="981">
                  <c:v>155.56292778320994</c:v>
                </c:pt>
                <c:pt idx="982">
                  <c:v>155.50705405782929</c:v>
                </c:pt>
                <c:pt idx="983">
                  <c:v>154.55370861852214</c:v>
                </c:pt>
                <c:pt idx="984">
                  <c:v>154.91688783349628</c:v>
                </c:pt>
                <c:pt idx="985">
                  <c:v>154.96926945104065</c:v>
                </c:pt>
                <c:pt idx="986">
                  <c:v>155.29054337197931</c:v>
                </c:pt>
                <c:pt idx="987">
                  <c:v>155.84229641011314</c:v>
                </c:pt>
                <c:pt idx="988">
                  <c:v>155.6397541556083</c:v>
                </c:pt>
                <c:pt idx="989">
                  <c:v>156.80262606509288</c:v>
                </c:pt>
                <c:pt idx="990">
                  <c:v>157.49755552451458</c:v>
                </c:pt>
                <c:pt idx="991">
                  <c:v>157.80136890627182</c:v>
                </c:pt>
                <c:pt idx="992">
                  <c:v>157.81184522978069</c:v>
                </c:pt>
                <c:pt idx="993">
                  <c:v>158.10518228802906</c:v>
                </c:pt>
                <c:pt idx="994">
                  <c:v>157.95502165106859</c:v>
                </c:pt>
                <c:pt idx="995">
                  <c:v>159.04805140382734</c:v>
                </c:pt>
                <c:pt idx="996">
                  <c:v>158.83503282581364</c:v>
                </c:pt>
                <c:pt idx="997">
                  <c:v>158.29375611118871</c:v>
                </c:pt>
                <c:pt idx="998">
                  <c:v>158.96424081575637</c:v>
                </c:pt>
                <c:pt idx="999">
                  <c:v>159.47758066769103</c:v>
                </c:pt>
                <c:pt idx="1000">
                  <c:v>160.1410811565861</c:v>
                </c:pt>
                <c:pt idx="1001">
                  <c:v>159.72202821623131</c:v>
                </c:pt>
                <c:pt idx="1002">
                  <c:v>159.10043302137169</c:v>
                </c:pt>
                <c:pt idx="1003">
                  <c:v>159.32043581505798</c:v>
                </c:pt>
                <c:pt idx="1004">
                  <c:v>159.81282301997484</c:v>
                </c:pt>
                <c:pt idx="1005">
                  <c:v>159.73948875541276</c:v>
                </c:pt>
                <c:pt idx="1006">
                  <c:v>160.03981002933369</c:v>
                </c:pt>
                <c:pt idx="1007">
                  <c:v>159.24011733482328</c:v>
                </c:pt>
                <c:pt idx="1008">
                  <c:v>159.36932532476601</c:v>
                </c:pt>
                <c:pt idx="1009">
                  <c:v>159.50900963821761</c:v>
                </c:pt>
                <c:pt idx="1010">
                  <c:v>159.28202262885878</c:v>
                </c:pt>
                <c:pt idx="1011">
                  <c:v>159.26456208967733</c:v>
                </c:pt>
                <c:pt idx="1012">
                  <c:v>158.12264282721048</c:v>
                </c:pt>
                <c:pt idx="1013">
                  <c:v>157.61977929878475</c:v>
                </c:pt>
                <c:pt idx="1014">
                  <c:v>155.89467802765748</c:v>
                </c:pt>
                <c:pt idx="1015">
                  <c:v>156.90389719234531</c:v>
                </c:pt>
                <c:pt idx="1016">
                  <c:v>157.02262885877914</c:v>
                </c:pt>
                <c:pt idx="1017">
                  <c:v>156.11468082134377</c:v>
                </c:pt>
                <c:pt idx="1018">
                  <c:v>154.58862969688502</c:v>
                </c:pt>
                <c:pt idx="1019">
                  <c:v>153.87623969828189</c:v>
                </c:pt>
                <c:pt idx="1020">
                  <c:v>154.01592401173346</c:v>
                </c:pt>
                <c:pt idx="1021">
                  <c:v>154.73529822600923</c:v>
                </c:pt>
                <c:pt idx="1022">
                  <c:v>154.48037435396006</c:v>
                </c:pt>
                <c:pt idx="1023">
                  <c:v>156.13912557619778</c:v>
                </c:pt>
                <c:pt idx="1024">
                  <c:v>157.69660567118311</c:v>
                </c:pt>
                <c:pt idx="1025">
                  <c:v>158.45788517949433</c:v>
                </c:pt>
                <c:pt idx="1026">
                  <c:v>159.07948037435395</c:v>
                </c:pt>
                <c:pt idx="1027">
                  <c:v>159.74647297108532</c:v>
                </c:pt>
                <c:pt idx="1028">
                  <c:v>159.94203100991757</c:v>
                </c:pt>
                <c:pt idx="1029">
                  <c:v>159.74996507892163</c:v>
                </c:pt>
                <c:pt idx="1030">
                  <c:v>160.61251571448526</c:v>
                </c:pt>
                <c:pt idx="1031">
                  <c:v>160.54267355775946</c:v>
                </c:pt>
                <c:pt idx="1032">
                  <c:v>161.19918983098199</c:v>
                </c:pt>
                <c:pt idx="1033">
                  <c:v>160.37854448945384</c:v>
                </c:pt>
                <c:pt idx="1034">
                  <c:v>161.39474786981424</c:v>
                </c:pt>
                <c:pt idx="1035">
                  <c:v>161.77538762396981</c:v>
                </c:pt>
                <c:pt idx="1036">
                  <c:v>161.57982958513756</c:v>
                </c:pt>
                <c:pt idx="1037">
                  <c:v>161.45062159519486</c:v>
                </c:pt>
                <c:pt idx="1038">
                  <c:v>160.80458164548122</c:v>
                </c:pt>
                <c:pt idx="1039">
                  <c:v>160.94426595893282</c:v>
                </c:pt>
                <c:pt idx="1040">
                  <c:v>162.84397262187454</c:v>
                </c:pt>
                <c:pt idx="1041">
                  <c:v>162.67984355356893</c:v>
                </c:pt>
                <c:pt idx="1042">
                  <c:v>163.02207012152533</c:v>
                </c:pt>
                <c:pt idx="1043">
                  <c:v>162.91032267076406</c:v>
                </c:pt>
                <c:pt idx="1044">
                  <c:v>163.36080458164548</c:v>
                </c:pt>
                <c:pt idx="1045">
                  <c:v>163.36429668948176</c:v>
                </c:pt>
                <c:pt idx="1046">
                  <c:v>160.91632909624249</c:v>
                </c:pt>
                <c:pt idx="1047">
                  <c:v>157.74898728872748</c:v>
                </c:pt>
                <c:pt idx="1048">
                  <c:v>156.5162732225171</c:v>
                </c:pt>
                <c:pt idx="1049">
                  <c:v>157.2531079759743</c:v>
                </c:pt>
                <c:pt idx="1050">
                  <c:v>156.83405503561949</c:v>
                </c:pt>
                <c:pt idx="1051">
                  <c:v>158.0458164548121</c:v>
                </c:pt>
                <c:pt idx="1052">
                  <c:v>158.10169018019275</c:v>
                </c:pt>
                <c:pt idx="1053">
                  <c:v>155.14038273501885</c:v>
                </c:pt>
                <c:pt idx="1054">
                  <c:v>154.90291940215113</c:v>
                </c:pt>
                <c:pt idx="1055">
                  <c:v>154.96228523536806</c:v>
                </c:pt>
                <c:pt idx="1056">
                  <c:v>156.21944405643248</c:v>
                </c:pt>
                <c:pt idx="1057">
                  <c:v>157.88517949434276</c:v>
                </c:pt>
                <c:pt idx="1058">
                  <c:v>158.06676910182986</c:v>
                </c:pt>
                <c:pt idx="1059">
                  <c:v>159.44265958932812</c:v>
                </c:pt>
                <c:pt idx="1060">
                  <c:v>160.86743958653443</c:v>
                </c:pt>
                <c:pt idx="1061">
                  <c:v>160.45187875401592</c:v>
                </c:pt>
                <c:pt idx="1062">
                  <c:v>160.88140801787958</c:v>
                </c:pt>
                <c:pt idx="1063">
                  <c:v>161.06648973320296</c:v>
                </c:pt>
                <c:pt idx="1064">
                  <c:v>161.19569772314568</c:v>
                </c:pt>
                <c:pt idx="1065">
                  <c:v>160.68235787121105</c:v>
                </c:pt>
                <c:pt idx="1066">
                  <c:v>161.19569772314568</c:v>
                </c:pt>
                <c:pt idx="1067">
                  <c:v>161.25506355636261</c:v>
                </c:pt>
                <c:pt idx="1068">
                  <c:v>162.31317223075848</c:v>
                </c:pt>
                <c:pt idx="1069">
                  <c:v>162.39698281882943</c:v>
                </c:pt>
                <c:pt idx="1070">
                  <c:v>162.72524095544071</c:v>
                </c:pt>
                <c:pt idx="1071">
                  <c:v>162.90683056292778</c:v>
                </c:pt>
                <c:pt idx="1072">
                  <c:v>162.09316943707222</c:v>
                </c:pt>
                <c:pt idx="1073">
                  <c:v>160.57061042044978</c:v>
                </c:pt>
                <c:pt idx="1074">
                  <c:v>163.11286492526889</c:v>
                </c:pt>
                <c:pt idx="1075">
                  <c:v>163.33286771895516</c:v>
                </c:pt>
                <c:pt idx="1076">
                  <c:v>162.87889370023748</c:v>
                </c:pt>
                <c:pt idx="1077">
                  <c:v>162.17698002514317</c:v>
                </c:pt>
                <c:pt idx="1078">
                  <c:v>161.51697164408435</c:v>
                </c:pt>
                <c:pt idx="1079">
                  <c:v>161.29696885039809</c:v>
                </c:pt>
                <c:pt idx="1080">
                  <c:v>160.22489174465707</c:v>
                </c:pt>
                <c:pt idx="1081">
                  <c:v>158.6813800810169</c:v>
                </c:pt>
                <c:pt idx="1082">
                  <c:v>157.63025562229359</c:v>
                </c:pt>
                <c:pt idx="1083">
                  <c:v>158.84550914932251</c:v>
                </c:pt>
                <c:pt idx="1084">
                  <c:v>160.13060483307723</c:v>
                </c:pt>
                <c:pt idx="1085">
                  <c:v>159.47059645201844</c:v>
                </c:pt>
                <c:pt idx="1086">
                  <c:v>160.49029194021509</c:v>
                </c:pt>
                <c:pt idx="1087">
                  <c:v>160.39600502863527</c:v>
                </c:pt>
                <c:pt idx="1088">
                  <c:v>159.69409135354101</c:v>
                </c:pt>
                <c:pt idx="1089">
                  <c:v>160.71029473390138</c:v>
                </c:pt>
                <c:pt idx="1090">
                  <c:v>160.5671183126135</c:v>
                </c:pt>
                <c:pt idx="1091">
                  <c:v>161.12236345858361</c:v>
                </c:pt>
                <c:pt idx="1092">
                  <c:v>161.80681659449644</c:v>
                </c:pt>
                <c:pt idx="1093">
                  <c:v>162.64143036736974</c:v>
                </c:pt>
                <c:pt idx="1094">
                  <c:v>163.45159938538902</c:v>
                </c:pt>
                <c:pt idx="1095">
                  <c:v>164.12906830562929</c:v>
                </c:pt>
                <c:pt idx="1096">
                  <c:v>164.52367649113003</c:v>
                </c:pt>
                <c:pt idx="1097">
                  <c:v>164.01732085486799</c:v>
                </c:pt>
                <c:pt idx="1098">
                  <c:v>161.79634027098754</c:v>
                </c:pt>
                <c:pt idx="1099">
                  <c:v>161.53792429110209</c:v>
                </c:pt>
                <c:pt idx="1100">
                  <c:v>162.27825115239557</c:v>
                </c:pt>
                <c:pt idx="1101">
                  <c:v>159.8582204218466</c:v>
                </c:pt>
                <c:pt idx="1102">
                  <c:v>158.05978488615727</c:v>
                </c:pt>
                <c:pt idx="1103">
                  <c:v>159.38678586394747</c:v>
                </c:pt>
                <c:pt idx="1104">
                  <c:v>159.49853331470877</c:v>
                </c:pt>
                <c:pt idx="1105">
                  <c:v>161.51697164408435</c:v>
                </c:pt>
                <c:pt idx="1106">
                  <c:v>161.71602179075288</c:v>
                </c:pt>
                <c:pt idx="1107">
                  <c:v>163.37128090515435</c:v>
                </c:pt>
                <c:pt idx="1108">
                  <c:v>162.78111468082133</c:v>
                </c:pt>
                <c:pt idx="1109">
                  <c:v>163.0744517390697</c:v>
                </c:pt>
                <c:pt idx="1110">
                  <c:v>161.89761139823997</c:v>
                </c:pt>
                <c:pt idx="1111">
                  <c:v>161.96396144712949</c:v>
                </c:pt>
                <c:pt idx="1112">
                  <c:v>163.2141360525213</c:v>
                </c:pt>
                <c:pt idx="1113">
                  <c:v>163.17921497415838</c:v>
                </c:pt>
                <c:pt idx="1114">
                  <c:v>163.47604414024303</c:v>
                </c:pt>
                <c:pt idx="1115">
                  <c:v>163.3747730129906</c:v>
                </c:pt>
                <c:pt idx="1116">
                  <c:v>163.34334404246403</c:v>
                </c:pt>
                <c:pt idx="1117">
                  <c:v>162.15951948596171</c:v>
                </c:pt>
                <c:pt idx="1118">
                  <c:v>162.30269590724959</c:v>
                </c:pt>
                <c:pt idx="1119">
                  <c:v>163.34683615030031</c:v>
                </c:pt>
                <c:pt idx="1120">
                  <c:v>164.27224472691717</c:v>
                </c:pt>
                <c:pt idx="1121">
                  <c:v>165.42114820505657</c:v>
                </c:pt>
                <c:pt idx="1122">
                  <c:v>166.35354099734599</c:v>
                </c:pt>
                <c:pt idx="1123">
                  <c:v>166.09861712529681</c:v>
                </c:pt>
                <c:pt idx="1124">
                  <c:v>164.78907668668808</c:v>
                </c:pt>
                <c:pt idx="1125">
                  <c:v>165.01606369604693</c:v>
                </c:pt>
                <c:pt idx="1126">
                  <c:v>165.04400055873725</c:v>
                </c:pt>
                <c:pt idx="1127">
                  <c:v>164.63542394189133</c:v>
                </c:pt>
                <c:pt idx="1128">
                  <c:v>165.86115379242909</c:v>
                </c:pt>
                <c:pt idx="1129">
                  <c:v>166.59449643804999</c:v>
                </c:pt>
                <c:pt idx="1130">
                  <c:v>167.46403128928623</c:v>
                </c:pt>
                <c:pt idx="1131">
                  <c:v>167.77482888671602</c:v>
                </c:pt>
                <c:pt idx="1132">
                  <c:v>168.67928481631512</c:v>
                </c:pt>
                <c:pt idx="1133">
                  <c:v>168.80500069842154</c:v>
                </c:pt>
                <c:pt idx="1134">
                  <c:v>169.29040368766584</c:v>
                </c:pt>
                <c:pt idx="1135">
                  <c:v>169.11230618801508</c:v>
                </c:pt>
                <c:pt idx="1136">
                  <c:v>169.85612515714485</c:v>
                </c:pt>
                <c:pt idx="1137">
                  <c:v>169.55580388322392</c:v>
                </c:pt>
                <c:pt idx="1138">
                  <c:v>169.76533035340128</c:v>
                </c:pt>
                <c:pt idx="1139">
                  <c:v>170.61740466545606</c:v>
                </c:pt>
                <c:pt idx="1140">
                  <c:v>171.22503142897051</c:v>
                </c:pt>
                <c:pt idx="1141">
                  <c:v>171.94440564324626</c:v>
                </c:pt>
                <c:pt idx="1142">
                  <c:v>172.47869814219862</c:v>
                </c:pt>
                <c:pt idx="1143">
                  <c:v>172.25171113283977</c:v>
                </c:pt>
                <c:pt idx="1144">
                  <c:v>171.48344740885597</c:v>
                </c:pt>
                <c:pt idx="1145">
                  <c:v>171.8990082413745</c:v>
                </c:pt>
                <c:pt idx="1146">
                  <c:v>171.3332867718955</c:v>
                </c:pt>
                <c:pt idx="1147">
                  <c:v>171.82218186897609</c:v>
                </c:pt>
                <c:pt idx="1148">
                  <c:v>172.36345858360104</c:v>
                </c:pt>
                <c:pt idx="1149">
                  <c:v>172.72314569073893</c:v>
                </c:pt>
                <c:pt idx="1150">
                  <c:v>173.30632769939933</c:v>
                </c:pt>
                <c:pt idx="1151">
                  <c:v>172.95711691577034</c:v>
                </c:pt>
                <c:pt idx="1152">
                  <c:v>172.07710574102529</c:v>
                </c:pt>
                <c:pt idx="1153">
                  <c:v>171.62662383014387</c:v>
                </c:pt>
                <c:pt idx="1154">
                  <c:v>172.15044000558737</c:v>
                </c:pt>
                <c:pt idx="1155">
                  <c:v>171.83964240815754</c:v>
                </c:pt>
                <c:pt idx="1156">
                  <c:v>171.45551054616567</c:v>
                </c:pt>
                <c:pt idx="1157">
                  <c:v>172.75108255342923</c:v>
                </c:pt>
                <c:pt idx="1158">
                  <c:v>173.27489872887273</c:v>
                </c:pt>
                <c:pt idx="1159">
                  <c:v>174.54253387344602</c:v>
                </c:pt>
                <c:pt idx="1160">
                  <c:v>174.75555245145969</c:v>
                </c:pt>
                <c:pt idx="1161">
                  <c:v>173.79522279647995</c:v>
                </c:pt>
                <c:pt idx="1162">
                  <c:v>172.28663221120269</c:v>
                </c:pt>
                <c:pt idx="1163">
                  <c:v>172.3494901522559</c:v>
                </c:pt>
                <c:pt idx="1164">
                  <c:v>171.70694231037854</c:v>
                </c:pt>
                <c:pt idx="1165">
                  <c:v>171.88853191786561</c:v>
                </c:pt>
                <c:pt idx="1166">
                  <c:v>172.62885877915909</c:v>
                </c:pt>
                <c:pt idx="1167">
                  <c:v>172.81044838664619</c:v>
                </c:pt>
                <c:pt idx="1168">
                  <c:v>174.27014946221539</c:v>
                </c:pt>
                <c:pt idx="1169">
                  <c:v>172.904735298226</c:v>
                </c:pt>
                <c:pt idx="1170">
                  <c:v>173.85109652186057</c:v>
                </c:pt>
                <c:pt idx="1171">
                  <c:v>173.3168040229082</c:v>
                </c:pt>
                <c:pt idx="1172">
                  <c:v>175.0698421567258</c:v>
                </c:pt>
                <c:pt idx="1173">
                  <c:v>175.47492666573544</c:v>
                </c:pt>
                <c:pt idx="1174">
                  <c:v>175.61461097918703</c:v>
                </c:pt>
                <c:pt idx="1175">
                  <c:v>175.3107975974298</c:v>
                </c:pt>
                <c:pt idx="1176">
                  <c:v>175.23047911719513</c:v>
                </c:pt>
                <c:pt idx="1177">
                  <c:v>175.22349490152254</c:v>
                </c:pt>
                <c:pt idx="1178">
                  <c:v>175.24793965637656</c:v>
                </c:pt>
                <c:pt idx="1179">
                  <c:v>172.67425618103087</c:v>
                </c:pt>
                <c:pt idx="1180">
                  <c:v>171.19011035060763</c:v>
                </c:pt>
                <c:pt idx="1181">
                  <c:v>171.70345020254226</c:v>
                </c:pt>
                <c:pt idx="1182">
                  <c:v>171.14122084089956</c:v>
                </c:pt>
                <c:pt idx="1183">
                  <c:v>170.79899427294313</c:v>
                </c:pt>
                <c:pt idx="1184">
                  <c:v>170.05168319597709</c:v>
                </c:pt>
                <c:pt idx="1185">
                  <c:v>169.74088559854727</c:v>
                </c:pt>
                <c:pt idx="1186">
                  <c:v>171.27741304651488</c:v>
                </c:pt>
                <c:pt idx="1187">
                  <c:v>171.46947897751082</c:v>
                </c:pt>
                <c:pt idx="1188">
                  <c:v>172.16440843693252</c:v>
                </c:pt>
                <c:pt idx="1189">
                  <c:v>172.90822740606228</c:v>
                </c:pt>
                <c:pt idx="1190">
                  <c:v>172.74060622992039</c:v>
                </c:pt>
                <c:pt idx="1191">
                  <c:v>174.30157843274199</c:v>
                </c:pt>
                <c:pt idx="1192">
                  <c:v>175.67048470456768</c:v>
                </c:pt>
                <c:pt idx="1193">
                  <c:v>176.18033244866601</c:v>
                </c:pt>
                <c:pt idx="1194">
                  <c:v>176.85780136890625</c:v>
                </c:pt>
                <c:pt idx="1195">
                  <c:v>176.97653303534014</c:v>
                </c:pt>
                <c:pt idx="1196">
                  <c:v>178.40131303254645</c:v>
                </c:pt>
                <c:pt idx="1197">
                  <c:v>178.73655538483027</c:v>
                </c:pt>
                <c:pt idx="1198">
                  <c:v>178.93909763933507</c:v>
                </c:pt>
                <c:pt idx="1199">
                  <c:v>178.65274479675929</c:v>
                </c:pt>
                <c:pt idx="1200">
                  <c:v>179.11370303114958</c:v>
                </c:pt>
                <c:pt idx="1201">
                  <c:v>179.56767704986731</c:v>
                </c:pt>
                <c:pt idx="1202">
                  <c:v>179.672440284956</c:v>
                </c:pt>
                <c:pt idx="1203">
                  <c:v>180.01815896074871</c:v>
                </c:pt>
                <c:pt idx="1204">
                  <c:v>182.04358150579688</c:v>
                </c:pt>
                <c:pt idx="1205">
                  <c:v>182.33691856404525</c:v>
                </c:pt>
                <c:pt idx="1206">
                  <c:v>181.81659449643803</c:v>
                </c:pt>
                <c:pt idx="1207">
                  <c:v>181.15658611537924</c:v>
                </c:pt>
                <c:pt idx="1208">
                  <c:v>181.40103366391955</c:v>
                </c:pt>
                <c:pt idx="1209">
                  <c:v>181.18452297806957</c:v>
                </c:pt>
                <c:pt idx="1210">
                  <c:v>180.47562508730266</c:v>
                </c:pt>
                <c:pt idx="1211">
                  <c:v>180.18927224472691</c:v>
                </c:pt>
                <c:pt idx="1212">
                  <c:v>180.66070680262607</c:v>
                </c:pt>
                <c:pt idx="1213">
                  <c:v>180.70959631233413</c:v>
                </c:pt>
                <c:pt idx="1214">
                  <c:v>182.01913675094286</c:v>
                </c:pt>
                <c:pt idx="1215">
                  <c:v>182.93756111188713</c:v>
                </c:pt>
                <c:pt idx="1216">
                  <c:v>181.78516552591142</c:v>
                </c:pt>
                <c:pt idx="1217">
                  <c:v>180.16482748987286</c:v>
                </c:pt>
                <c:pt idx="1218">
                  <c:v>181.83754714345579</c:v>
                </c:pt>
                <c:pt idx="1219">
                  <c:v>180.50705405782929</c:v>
                </c:pt>
                <c:pt idx="1220">
                  <c:v>181.75373655538482</c:v>
                </c:pt>
                <c:pt idx="1221">
                  <c:v>181.27880988964938</c:v>
                </c:pt>
                <c:pt idx="1222">
                  <c:v>181.67691018298643</c:v>
                </c:pt>
                <c:pt idx="1223">
                  <c:v>180.19974856823578</c:v>
                </c:pt>
                <c:pt idx="1224">
                  <c:v>178.10448386646178</c:v>
                </c:pt>
                <c:pt idx="1225">
                  <c:v>180.88070959631233</c:v>
                </c:pt>
                <c:pt idx="1226">
                  <c:v>180.59784886157283</c:v>
                </c:pt>
                <c:pt idx="1227">
                  <c:v>177.818131023886</c:v>
                </c:pt>
                <c:pt idx="1228">
                  <c:v>178.19527867020531</c:v>
                </c:pt>
                <c:pt idx="1229">
                  <c:v>175.74731107696604</c:v>
                </c:pt>
                <c:pt idx="1230">
                  <c:v>174.14792568794525</c:v>
                </c:pt>
                <c:pt idx="1231">
                  <c:v>172.0701215253527</c:v>
                </c:pt>
                <c:pt idx="1232">
                  <c:v>171.9374214275737</c:v>
                </c:pt>
                <c:pt idx="1233">
                  <c:v>169.08436932532476</c:v>
                </c:pt>
                <c:pt idx="1234">
                  <c:v>168.46626623830144</c:v>
                </c:pt>
                <c:pt idx="1235">
                  <c:v>170.84439167481491</c:v>
                </c:pt>
                <c:pt idx="1236">
                  <c:v>172.05615309400753</c:v>
                </c:pt>
                <c:pt idx="1237">
                  <c:v>175.35619499930155</c:v>
                </c:pt>
                <c:pt idx="1238">
                  <c:v>175.9358849001257</c:v>
                </c:pt>
                <c:pt idx="1239">
                  <c:v>177.48288867160218</c:v>
                </c:pt>
                <c:pt idx="1240">
                  <c:v>178.05210224891744</c:v>
                </c:pt>
                <c:pt idx="1241">
                  <c:v>177.39558597569493</c:v>
                </c:pt>
                <c:pt idx="1242">
                  <c:v>178.71909484564881</c:v>
                </c:pt>
                <c:pt idx="1243">
                  <c:v>178.757508031848</c:v>
                </c:pt>
                <c:pt idx="1244">
                  <c:v>181.03785444894535</c:v>
                </c:pt>
                <c:pt idx="1245">
                  <c:v>184.42869115798294</c:v>
                </c:pt>
              </c:numCache>
            </c:numRef>
          </c:val>
          <c:smooth val="0"/>
        </c:ser>
        <c:ser>
          <c:idx val="2"/>
          <c:order val="2"/>
          <c:tx>
            <c:strRef>
              <c:f>Sheet1!$D$1</c:f>
              <c:strCache>
                <c:ptCount val="1"/>
              </c:strCache>
            </c:strRef>
          </c:tx>
          <c:spPr>
            <a:ln w="12700">
              <a:solidFill>
                <a:srgbClr val="665C8C"/>
              </a:solidFill>
            </a:ln>
          </c:spPr>
          <c:marker>
            <c:symbol val="none"/>
          </c:marker>
          <c:cat>
            <c:numRef>
              <c:f>Sheet1!$A$2:$A$1247</c:f>
              <c:numCache>
                <c:formatCode>m/d/yyyy</c:formatCode>
                <c:ptCount val="1246"/>
                <c:pt idx="0">
                  <c:v>40179</c:v>
                </c:pt>
                <c:pt idx="1">
                  <c:v>40182</c:v>
                </c:pt>
                <c:pt idx="2">
                  <c:v>40183</c:v>
                </c:pt>
                <c:pt idx="3">
                  <c:v>40184</c:v>
                </c:pt>
                <c:pt idx="4">
                  <c:v>40185</c:v>
                </c:pt>
                <c:pt idx="5">
                  <c:v>40186</c:v>
                </c:pt>
                <c:pt idx="6">
                  <c:v>40189</c:v>
                </c:pt>
                <c:pt idx="7">
                  <c:v>40190</c:v>
                </c:pt>
                <c:pt idx="8">
                  <c:v>40191</c:v>
                </c:pt>
                <c:pt idx="9">
                  <c:v>40192</c:v>
                </c:pt>
                <c:pt idx="10">
                  <c:v>40193</c:v>
                </c:pt>
                <c:pt idx="11">
                  <c:v>40196</c:v>
                </c:pt>
                <c:pt idx="12">
                  <c:v>40197</c:v>
                </c:pt>
                <c:pt idx="13">
                  <c:v>40198</c:v>
                </c:pt>
                <c:pt idx="14">
                  <c:v>40199</c:v>
                </c:pt>
                <c:pt idx="15">
                  <c:v>40200</c:v>
                </c:pt>
                <c:pt idx="16">
                  <c:v>40203</c:v>
                </c:pt>
                <c:pt idx="17">
                  <c:v>40204</c:v>
                </c:pt>
                <c:pt idx="18">
                  <c:v>40205</c:v>
                </c:pt>
                <c:pt idx="19">
                  <c:v>40206</c:v>
                </c:pt>
                <c:pt idx="20">
                  <c:v>40207</c:v>
                </c:pt>
                <c:pt idx="21">
                  <c:v>40210</c:v>
                </c:pt>
                <c:pt idx="22">
                  <c:v>40211</c:v>
                </c:pt>
                <c:pt idx="23">
                  <c:v>40212</c:v>
                </c:pt>
                <c:pt idx="24">
                  <c:v>40213</c:v>
                </c:pt>
                <c:pt idx="25">
                  <c:v>40214</c:v>
                </c:pt>
                <c:pt idx="26">
                  <c:v>40217</c:v>
                </c:pt>
                <c:pt idx="27">
                  <c:v>40218</c:v>
                </c:pt>
                <c:pt idx="28">
                  <c:v>40219</c:v>
                </c:pt>
                <c:pt idx="29">
                  <c:v>40220</c:v>
                </c:pt>
                <c:pt idx="30">
                  <c:v>40221</c:v>
                </c:pt>
                <c:pt idx="31">
                  <c:v>40224</c:v>
                </c:pt>
                <c:pt idx="32">
                  <c:v>40225</c:v>
                </c:pt>
                <c:pt idx="33">
                  <c:v>40226</c:v>
                </c:pt>
                <c:pt idx="34">
                  <c:v>40227</c:v>
                </c:pt>
                <c:pt idx="35">
                  <c:v>40228</c:v>
                </c:pt>
                <c:pt idx="36">
                  <c:v>40231</c:v>
                </c:pt>
                <c:pt idx="37">
                  <c:v>40232</c:v>
                </c:pt>
                <c:pt idx="38">
                  <c:v>40233</c:v>
                </c:pt>
                <c:pt idx="39">
                  <c:v>40234</c:v>
                </c:pt>
                <c:pt idx="40">
                  <c:v>40235</c:v>
                </c:pt>
                <c:pt idx="41">
                  <c:v>40238</c:v>
                </c:pt>
                <c:pt idx="42">
                  <c:v>40239</c:v>
                </c:pt>
                <c:pt idx="43">
                  <c:v>40240</c:v>
                </c:pt>
                <c:pt idx="44">
                  <c:v>40241</c:v>
                </c:pt>
                <c:pt idx="45">
                  <c:v>40242</c:v>
                </c:pt>
                <c:pt idx="46">
                  <c:v>40245</c:v>
                </c:pt>
                <c:pt idx="47">
                  <c:v>40246</c:v>
                </c:pt>
                <c:pt idx="48">
                  <c:v>40247</c:v>
                </c:pt>
                <c:pt idx="49">
                  <c:v>40248</c:v>
                </c:pt>
                <c:pt idx="50">
                  <c:v>40249</c:v>
                </c:pt>
                <c:pt idx="51">
                  <c:v>40252</c:v>
                </c:pt>
                <c:pt idx="52">
                  <c:v>40253</c:v>
                </c:pt>
                <c:pt idx="53">
                  <c:v>40254</c:v>
                </c:pt>
                <c:pt idx="54">
                  <c:v>40255</c:v>
                </c:pt>
                <c:pt idx="55">
                  <c:v>40256</c:v>
                </c:pt>
                <c:pt idx="56">
                  <c:v>40259</c:v>
                </c:pt>
                <c:pt idx="57">
                  <c:v>40260</c:v>
                </c:pt>
                <c:pt idx="58">
                  <c:v>40261</c:v>
                </c:pt>
                <c:pt idx="59">
                  <c:v>40262</c:v>
                </c:pt>
                <c:pt idx="60">
                  <c:v>40263</c:v>
                </c:pt>
                <c:pt idx="61">
                  <c:v>40266</c:v>
                </c:pt>
                <c:pt idx="62">
                  <c:v>40267</c:v>
                </c:pt>
                <c:pt idx="63">
                  <c:v>40268</c:v>
                </c:pt>
                <c:pt idx="64">
                  <c:v>40269</c:v>
                </c:pt>
                <c:pt idx="65">
                  <c:v>40270</c:v>
                </c:pt>
                <c:pt idx="66">
                  <c:v>40273</c:v>
                </c:pt>
                <c:pt idx="67">
                  <c:v>40274</c:v>
                </c:pt>
                <c:pt idx="68">
                  <c:v>40275</c:v>
                </c:pt>
                <c:pt idx="69">
                  <c:v>40276</c:v>
                </c:pt>
                <c:pt idx="70">
                  <c:v>40277</c:v>
                </c:pt>
                <c:pt idx="71">
                  <c:v>40280</c:v>
                </c:pt>
                <c:pt idx="72">
                  <c:v>40281</c:v>
                </c:pt>
                <c:pt idx="73">
                  <c:v>40282</c:v>
                </c:pt>
                <c:pt idx="74">
                  <c:v>40283</c:v>
                </c:pt>
                <c:pt idx="75">
                  <c:v>40284</c:v>
                </c:pt>
                <c:pt idx="76">
                  <c:v>40287</c:v>
                </c:pt>
                <c:pt idx="77">
                  <c:v>40288</c:v>
                </c:pt>
                <c:pt idx="78">
                  <c:v>40289</c:v>
                </c:pt>
                <c:pt idx="79">
                  <c:v>40290</c:v>
                </c:pt>
                <c:pt idx="80">
                  <c:v>40291</c:v>
                </c:pt>
                <c:pt idx="81">
                  <c:v>40294</c:v>
                </c:pt>
                <c:pt idx="82">
                  <c:v>40295</c:v>
                </c:pt>
                <c:pt idx="83">
                  <c:v>40296</c:v>
                </c:pt>
                <c:pt idx="84">
                  <c:v>40297</c:v>
                </c:pt>
                <c:pt idx="85">
                  <c:v>40298</c:v>
                </c:pt>
                <c:pt idx="86">
                  <c:v>40301</c:v>
                </c:pt>
                <c:pt idx="87">
                  <c:v>40302</c:v>
                </c:pt>
                <c:pt idx="88">
                  <c:v>40303</c:v>
                </c:pt>
                <c:pt idx="89">
                  <c:v>40304</c:v>
                </c:pt>
                <c:pt idx="90">
                  <c:v>40305</c:v>
                </c:pt>
                <c:pt idx="91">
                  <c:v>40308</c:v>
                </c:pt>
                <c:pt idx="92">
                  <c:v>40309</c:v>
                </c:pt>
                <c:pt idx="93">
                  <c:v>40310</c:v>
                </c:pt>
                <c:pt idx="94">
                  <c:v>40311</c:v>
                </c:pt>
                <c:pt idx="95">
                  <c:v>40312</c:v>
                </c:pt>
                <c:pt idx="96">
                  <c:v>40315</c:v>
                </c:pt>
                <c:pt idx="97">
                  <c:v>40316</c:v>
                </c:pt>
                <c:pt idx="98">
                  <c:v>40317</c:v>
                </c:pt>
                <c:pt idx="99">
                  <c:v>40318</c:v>
                </c:pt>
                <c:pt idx="100">
                  <c:v>40319</c:v>
                </c:pt>
                <c:pt idx="101">
                  <c:v>40322</c:v>
                </c:pt>
                <c:pt idx="102">
                  <c:v>40323</c:v>
                </c:pt>
                <c:pt idx="103">
                  <c:v>40324</c:v>
                </c:pt>
                <c:pt idx="104">
                  <c:v>40325</c:v>
                </c:pt>
                <c:pt idx="105">
                  <c:v>40326</c:v>
                </c:pt>
                <c:pt idx="106">
                  <c:v>40329</c:v>
                </c:pt>
                <c:pt idx="107">
                  <c:v>40330</c:v>
                </c:pt>
                <c:pt idx="108">
                  <c:v>40331</c:v>
                </c:pt>
                <c:pt idx="109">
                  <c:v>40332</c:v>
                </c:pt>
                <c:pt idx="110">
                  <c:v>40333</c:v>
                </c:pt>
                <c:pt idx="111">
                  <c:v>40336</c:v>
                </c:pt>
                <c:pt idx="112">
                  <c:v>40337</c:v>
                </c:pt>
                <c:pt idx="113">
                  <c:v>40338</c:v>
                </c:pt>
                <c:pt idx="114">
                  <c:v>40339</c:v>
                </c:pt>
                <c:pt idx="115">
                  <c:v>40340</c:v>
                </c:pt>
                <c:pt idx="116">
                  <c:v>40343</c:v>
                </c:pt>
                <c:pt idx="117">
                  <c:v>40344</c:v>
                </c:pt>
                <c:pt idx="118">
                  <c:v>40345</c:v>
                </c:pt>
                <c:pt idx="119">
                  <c:v>40346</c:v>
                </c:pt>
                <c:pt idx="120">
                  <c:v>40347</c:v>
                </c:pt>
                <c:pt idx="121">
                  <c:v>40350</c:v>
                </c:pt>
                <c:pt idx="122">
                  <c:v>40351</c:v>
                </c:pt>
                <c:pt idx="123">
                  <c:v>40352</c:v>
                </c:pt>
                <c:pt idx="124">
                  <c:v>40353</c:v>
                </c:pt>
                <c:pt idx="125">
                  <c:v>40354</c:v>
                </c:pt>
                <c:pt idx="126">
                  <c:v>40357</c:v>
                </c:pt>
                <c:pt idx="127">
                  <c:v>40358</c:v>
                </c:pt>
                <c:pt idx="128">
                  <c:v>40359</c:v>
                </c:pt>
                <c:pt idx="129">
                  <c:v>40360</c:v>
                </c:pt>
                <c:pt idx="130">
                  <c:v>40361</c:v>
                </c:pt>
                <c:pt idx="131">
                  <c:v>40364</c:v>
                </c:pt>
                <c:pt idx="132">
                  <c:v>40365</c:v>
                </c:pt>
                <c:pt idx="133">
                  <c:v>40366</c:v>
                </c:pt>
                <c:pt idx="134">
                  <c:v>40367</c:v>
                </c:pt>
                <c:pt idx="135">
                  <c:v>40368</c:v>
                </c:pt>
                <c:pt idx="136">
                  <c:v>40371</c:v>
                </c:pt>
                <c:pt idx="137">
                  <c:v>40372</c:v>
                </c:pt>
                <c:pt idx="138">
                  <c:v>40373</c:v>
                </c:pt>
                <c:pt idx="139">
                  <c:v>40374</c:v>
                </c:pt>
                <c:pt idx="140">
                  <c:v>40375</c:v>
                </c:pt>
                <c:pt idx="141">
                  <c:v>40378</c:v>
                </c:pt>
                <c:pt idx="142">
                  <c:v>40379</c:v>
                </c:pt>
                <c:pt idx="143">
                  <c:v>40380</c:v>
                </c:pt>
                <c:pt idx="144">
                  <c:v>40381</c:v>
                </c:pt>
                <c:pt idx="145">
                  <c:v>40382</c:v>
                </c:pt>
                <c:pt idx="146">
                  <c:v>40385</c:v>
                </c:pt>
                <c:pt idx="147">
                  <c:v>40386</c:v>
                </c:pt>
                <c:pt idx="148">
                  <c:v>40387</c:v>
                </c:pt>
                <c:pt idx="149">
                  <c:v>40388</c:v>
                </c:pt>
                <c:pt idx="150">
                  <c:v>40389</c:v>
                </c:pt>
                <c:pt idx="151">
                  <c:v>40392</c:v>
                </c:pt>
                <c:pt idx="152">
                  <c:v>40393</c:v>
                </c:pt>
                <c:pt idx="153">
                  <c:v>40394</c:v>
                </c:pt>
                <c:pt idx="154">
                  <c:v>40395</c:v>
                </c:pt>
                <c:pt idx="155">
                  <c:v>40396</c:v>
                </c:pt>
                <c:pt idx="156">
                  <c:v>40399</c:v>
                </c:pt>
                <c:pt idx="157">
                  <c:v>40400</c:v>
                </c:pt>
                <c:pt idx="158">
                  <c:v>40401</c:v>
                </c:pt>
                <c:pt idx="159">
                  <c:v>40402</c:v>
                </c:pt>
                <c:pt idx="160">
                  <c:v>40403</c:v>
                </c:pt>
                <c:pt idx="161">
                  <c:v>40406</c:v>
                </c:pt>
                <c:pt idx="162">
                  <c:v>40407</c:v>
                </c:pt>
                <c:pt idx="163">
                  <c:v>40408</c:v>
                </c:pt>
                <c:pt idx="164">
                  <c:v>40409</c:v>
                </c:pt>
                <c:pt idx="165">
                  <c:v>40410</c:v>
                </c:pt>
                <c:pt idx="166">
                  <c:v>40413</c:v>
                </c:pt>
                <c:pt idx="167">
                  <c:v>40414</c:v>
                </c:pt>
                <c:pt idx="168">
                  <c:v>40415</c:v>
                </c:pt>
                <c:pt idx="169">
                  <c:v>40416</c:v>
                </c:pt>
                <c:pt idx="170">
                  <c:v>40417</c:v>
                </c:pt>
                <c:pt idx="171">
                  <c:v>40420</c:v>
                </c:pt>
                <c:pt idx="172">
                  <c:v>40421</c:v>
                </c:pt>
                <c:pt idx="173">
                  <c:v>40422</c:v>
                </c:pt>
                <c:pt idx="174">
                  <c:v>40423</c:v>
                </c:pt>
                <c:pt idx="175">
                  <c:v>40424</c:v>
                </c:pt>
                <c:pt idx="176">
                  <c:v>40427</c:v>
                </c:pt>
                <c:pt idx="177">
                  <c:v>40428</c:v>
                </c:pt>
                <c:pt idx="178">
                  <c:v>40429</c:v>
                </c:pt>
                <c:pt idx="179">
                  <c:v>40430</c:v>
                </c:pt>
                <c:pt idx="180">
                  <c:v>40431</c:v>
                </c:pt>
                <c:pt idx="181">
                  <c:v>40434</c:v>
                </c:pt>
                <c:pt idx="182">
                  <c:v>40435</c:v>
                </c:pt>
                <c:pt idx="183">
                  <c:v>40436</c:v>
                </c:pt>
                <c:pt idx="184">
                  <c:v>40437</c:v>
                </c:pt>
                <c:pt idx="185">
                  <c:v>40438</c:v>
                </c:pt>
                <c:pt idx="186">
                  <c:v>40441</c:v>
                </c:pt>
                <c:pt idx="187">
                  <c:v>40442</c:v>
                </c:pt>
                <c:pt idx="188">
                  <c:v>40443</c:v>
                </c:pt>
                <c:pt idx="189">
                  <c:v>40444</c:v>
                </c:pt>
                <c:pt idx="190">
                  <c:v>40445</c:v>
                </c:pt>
                <c:pt idx="191">
                  <c:v>40448</c:v>
                </c:pt>
                <c:pt idx="192">
                  <c:v>40449</c:v>
                </c:pt>
                <c:pt idx="193">
                  <c:v>40450</c:v>
                </c:pt>
                <c:pt idx="194">
                  <c:v>40451</c:v>
                </c:pt>
                <c:pt idx="195">
                  <c:v>40452</c:v>
                </c:pt>
                <c:pt idx="196">
                  <c:v>40455</c:v>
                </c:pt>
                <c:pt idx="197">
                  <c:v>40456</c:v>
                </c:pt>
                <c:pt idx="198">
                  <c:v>40457</c:v>
                </c:pt>
                <c:pt idx="199">
                  <c:v>40458</c:v>
                </c:pt>
                <c:pt idx="200">
                  <c:v>40459</c:v>
                </c:pt>
                <c:pt idx="201">
                  <c:v>40462</c:v>
                </c:pt>
                <c:pt idx="202">
                  <c:v>40463</c:v>
                </c:pt>
                <c:pt idx="203">
                  <c:v>40464</c:v>
                </c:pt>
                <c:pt idx="204">
                  <c:v>40465</c:v>
                </c:pt>
                <c:pt idx="205">
                  <c:v>40466</c:v>
                </c:pt>
                <c:pt idx="206">
                  <c:v>40469</c:v>
                </c:pt>
                <c:pt idx="207">
                  <c:v>40470</c:v>
                </c:pt>
                <c:pt idx="208">
                  <c:v>40471</c:v>
                </c:pt>
                <c:pt idx="209">
                  <c:v>40472</c:v>
                </c:pt>
                <c:pt idx="210">
                  <c:v>40473</c:v>
                </c:pt>
                <c:pt idx="211">
                  <c:v>40476</c:v>
                </c:pt>
                <c:pt idx="212">
                  <c:v>40477</c:v>
                </c:pt>
                <c:pt idx="213">
                  <c:v>40478</c:v>
                </c:pt>
                <c:pt idx="214">
                  <c:v>40479</c:v>
                </c:pt>
                <c:pt idx="215">
                  <c:v>40480</c:v>
                </c:pt>
                <c:pt idx="216">
                  <c:v>40483</c:v>
                </c:pt>
                <c:pt idx="217">
                  <c:v>40484</c:v>
                </c:pt>
                <c:pt idx="218">
                  <c:v>40485</c:v>
                </c:pt>
                <c:pt idx="219">
                  <c:v>40486</c:v>
                </c:pt>
                <c:pt idx="220">
                  <c:v>40487</c:v>
                </c:pt>
                <c:pt idx="221">
                  <c:v>40490</c:v>
                </c:pt>
                <c:pt idx="222">
                  <c:v>40491</c:v>
                </c:pt>
                <c:pt idx="223">
                  <c:v>40492</c:v>
                </c:pt>
                <c:pt idx="224">
                  <c:v>40493</c:v>
                </c:pt>
                <c:pt idx="225">
                  <c:v>40494</c:v>
                </c:pt>
                <c:pt idx="226">
                  <c:v>40497</c:v>
                </c:pt>
                <c:pt idx="227">
                  <c:v>40498</c:v>
                </c:pt>
                <c:pt idx="228">
                  <c:v>40499</c:v>
                </c:pt>
                <c:pt idx="229">
                  <c:v>40500</c:v>
                </c:pt>
                <c:pt idx="230">
                  <c:v>40501</c:v>
                </c:pt>
                <c:pt idx="231">
                  <c:v>40504</c:v>
                </c:pt>
                <c:pt idx="232">
                  <c:v>40505</c:v>
                </c:pt>
                <c:pt idx="233">
                  <c:v>40506</c:v>
                </c:pt>
                <c:pt idx="234">
                  <c:v>40507</c:v>
                </c:pt>
                <c:pt idx="235">
                  <c:v>40508</c:v>
                </c:pt>
                <c:pt idx="236">
                  <c:v>40511</c:v>
                </c:pt>
                <c:pt idx="237">
                  <c:v>40512</c:v>
                </c:pt>
                <c:pt idx="238">
                  <c:v>40513</c:v>
                </c:pt>
                <c:pt idx="239">
                  <c:v>40514</c:v>
                </c:pt>
                <c:pt idx="240">
                  <c:v>40515</c:v>
                </c:pt>
                <c:pt idx="241">
                  <c:v>40518</c:v>
                </c:pt>
                <c:pt idx="242">
                  <c:v>40519</c:v>
                </c:pt>
                <c:pt idx="243">
                  <c:v>40520</c:v>
                </c:pt>
                <c:pt idx="244">
                  <c:v>40521</c:v>
                </c:pt>
                <c:pt idx="245">
                  <c:v>40522</c:v>
                </c:pt>
                <c:pt idx="246">
                  <c:v>40525</c:v>
                </c:pt>
                <c:pt idx="247">
                  <c:v>40526</c:v>
                </c:pt>
                <c:pt idx="248">
                  <c:v>40527</c:v>
                </c:pt>
                <c:pt idx="249">
                  <c:v>40528</c:v>
                </c:pt>
                <c:pt idx="250">
                  <c:v>40529</c:v>
                </c:pt>
                <c:pt idx="251">
                  <c:v>40532</c:v>
                </c:pt>
                <c:pt idx="252">
                  <c:v>40533</c:v>
                </c:pt>
                <c:pt idx="253">
                  <c:v>40534</c:v>
                </c:pt>
                <c:pt idx="254">
                  <c:v>40535</c:v>
                </c:pt>
                <c:pt idx="255">
                  <c:v>40536</c:v>
                </c:pt>
                <c:pt idx="256">
                  <c:v>40539</c:v>
                </c:pt>
                <c:pt idx="257">
                  <c:v>40540</c:v>
                </c:pt>
                <c:pt idx="258">
                  <c:v>40541</c:v>
                </c:pt>
                <c:pt idx="259">
                  <c:v>40542</c:v>
                </c:pt>
                <c:pt idx="260">
                  <c:v>40543</c:v>
                </c:pt>
                <c:pt idx="261">
                  <c:v>40546</c:v>
                </c:pt>
                <c:pt idx="262">
                  <c:v>40547</c:v>
                </c:pt>
                <c:pt idx="263">
                  <c:v>40548</c:v>
                </c:pt>
                <c:pt idx="264">
                  <c:v>40549</c:v>
                </c:pt>
                <c:pt idx="265">
                  <c:v>40550</c:v>
                </c:pt>
                <c:pt idx="266">
                  <c:v>40553</c:v>
                </c:pt>
                <c:pt idx="267">
                  <c:v>40554</c:v>
                </c:pt>
                <c:pt idx="268">
                  <c:v>40555</c:v>
                </c:pt>
                <c:pt idx="269">
                  <c:v>40556</c:v>
                </c:pt>
                <c:pt idx="270">
                  <c:v>40557</c:v>
                </c:pt>
                <c:pt idx="271">
                  <c:v>40560</c:v>
                </c:pt>
                <c:pt idx="272">
                  <c:v>40561</c:v>
                </c:pt>
                <c:pt idx="273">
                  <c:v>40562</c:v>
                </c:pt>
                <c:pt idx="274">
                  <c:v>40563</c:v>
                </c:pt>
                <c:pt idx="275">
                  <c:v>40564</c:v>
                </c:pt>
                <c:pt idx="276">
                  <c:v>40567</c:v>
                </c:pt>
                <c:pt idx="277">
                  <c:v>40568</c:v>
                </c:pt>
                <c:pt idx="278">
                  <c:v>40569</c:v>
                </c:pt>
                <c:pt idx="279">
                  <c:v>40570</c:v>
                </c:pt>
                <c:pt idx="280">
                  <c:v>40571</c:v>
                </c:pt>
                <c:pt idx="281">
                  <c:v>40574</c:v>
                </c:pt>
                <c:pt idx="282">
                  <c:v>40575</c:v>
                </c:pt>
                <c:pt idx="283">
                  <c:v>40576</c:v>
                </c:pt>
                <c:pt idx="284">
                  <c:v>40577</c:v>
                </c:pt>
                <c:pt idx="285">
                  <c:v>40578</c:v>
                </c:pt>
                <c:pt idx="286">
                  <c:v>40581</c:v>
                </c:pt>
                <c:pt idx="287">
                  <c:v>40582</c:v>
                </c:pt>
                <c:pt idx="288">
                  <c:v>40583</c:v>
                </c:pt>
                <c:pt idx="289">
                  <c:v>40584</c:v>
                </c:pt>
                <c:pt idx="290">
                  <c:v>40585</c:v>
                </c:pt>
                <c:pt idx="291">
                  <c:v>40588</c:v>
                </c:pt>
                <c:pt idx="292">
                  <c:v>40589</c:v>
                </c:pt>
                <c:pt idx="293">
                  <c:v>40590</c:v>
                </c:pt>
                <c:pt idx="294">
                  <c:v>40591</c:v>
                </c:pt>
                <c:pt idx="295">
                  <c:v>40592</c:v>
                </c:pt>
                <c:pt idx="296">
                  <c:v>40595</c:v>
                </c:pt>
                <c:pt idx="297">
                  <c:v>40596</c:v>
                </c:pt>
                <c:pt idx="298">
                  <c:v>40597</c:v>
                </c:pt>
                <c:pt idx="299">
                  <c:v>40598</c:v>
                </c:pt>
                <c:pt idx="300">
                  <c:v>40599</c:v>
                </c:pt>
                <c:pt idx="301">
                  <c:v>40602</c:v>
                </c:pt>
                <c:pt idx="302">
                  <c:v>40603</c:v>
                </c:pt>
                <c:pt idx="303">
                  <c:v>40604</c:v>
                </c:pt>
                <c:pt idx="304">
                  <c:v>40605</c:v>
                </c:pt>
                <c:pt idx="305">
                  <c:v>40606</c:v>
                </c:pt>
                <c:pt idx="306">
                  <c:v>40609</c:v>
                </c:pt>
                <c:pt idx="307">
                  <c:v>40610</c:v>
                </c:pt>
                <c:pt idx="308">
                  <c:v>40611</c:v>
                </c:pt>
                <c:pt idx="309">
                  <c:v>40612</c:v>
                </c:pt>
                <c:pt idx="310">
                  <c:v>40613</c:v>
                </c:pt>
                <c:pt idx="311">
                  <c:v>40616</c:v>
                </c:pt>
                <c:pt idx="312">
                  <c:v>40617</c:v>
                </c:pt>
                <c:pt idx="313">
                  <c:v>40618</c:v>
                </c:pt>
                <c:pt idx="314">
                  <c:v>40619</c:v>
                </c:pt>
                <c:pt idx="315">
                  <c:v>40620</c:v>
                </c:pt>
                <c:pt idx="316">
                  <c:v>40623</c:v>
                </c:pt>
                <c:pt idx="317">
                  <c:v>40624</c:v>
                </c:pt>
                <c:pt idx="318">
                  <c:v>40625</c:v>
                </c:pt>
                <c:pt idx="319">
                  <c:v>40626</c:v>
                </c:pt>
                <c:pt idx="320">
                  <c:v>40627</c:v>
                </c:pt>
                <c:pt idx="321">
                  <c:v>40630</c:v>
                </c:pt>
                <c:pt idx="322">
                  <c:v>40631</c:v>
                </c:pt>
                <c:pt idx="323">
                  <c:v>40632</c:v>
                </c:pt>
                <c:pt idx="324">
                  <c:v>40633</c:v>
                </c:pt>
                <c:pt idx="325">
                  <c:v>40634</c:v>
                </c:pt>
                <c:pt idx="326">
                  <c:v>40637</c:v>
                </c:pt>
                <c:pt idx="327">
                  <c:v>40638</c:v>
                </c:pt>
                <c:pt idx="328">
                  <c:v>40639</c:v>
                </c:pt>
                <c:pt idx="329">
                  <c:v>40640</c:v>
                </c:pt>
                <c:pt idx="330">
                  <c:v>40641</c:v>
                </c:pt>
                <c:pt idx="331">
                  <c:v>40644</c:v>
                </c:pt>
                <c:pt idx="332">
                  <c:v>40645</c:v>
                </c:pt>
                <c:pt idx="333">
                  <c:v>40646</c:v>
                </c:pt>
                <c:pt idx="334">
                  <c:v>40647</c:v>
                </c:pt>
                <c:pt idx="335">
                  <c:v>40648</c:v>
                </c:pt>
                <c:pt idx="336">
                  <c:v>40651</c:v>
                </c:pt>
                <c:pt idx="337">
                  <c:v>40652</c:v>
                </c:pt>
                <c:pt idx="338">
                  <c:v>40653</c:v>
                </c:pt>
                <c:pt idx="339">
                  <c:v>40654</c:v>
                </c:pt>
                <c:pt idx="340">
                  <c:v>40659</c:v>
                </c:pt>
                <c:pt idx="341">
                  <c:v>40660</c:v>
                </c:pt>
                <c:pt idx="342">
                  <c:v>40661</c:v>
                </c:pt>
                <c:pt idx="343">
                  <c:v>40662</c:v>
                </c:pt>
                <c:pt idx="344">
                  <c:v>40665</c:v>
                </c:pt>
                <c:pt idx="345">
                  <c:v>40666</c:v>
                </c:pt>
                <c:pt idx="346">
                  <c:v>40667</c:v>
                </c:pt>
                <c:pt idx="347">
                  <c:v>40668</c:v>
                </c:pt>
                <c:pt idx="348">
                  <c:v>40669</c:v>
                </c:pt>
                <c:pt idx="349">
                  <c:v>40672</c:v>
                </c:pt>
                <c:pt idx="350">
                  <c:v>40673</c:v>
                </c:pt>
                <c:pt idx="351">
                  <c:v>40674</c:v>
                </c:pt>
                <c:pt idx="352">
                  <c:v>40675</c:v>
                </c:pt>
                <c:pt idx="353">
                  <c:v>40676</c:v>
                </c:pt>
                <c:pt idx="354">
                  <c:v>40679</c:v>
                </c:pt>
                <c:pt idx="355">
                  <c:v>40680</c:v>
                </c:pt>
                <c:pt idx="356">
                  <c:v>40681</c:v>
                </c:pt>
                <c:pt idx="357">
                  <c:v>40682</c:v>
                </c:pt>
                <c:pt idx="358">
                  <c:v>40683</c:v>
                </c:pt>
                <c:pt idx="359">
                  <c:v>40686</c:v>
                </c:pt>
                <c:pt idx="360">
                  <c:v>40687</c:v>
                </c:pt>
                <c:pt idx="361">
                  <c:v>40688</c:v>
                </c:pt>
                <c:pt idx="362">
                  <c:v>40689</c:v>
                </c:pt>
                <c:pt idx="363">
                  <c:v>40690</c:v>
                </c:pt>
                <c:pt idx="364">
                  <c:v>40693</c:v>
                </c:pt>
                <c:pt idx="365">
                  <c:v>40694</c:v>
                </c:pt>
                <c:pt idx="366">
                  <c:v>40695</c:v>
                </c:pt>
                <c:pt idx="367">
                  <c:v>40696</c:v>
                </c:pt>
                <c:pt idx="368">
                  <c:v>40697</c:v>
                </c:pt>
                <c:pt idx="369">
                  <c:v>40700</c:v>
                </c:pt>
                <c:pt idx="370">
                  <c:v>40701</c:v>
                </c:pt>
                <c:pt idx="371">
                  <c:v>40702</c:v>
                </c:pt>
                <c:pt idx="372">
                  <c:v>40703</c:v>
                </c:pt>
                <c:pt idx="373">
                  <c:v>40704</c:v>
                </c:pt>
                <c:pt idx="374">
                  <c:v>40707</c:v>
                </c:pt>
                <c:pt idx="375">
                  <c:v>40708</c:v>
                </c:pt>
                <c:pt idx="376">
                  <c:v>40709</c:v>
                </c:pt>
                <c:pt idx="377">
                  <c:v>40710</c:v>
                </c:pt>
                <c:pt idx="378">
                  <c:v>40711</c:v>
                </c:pt>
                <c:pt idx="379">
                  <c:v>40714</c:v>
                </c:pt>
                <c:pt idx="380">
                  <c:v>40715</c:v>
                </c:pt>
                <c:pt idx="381">
                  <c:v>40716</c:v>
                </c:pt>
                <c:pt idx="382">
                  <c:v>40717</c:v>
                </c:pt>
                <c:pt idx="383">
                  <c:v>40718</c:v>
                </c:pt>
                <c:pt idx="384">
                  <c:v>40721</c:v>
                </c:pt>
                <c:pt idx="385">
                  <c:v>40722</c:v>
                </c:pt>
                <c:pt idx="386">
                  <c:v>40723</c:v>
                </c:pt>
                <c:pt idx="387">
                  <c:v>40724</c:v>
                </c:pt>
                <c:pt idx="388">
                  <c:v>40725</c:v>
                </c:pt>
                <c:pt idx="389">
                  <c:v>40728</c:v>
                </c:pt>
                <c:pt idx="390">
                  <c:v>40729</c:v>
                </c:pt>
                <c:pt idx="391">
                  <c:v>40730</c:v>
                </c:pt>
                <c:pt idx="392">
                  <c:v>40731</c:v>
                </c:pt>
                <c:pt idx="393">
                  <c:v>40732</c:v>
                </c:pt>
                <c:pt idx="394">
                  <c:v>40735</c:v>
                </c:pt>
                <c:pt idx="395">
                  <c:v>40736</c:v>
                </c:pt>
                <c:pt idx="396">
                  <c:v>40737</c:v>
                </c:pt>
                <c:pt idx="397">
                  <c:v>40738</c:v>
                </c:pt>
                <c:pt idx="398">
                  <c:v>40739</c:v>
                </c:pt>
                <c:pt idx="399">
                  <c:v>40742</c:v>
                </c:pt>
                <c:pt idx="400">
                  <c:v>40743</c:v>
                </c:pt>
                <c:pt idx="401">
                  <c:v>40744</c:v>
                </c:pt>
                <c:pt idx="402">
                  <c:v>40745</c:v>
                </c:pt>
                <c:pt idx="403">
                  <c:v>40746</c:v>
                </c:pt>
                <c:pt idx="404">
                  <c:v>40749</c:v>
                </c:pt>
                <c:pt idx="405">
                  <c:v>40750</c:v>
                </c:pt>
                <c:pt idx="406">
                  <c:v>40751</c:v>
                </c:pt>
                <c:pt idx="407">
                  <c:v>40752</c:v>
                </c:pt>
                <c:pt idx="408">
                  <c:v>40753</c:v>
                </c:pt>
                <c:pt idx="409">
                  <c:v>40756</c:v>
                </c:pt>
                <c:pt idx="410">
                  <c:v>40757</c:v>
                </c:pt>
                <c:pt idx="411">
                  <c:v>40758</c:v>
                </c:pt>
                <c:pt idx="412">
                  <c:v>40759</c:v>
                </c:pt>
                <c:pt idx="413">
                  <c:v>40760</c:v>
                </c:pt>
                <c:pt idx="414">
                  <c:v>40763</c:v>
                </c:pt>
                <c:pt idx="415">
                  <c:v>40764</c:v>
                </c:pt>
                <c:pt idx="416">
                  <c:v>40765</c:v>
                </c:pt>
                <c:pt idx="417">
                  <c:v>40766</c:v>
                </c:pt>
                <c:pt idx="418">
                  <c:v>40767</c:v>
                </c:pt>
                <c:pt idx="419">
                  <c:v>40770</c:v>
                </c:pt>
                <c:pt idx="420">
                  <c:v>40771</c:v>
                </c:pt>
                <c:pt idx="421">
                  <c:v>40772</c:v>
                </c:pt>
                <c:pt idx="422">
                  <c:v>40773</c:v>
                </c:pt>
                <c:pt idx="423">
                  <c:v>40774</c:v>
                </c:pt>
                <c:pt idx="424">
                  <c:v>40777</c:v>
                </c:pt>
                <c:pt idx="425">
                  <c:v>40778</c:v>
                </c:pt>
                <c:pt idx="426">
                  <c:v>40779</c:v>
                </c:pt>
                <c:pt idx="427">
                  <c:v>40780</c:v>
                </c:pt>
                <c:pt idx="428">
                  <c:v>40781</c:v>
                </c:pt>
                <c:pt idx="429">
                  <c:v>40784</c:v>
                </c:pt>
                <c:pt idx="430">
                  <c:v>40785</c:v>
                </c:pt>
                <c:pt idx="431">
                  <c:v>40786</c:v>
                </c:pt>
                <c:pt idx="432">
                  <c:v>40787</c:v>
                </c:pt>
                <c:pt idx="433">
                  <c:v>40788</c:v>
                </c:pt>
                <c:pt idx="434">
                  <c:v>40791</c:v>
                </c:pt>
                <c:pt idx="435">
                  <c:v>40792</c:v>
                </c:pt>
                <c:pt idx="436">
                  <c:v>40793</c:v>
                </c:pt>
                <c:pt idx="437">
                  <c:v>40794</c:v>
                </c:pt>
                <c:pt idx="438">
                  <c:v>40795</c:v>
                </c:pt>
                <c:pt idx="439">
                  <c:v>40798</c:v>
                </c:pt>
                <c:pt idx="440">
                  <c:v>40799</c:v>
                </c:pt>
                <c:pt idx="441">
                  <c:v>40800</c:v>
                </c:pt>
                <c:pt idx="442">
                  <c:v>40801</c:v>
                </c:pt>
                <c:pt idx="443">
                  <c:v>40802</c:v>
                </c:pt>
                <c:pt idx="444">
                  <c:v>40805</c:v>
                </c:pt>
                <c:pt idx="445">
                  <c:v>40806</c:v>
                </c:pt>
                <c:pt idx="446">
                  <c:v>40807</c:v>
                </c:pt>
                <c:pt idx="447">
                  <c:v>40808</c:v>
                </c:pt>
                <c:pt idx="448">
                  <c:v>40809</c:v>
                </c:pt>
                <c:pt idx="449">
                  <c:v>40812</c:v>
                </c:pt>
                <c:pt idx="450">
                  <c:v>40813</c:v>
                </c:pt>
                <c:pt idx="451">
                  <c:v>40814</c:v>
                </c:pt>
                <c:pt idx="452">
                  <c:v>40815</c:v>
                </c:pt>
                <c:pt idx="453">
                  <c:v>40816</c:v>
                </c:pt>
                <c:pt idx="454">
                  <c:v>40819</c:v>
                </c:pt>
                <c:pt idx="455">
                  <c:v>40820</c:v>
                </c:pt>
                <c:pt idx="456">
                  <c:v>40821</c:v>
                </c:pt>
                <c:pt idx="457">
                  <c:v>40822</c:v>
                </c:pt>
                <c:pt idx="458">
                  <c:v>40823</c:v>
                </c:pt>
                <c:pt idx="459">
                  <c:v>40826</c:v>
                </c:pt>
                <c:pt idx="460">
                  <c:v>40827</c:v>
                </c:pt>
                <c:pt idx="461">
                  <c:v>40828</c:v>
                </c:pt>
                <c:pt idx="462">
                  <c:v>40829</c:v>
                </c:pt>
                <c:pt idx="463">
                  <c:v>40830</c:v>
                </c:pt>
                <c:pt idx="464">
                  <c:v>40833</c:v>
                </c:pt>
                <c:pt idx="465">
                  <c:v>40834</c:v>
                </c:pt>
                <c:pt idx="466">
                  <c:v>40835</c:v>
                </c:pt>
                <c:pt idx="467">
                  <c:v>40836</c:v>
                </c:pt>
                <c:pt idx="468">
                  <c:v>40837</c:v>
                </c:pt>
                <c:pt idx="469">
                  <c:v>40840</c:v>
                </c:pt>
                <c:pt idx="470">
                  <c:v>40841</c:v>
                </c:pt>
                <c:pt idx="471">
                  <c:v>40842</c:v>
                </c:pt>
                <c:pt idx="472">
                  <c:v>40843</c:v>
                </c:pt>
                <c:pt idx="473">
                  <c:v>40844</c:v>
                </c:pt>
                <c:pt idx="474">
                  <c:v>40847</c:v>
                </c:pt>
                <c:pt idx="475">
                  <c:v>40848</c:v>
                </c:pt>
                <c:pt idx="476">
                  <c:v>40849</c:v>
                </c:pt>
                <c:pt idx="477">
                  <c:v>40850</c:v>
                </c:pt>
                <c:pt idx="478">
                  <c:v>40851</c:v>
                </c:pt>
                <c:pt idx="479">
                  <c:v>40854</c:v>
                </c:pt>
                <c:pt idx="480">
                  <c:v>40855</c:v>
                </c:pt>
                <c:pt idx="481">
                  <c:v>40856</c:v>
                </c:pt>
                <c:pt idx="482">
                  <c:v>40857</c:v>
                </c:pt>
                <c:pt idx="483">
                  <c:v>40858</c:v>
                </c:pt>
                <c:pt idx="484">
                  <c:v>40861</c:v>
                </c:pt>
                <c:pt idx="485">
                  <c:v>40862</c:v>
                </c:pt>
                <c:pt idx="486">
                  <c:v>40863</c:v>
                </c:pt>
                <c:pt idx="487">
                  <c:v>40864</c:v>
                </c:pt>
                <c:pt idx="488">
                  <c:v>40865</c:v>
                </c:pt>
                <c:pt idx="489">
                  <c:v>40868</c:v>
                </c:pt>
                <c:pt idx="490">
                  <c:v>40869</c:v>
                </c:pt>
                <c:pt idx="491">
                  <c:v>40870</c:v>
                </c:pt>
                <c:pt idx="492">
                  <c:v>40871</c:v>
                </c:pt>
                <c:pt idx="493">
                  <c:v>40872</c:v>
                </c:pt>
                <c:pt idx="494">
                  <c:v>40875</c:v>
                </c:pt>
                <c:pt idx="495">
                  <c:v>40876</c:v>
                </c:pt>
                <c:pt idx="496">
                  <c:v>40877</c:v>
                </c:pt>
                <c:pt idx="497">
                  <c:v>40878</c:v>
                </c:pt>
                <c:pt idx="498">
                  <c:v>40879</c:v>
                </c:pt>
                <c:pt idx="499">
                  <c:v>40882</c:v>
                </c:pt>
                <c:pt idx="500">
                  <c:v>40883</c:v>
                </c:pt>
                <c:pt idx="501">
                  <c:v>40884</c:v>
                </c:pt>
                <c:pt idx="502">
                  <c:v>40885</c:v>
                </c:pt>
                <c:pt idx="503">
                  <c:v>40886</c:v>
                </c:pt>
                <c:pt idx="504">
                  <c:v>40889</c:v>
                </c:pt>
                <c:pt idx="505">
                  <c:v>40890</c:v>
                </c:pt>
                <c:pt idx="506">
                  <c:v>40891</c:v>
                </c:pt>
                <c:pt idx="507">
                  <c:v>40892</c:v>
                </c:pt>
                <c:pt idx="508">
                  <c:v>40893</c:v>
                </c:pt>
                <c:pt idx="509">
                  <c:v>40896</c:v>
                </c:pt>
                <c:pt idx="510">
                  <c:v>40897</c:v>
                </c:pt>
                <c:pt idx="511">
                  <c:v>40898</c:v>
                </c:pt>
                <c:pt idx="512">
                  <c:v>40899</c:v>
                </c:pt>
                <c:pt idx="513">
                  <c:v>40900</c:v>
                </c:pt>
                <c:pt idx="514">
                  <c:v>40904</c:v>
                </c:pt>
                <c:pt idx="515">
                  <c:v>40905</c:v>
                </c:pt>
                <c:pt idx="516">
                  <c:v>40906</c:v>
                </c:pt>
                <c:pt idx="517">
                  <c:v>40907</c:v>
                </c:pt>
                <c:pt idx="518">
                  <c:v>40910</c:v>
                </c:pt>
                <c:pt idx="519">
                  <c:v>40911</c:v>
                </c:pt>
                <c:pt idx="520">
                  <c:v>40912</c:v>
                </c:pt>
                <c:pt idx="521">
                  <c:v>40913</c:v>
                </c:pt>
                <c:pt idx="522">
                  <c:v>40914</c:v>
                </c:pt>
                <c:pt idx="523">
                  <c:v>40917</c:v>
                </c:pt>
                <c:pt idx="524">
                  <c:v>40918</c:v>
                </c:pt>
                <c:pt idx="525">
                  <c:v>40919</c:v>
                </c:pt>
                <c:pt idx="526">
                  <c:v>40920</c:v>
                </c:pt>
                <c:pt idx="527">
                  <c:v>40921</c:v>
                </c:pt>
                <c:pt idx="528">
                  <c:v>40924</c:v>
                </c:pt>
                <c:pt idx="529">
                  <c:v>40925</c:v>
                </c:pt>
                <c:pt idx="530">
                  <c:v>40926</c:v>
                </c:pt>
                <c:pt idx="531">
                  <c:v>40927</c:v>
                </c:pt>
                <c:pt idx="532">
                  <c:v>40928</c:v>
                </c:pt>
                <c:pt idx="533">
                  <c:v>40931</c:v>
                </c:pt>
                <c:pt idx="534">
                  <c:v>40932</c:v>
                </c:pt>
                <c:pt idx="535">
                  <c:v>40933</c:v>
                </c:pt>
                <c:pt idx="536">
                  <c:v>40934</c:v>
                </c:pt>
                <c:pt idx="537">
                  <c:v>40935</c:v>
                </c:pt>
                <c:pt idx="538">
                  <c:v>40938</c:v>
                </c:pt>
                <c:pt idx="539">
                  <c:v>40939</c:v>
                </c:pt>
                <c:pt idx="540">
                  <c:v>40940</c:v>
                </c:pt>
                <c:pt idx="541">
                  <c:v>40941</c:v>
                </c:pt>
                <c:pt idx="542">
                  <c:v>40942</c:v>
                </c:pt>
                <c:pt idx="543">
                  <c:v>40945</c:v>
                </c:pt>
                <c:pt idx="544">
                  <c:v>40946</c:v>
                </c:pt>
                <c:pt idx="545">
                  <c:v>40947</c:v>
                </c:pt>
                <c:pt idx="546">
                  <c:v>40948</c:v>
                </c:pt>
                <c:pt idx="547">
                  <c:v>40949</c:v>
                </c:pt>
                <c:pt idx="548">
                  <c:v>40952</c:v>
                </c:pt>
                <c:pt idx="549">
                  <c:v>40953</c:v>
                </c:pt>
                <c:pt idx="550">
                  <c:v>40954</c:v>
                </c:pt>
                <c:pt idx="551">
                  <c:v>40955</c:v>
                </c:pt>
                <c:pt idx="552">
                  <c:v>40956</c:v>
                </c:pt>
                <c:pt idx="553">
                  <c:v>40959</c:v>
                </c:pt>
                <c:pt idx="554">
                  <c:v>40960</c:v>
                </c:pt>
                <c:pt idx="555">
                  <c:v>40961</c:v>
                </c:pt>
                <c:pt idx="556">
                  <c:v>40962</c:v>
                </c:pt>
                <c:pt idx="557">
                  <c:v>40963</c:v>
                </c:pt>
                <c:pt idx="558">
                  <c:v>40966</c:v>
                </c:pt>
                <c:pt idx="559">
                  <c:v>40967</c:v>
                </c:pt>
                <c:pt idx="560">
                  <c:v>40968</c:v>
                </c:pt>
                <c:pt idx="561">
                  <c:v>40969</c:v>
                </c:pt>
                <c:pt idx="562">
                  <c:v>40970</c:v>
                </c:pt>
                <c:pt idx="563">
                  <c:v>40973</c:v>
                </c:pt>
                <c:pt idx="564">
                  <c:v>40974</c:v>
                </c:pt>
                <c:pt idx="565">
                  <c:v>40975</c:v>
                </c:pt>
                <c:pt idx="566">
                  <c:v>40976</c:v>
                </c:pt>
                <c:pt idx="567">
                  <c:v>40977</c:v>
                </c:pt>
                <c:pt idx="568">
                  <c:v>40980</c:v>
                </c:pt>
                <c:pt idx="569">
                  <c:v>40981</c:v>
                </c:pt>
                <c:pt idx="570">
                  <c:v>40982</c:v>
                </c:pt>
                <c:pt idx="571">
                  <c:v>40983</c:v>
                </c:pt>
                <c:pt idx="572">
                  <c:v>40984</c:v>
                </c:pt>
                <c:pt idx="573">
                  <c:v>40987</c:v>
                </c:pt>
                <c:pt idx="574">
                  <c:v>40988</c:v>
                </c:pt>
                <c:pt idx="575">
                  <c:v>40989</c:v>
                </c:pt>
                <c:pt idx="576">
                  <c:v>40990</c:v>
                </c:pt>
                <c:pt idx="577">
                  <c:v>40991</c:v>
                </c:pt>
                <c:pt idx="578">
                  <c:v>40994</c:v>
                </c:pt>
                <c:pt idx="579">
                  <c:v>40995</c:v>
                </c:pt>
                <c:pt idx="580">
                  <c:v>40996</c:v>
                </c:pt>
                <c:pt idx="581">
                  <c:v>40997</c:v>
                </c:pt>
                <c:pt idx="582">
                  <c:v>40998</c:v>
                </c:pt>
                <c:pt idx="583">
                  <c:v>41001</c:v>
                </c:pt>
                <c:pt idx="584">
                  <c:v>41002</c:v>
                </c:pt>
                <c:pt idx="585">
                  <c:v>41003</c:v>
                </c:pt>
                <c:pt idx="586">
                  <c:v>41004</c:v>
                </c:pt>
                <c:pt idx="587">
                  <c:v>41009</c:v>
                </c:pt>
                <c:pt idx="588">
                  <c:v>41010</c:v>
                </c:pt>
                <c:pt idx="589">
                  <c:v>41011</c:v>
                </c:pt>
                <c:pt idx="590">
                  <c:v>41012</c:v>
                </c:pt>
                <c:pt idx="591">
                  <c:v>41015</c:v>
                </c:pt>
                <c:pt idx="592">
                  <c:v>41016</c:v>
                </c:pt>
                <c:pt idx="593">
                  <c:v>41017</c:v>
                </c:pt>
                <c:pt idx="594">
                  <c:v>41018</c:v>
                </c:pt>
                <c:pt idx="595">
                  <c:v>41019</c:v>
                </c:pt>
                <c:pt idx="596">
                  <c:v>41022</c:v>
                </c:pt>
                <c:pt idx="597">
                  <c:v>41023</c:v>
                </c:pt>
                <c:pt idx="598">
                  <c:v>41024</c:v>
                </c:pt>
                <c:pt idx="599">
                  <c:v>41025</c:v>
                </c:pt>
                <c:pt idx="600">
                  <c:v>41026</c:v>
                </c:pt>
                <c:pt idx="601">
                  <c:v>41029</c:v>
                </c:pt>
                <c:pt idx="602">
                  <c:v>41030</c:v>
                </c:pt>
                <c:pt idx="603">
                  <c:v>41031</c:v>
                </c:pt>
                <c:pt idx="604">
                  <c:v>41032</c:v>
                </c:pt>
                <c:pt idx="605">
                  <c:v>41033</c:v>
                </c:pt>
                <c:pt idx="606">
                  <c:v>41036</c:v>
                </c:pt>
                <c:pt idx="607">
                  <c:v>41037</c:v>
                </c:pt>
                <c:pt idx="608">
                  <c:v>41038</c:v>
                </c:pt>
                <c:pt idx="609">
                  <c:v>41039</c:v>
                </c:pt>
                <c:pt idx="610">
                  <c:v>41040</c:v>
                </c:pt>
                <c:pt idx="611">
                  <c:v>41043</c:v>
                </c:pt>
                <c:pt idx="612">
                  <c:v>41044</c:v>
                </c:pt>
                <c:pt idx="613">
                  <c:v>41045</c:v>
                </c:pt>
                <c:pt idx="614">
                  <c:v>41046</c:v>
                </c:pt>
                <c:pt idx="615">
                  <c:v>41047</c:v>
                </c:pt>
                <c:pt idx="616">
                  <c:v>41050</c:v>
                </c:pt>
                <c:pt idx="617">
                  <c:v>41051</c:v>
                </c:pt>
                <c:pt idx="618">
                  <c:v>41052</c:v>
                </c:pt>
                <c:pt idx="619">
                  <c:v>41053</c:v>
                </c:pt>
                <c:pt idx="620">
                  <c:v>41054</c:v>
                </c:pt>
                <c:pt idx="621">
                  <c:v>41057</c:v>
                </c:pt>
                <c:pt idx="622">
                  <c:v>41058</c:v>
                </c:pt>
                <c:pt idx="623">
                  <c:v>41059</c:v>
                </c:pt>
                <c:pt idx="624">
                  <c:v>41060</c:v>
                </c:pt>
                <c:pt idx="625">
                  <c:v>41061</c:v>
                </c:pt>
                <c:pt idx="626">
                  <c:v>41064</c:v>
                </c:pt>
                <c:pt idx="627">
                  <c:v>41065</c:v>
                </c:pt>
                <c:pt idx="628">
                  <c:v>41066</c:v>
                </c:pt>
                <c:pt idx="629">
                  <c:v>41067</c:v>
                </c:pt>
                <c:pt idx="630">
                  <c:v>41068</c:v>
                </c:pt>
                <c:pt idx="631">
                  <c:v>41071</c:v>
                </c:pt>
                <c:pt idx="632">
                  <c:v>41072</c:v>
                </c:pt>
                <c:pt idx="633">
                  <c:v>41073</c:v>
                </c:pt>
                <c:pt idx="634">
                  <c:v>41074</c:v>
                </c:pt>
                <c:pt idx="635">
                  <c:v>41075</c:v>
                </c:pt>
                <c:pt idx="636">
                  <c:v>41078</c:v>
                </c:pt>
                <c:pt idx="637">
                  <c:v>41079</c:v>
                </c:pt>
                <c:pt idx="638">
                  <c:v>41080</c:v>
                </c:pt>
                <c:pt idx="639">
                  <c:v>41081</c:v>
                </c:pt>
                <c:pt idx="640">
                  <c:v>41082</c:v>
                </c:pt>
                <c:pt idx="641">
                  <c:v>41085</c:v>
                </c:pt>
                <c:pt idx="642">
                  <c:v>41086</c:v>
                </c:pt>
                <c:pt idx="643">
                  <c:v>41087</c:v>
                </c:pt>
                <c:pt idx="644">
                  <c:v>41088</c:v>
                </c:pt>
                <c:pt idx="645">
                  <c:v>41089</c:v>
                </c:pt>
                <c:pt idx="646">
                  <c:v>41092</c:v>
                </c:pt>
                <c:pt idx="647">
                  <c:v>41093</c:v>
                </c:pt>
                <c:pt idx="648">
                  <c:v>41094</c:v>
                </c:pt>
                <c:pt idx="649">
                  <c:v>41095</c:v>
                </c:pt>
                <c:pt idx="650">
                  <c:v>41096</c:v>
                </c:pt>
                <c:pt idx="651">
                  <c:v>41099</c:v>
                </c:pt>
                <c:pt idx="652">
                  <c:v>41100</c:v>
                </c:pt>
                <c:pt idx="653">
                  <c:v>41101</c:v>
                </c:pt>
                <c:pt idx="654">
                  <c:v>41102</c:v>
                </c:pt>
                <c:pt idx="655">
                  <c:v>41103</c:v>
                </c:pt>
                <c:pt idx="656">
                  <c:v>41106</c:v>
                </c:pt>
                <c:pt idx="657">
                  <c:v>41107</c:v>
                </c:pt>
                <c:pt idx="658">
                  <c:v>41108</c:v>
                </c:pt>
                <c:pt idx="659">
                  <c:v>41109</c:v>
                </c:pt>
                <c:pt idx="660">
                  <c:v>41110</c:v>
                </c:pt>
                <c:pt idx="661">
                  <c:v>41113</c:v>
                </c:pt>
                <c:pt idx="662">
                  <c:v>41114</c:v>
                </c:pt>
                <c:pt idx="663">
                  <c:v>41115</c:v>
                </c:pt>
                <c:pt idx="664">
                  <c:v>41116</c:v>
                </c:pt>
                <c:pt idx="665">
                  <c:v>41117</c:v>
                </c:pt>
                <c:pt idx="666">
                  <c:v>41120</c:v>
                </c:pt>
                <c:pt idx="667">
                  <c:v>41121</c:v>
                </c:pt>
                <c:pt idx="668">
                  <c:v>41122</c:v>
                </c:pt>
                <c:pt idx="669">
                  <c:v>41123</c:v>
                </c:pt>
                <c:pt idx="670">
                  <c:v>41124</c:v>
                </c:pt>
                <c:pt idx="671">
                  <c:v>41127</c:v>
                </c:pt>
                <c:pt idx="672">
                  <c:v>41128</c:v>
                </c:pt>
                <c:pt idx="673">
                  <c:v>41129</c:v>
                </c:pt>
                <c:pt idx="674">
                  <c:v>41130</c:v>
                </c:pt>
                <c:pt idx="675">
                  <c:v>41131</c:v>
                </c:pt>
                <c:pt idx="676">
                  <c:v>41134</c:v>
                </c:pt>
                <c:pt idx="677">
                  <c:v>41135</c:v>
                </c:pt>
                <c:pt idx="678">
                  <c:v>41136</c:v>
                </c:pt>
                <c:pt idx="679">
                  <c:v>41137</c:v>
                </c:pt>
                <c:pt idx="680">
                  <c:v>41138</c:v>
                </c:pt>
                <c:pt idx="681">
                  <c:v>41141</c:v>
                </c:pt>
                <c:pt idx="682">
                  <c:v>41142</c:v>
                </c:pt>
                <c:pt idx="683">
                  <c:v>41143</c:v>
                </c:pt>
                <c:pt idx="684">
                  <c:v>41144</c:v>
                </c:pt>
                <c:pt idx="685">
                  <c:v>41145</c:v>
                </c:pt>
                <c:pt idx="686">
                  <c:v>41148</c:v>
                </c:pt>
                <c:pt idx="687">
                  <c:v>41149</c:v>
                </c:pt>
                <c:pt idx="688">
                  <c:v>41150</c:v>
                </c:pt>
                <c:pt idx="689">
                  <c:v>41151</c:v>
                </c:pt>
                <c:pt idx="690">
                  <c:v>41152</c:v>
                </c:pt>
                <c:pt idx="691">
                  <c:v>41155</c:v>
                </c:pt>
                <c:pt idx="692">
                  <c:v>41156</c:v>
                </c:pt>
                <c:pt idx="693">
                  <c:v>41157</c:v>
                </c:pt>
                <c:pt idx="694">
                  <c:v>41158</c:v>
                </c:pt>
                <c:pt idx="695">
                  <c:v>41159</c:v>
                </c:pt>
                <c:pt idx="696">
                  <c:v>41162</c:v>
                </c:pt>
                <c:pt idx="697">
                  <c:v>41163</c:v>
                </c:pt>
                <c:pt idx="698">
                  <c:v>41164</c:v>
                </c:pt>
                <c:pt idx="699">
                  <c:v>41165</c:v>
                </c:pt>
                <c:pt idx="700">
                  <c:v>41166</c:v>
                </c:pt>
                <c:pt idx="701">
                  <c:v>41169</c:v>
                </c:pt>
                <c:pt idx="702">
                  <c:v>41170</c:v>
                </c:pt>
                <c:pt idx="703">
                  <c:v>41171</c:v>
                </c:pt>
                <c:pt idx="704">
                  <c:v>41172</c:v>
                </c:pt>
                <c:pt idx="705">
                  <c:v>41173</c:v>
                </c:pt>
                <c:pt idx="706">
                  <c:v>41176</c:v>
                </c:pt>
                <c:pt idx="707">
                  <c:v>41177</c:v>
                </c:pt>
                <c:pt idx="708">
                  <c:v>41178</c:v>
                </c:pt>
                <c:pt idx="709">
                  <c:v>41179</c:v>
                </c:pt>
                <c:pt idx="710">
                  <c:v>41180</c:v>
                </c:pt>
                <c:pt idx="711">
                  <c:v>41183</c:v>
                </c:pt>
                <c:pt idx="712">
                  <c:v>41184</c:v>
                </c:pt>
                <c:pt idx="713">
                  <c:v>41185</c:v>
                </c:pt>
                <c:pt idx="714">
                  <c:v>41186</c:v>
                </c:pt>
                <c:pt idx="715">
                  <c:v>41187</c:v>
                </c:pt>
                <c:pt idx="716">
                  <c:v>41190</c:v>
                </c:pt>
                <c:pt idx="717">
                  <c:v>41191</c:v>
                </c:pt>
                <c:pt idx="718">
                  <c:v>41192</c:v>
                </c:pt>
                <c:pt idx="719">
                  <c:v>41193</c:v>
                </c:pt>
                <c:pt idx="720">
                  <c:v>41194</c:v>
                </c:pt>
                <c:pt idx="721">
                  <c:v>41197</c:v>
                </c:pt>
                <c:pt idx="722">
                  <c:v>41198</c:v>
                </c:pt>
                <c:pt idx="723">
                  <c:v>41199</c:v>
                </c:pt>
                <c:pt idx="724">
                  <c:v>41200</c:v>
                </c:pt>
                <c:pt idx="725">
                  <c:v>41201</c:v>
                </c:pt>
                <c:pt idx="726">
                  <c:v>41204</c:v>
                </c:pt>
                <c:pt idx="727">
                  <c:v>41205</c:v>
                </c:pt>
                <c:pt idx="728">
                  <c:v>41206</c:v>
                </c:pt>
                <c:pt idx="729">
                  <c:v>41207</c:v>
                </c:pt>
                <c:pt idx="730">
                  <c:v>41208</c:v>
                </c:pt>
                <c:pt idx="731">
                  <c:v>41211</c:v>
                </c:pt>
                <c:pt idx="732">
                  <c:v>41212</c:v>
                </c:pt>
                <c:pt idx="733">
                  <c:v>41213</c:v>
                </c:pt>
                <c:pt idx="734">
                  <c:v>41214</c:v>
                </c:pt>
                <c:pt idx="735">
                  <c:v>41215</c:v>
                </c:pt>
                <c:pt idx="736">
                  <c:v>41218</c:v>
                </c:pt>
                <c:pt idx="737">
                  <c:v>41219</c:v>
                </c:pt>
                <c:pt idx="738">
                  <c:v>41220</c:v>
                </c:pt>
                <c:pt idx="739">
                  <c:v>41221</c:v>
                </c:pt>
                <c:pt idx="740">
                  <c:v>41222</c:v>
                </c:pt>
                <c:pt idx="741">
                  <c:v>41225</c:v>
                </c:pt>
                <c:pt idx="742">
                  <c:v>41226</c:v>
                </c:pt>
                <c:pt idx="743">
                  <c:v>41227</c:v>
                </c:pt>
                <c:pt idx="744">
                  <c:v>41228</c:v>
                </c:pt>
                <c:pt idx="745">
                  <c:v>41229</c:v>
                </c:pt>
                <c:pt idx="746">
                  <c:v>41232</c:v>
                </c:pt>
                <c:pt idx="747">
                  <c:v>41233</c:v>
                </c:pt>
                <c:pt idx="748">
                  <c:v>41234</c:v>
                </c:pt>
                <c:pt idx="749">
                  <c:v>41235</c:v>
                </c:pt>
                <c:pt idx="750">
                  <c:v>41236</c:v>
                </c:pt>
                <c:pt idx="751">
                  <c:v>41239</c:v>
                </c:pt>
                <c:pt idx="752">
                  <c:v>41240</c:v>
                </c:pt>
                <c:pt idx="753">
                  <c:v>41241</c:v>
                </c:pt>
                <c:pt idx="754">
                  <c:v>41242</c:v>
                </c:pt>
                <c:pt idx="755">
                  <c:v>41243</c:v>
                </c:pt>
                <c:pt idx="756">
                  <c:v>41246</c:v>
                </c:pt>
                <c:pt idx="757">
                  <c:v>41247</c:v>
                </c:pt>
                <c:pt idx="758">
                  <c:v>41248</c:v>
                </c:pt>
                <c:pt idx="759">
                  <c:v>41249</c:v>
                </c:pt>
                <c:pt idx="760">
                  <c:v>41250</c:v>
                </c:pt>
                <c:pt idx="761">
                  <c:v>41253</c:v>
                </c:pt>
                <c:pt idx="762">
                  <c:v>41254</c:v>
                </c:pt>
                <c:pt idx="763">
                  <c:v>41255</c:v>
                </c:pt>
                <c:pt idx="764">
                  <c:v>41256</c:v>
                </c:pt>
                <c:pt idx="765">
                  <c:v>41257</c:v>
                </c:pt>
                <c:pt idx="766">
                  <c:v>41260</c:v>
                </c:pt>
                <c:pt idx="767">
                  <c:v>41261</c:v>
                </c:pt>
                <c:pt idx="768">
                  <c:v>41262</c:v>
                </c:pt>
                <c:pt idx="769">
                  <c:v>41263</c:v>
                </c:pt>
                <c:pt idx="770">
                  <c:v>41264</c:v>
                </c:pt>
                <c:pt idx="771">
                  <c:v>41267</c:v>
                </c:pt>
                <c:pt idx="772">
                  <c:v>41270</c:v>
                </c:pt>
                <c:pt idx="773">
                  <c:v>41271</c:v>
                </c:pt>
                <c:pt idx="774">
                  <c:v>41274</c:v>
                </c:pt>
                <c:pt idx="775">
                  <c:v>41276</c:v>
                </c:pt>
                <c:pt idx="776">
                  <c:v>41277</c:v>
                </c:pt>
                <c:pt idx="777">
                  <c:v>41278</c:v>
                </c:pt>
                <c:pt idx="778">
                  <c:v>41281</c:v>
                </c:pt>
                <c:pt idx="779">
                  <c:v>41282</c:v>
                </c:pt>
                <c:pt idx="780">
                  <c:v>41283</c:v>
                </c:pt>
                <c:pt idx="781">
                  <c:v>41284</c:v>
                </c:pt>
                <c:pt idx="782">
                  <c:v>41285</c:v>
                </c:pt>
                <c:pt idx="783">
                  <c:v>41288</c:v>
                </c:pt>
                <c:pt idx="784">
                  <c:v>41289</c:v>
                </c:pt>
                <c:pt idx="785">
                  <c:v>41290</c:v>
                </c:pt>
                <c:pt idx="786">
                  <c:v>41291</c:v>
                </c:pt>
                <c:pt idx="787">
                  <c:v>41292</c:v>
                </c:pt>
                <c:pt idx="788">
                  <c:v>41295</c:v>
                </c:pt>
                <c:pt idx="789">
                  <c:v>41296</c:v>
                </c:pt>
                <c:pt idx="790">
                  <c:v>41297</c:v>
                </c:pt>
                <c:pt idx="791">
                  <c:v>41298</c:v>
                </c:pt>
                <c:pt idx="792">
                  <c:v>41299</c:v>
                </c:pt>
                <c:pt idx="793">
                  <c:v>41302</c:v>
                </c:pt>
                <c:pt idx="794">
                  <c:v>41303</c:v>
                </c:pt>
                <c:pt idx="795">
                  <c:v>41304</c:v>
                </c:pt>
                <c:pt idx="796">
                  <c:v>41305</c:v>
                </c:pt>
                <c:pt idx="797">
                  <c:v>41306</c:v>
                </c:pt>
                <c:pt idx="798">
                  <c:v>41309</c:v>
                </c:pt>
                <c:pt idx="799">
                  <c:v>41310</c:v>
                </c:pt>
                <c:pt idx="800">
                  <c:v>41311</c:v>
                </c:pt>
                <c:pt idx="801">
                  <c:v>41312</c:v>
                </c:pt>
                <c:pt idx="802">
                  <c:v>41313</c:v>
                </c:pt>
                <c:pt idx="803">
                  <c:v>41316</c:v>
                </c:pt>
                <c:pt idx="804">
                  <c:v>41317</c:v>
                </c:pt>
                <c:pt idx="805">
                  <c:v>41318</c:v>
                </c:pt>
                <c:pt idx="806">
                  <c:v>41319</c:v>
                </c:pt>
                <c:pt idx="807">
                  <c:v>41320</c:v>
                </c:pt>
                <c:pt idx="808">
                  <c:v>41323</c:v>
                </c:pt>
                <c:pt idx="809">
                  <c:v>41324</c:v>
                </c:pt>
                <c:pt idx="810">
                  <c:v>41325</c:v>
                </c:pt>
                <c:pt idx="811">
                  <c:v>41326</c:v>
                </c:pt>
                <c:pt idx="812">
                  <c:v>41327</c:v>
                </c:pt>
                <c:pt idx="813">
                  <c:v>41330</c:v>
                </c:pt>
                <c:pt idx="814">
                  <c:v>41331</c:v>
                </c:pt>
                <c:pt idx="815">
                  <c:v>41332</c:v>
                </c:pt>
                <c:pt idx="816">
                  <c:v>41333</c:v>
                </c:pt>
                <c:pt idx="817">
                  <c:v>41334</c:v>
                </c:pt>
                <c:pt idx="818">
                  <c:v>41337</c:v>
                </c:pt>
                <c:pt idx="819">
                  <c:v>41338</c:v>
                </c:pt>
                <c:pt idx="820">
                  <c:v>41339</c:v>
                </c:pt>
                <c:pt idx="821">
                  <c:v>41340</c:v>
                </c:pt>
                <c:pt idx="822">
                  <c:v>41341</c:v>
                </c:pt>
                <c:pt idx="823">
                  <c:v>41344</c:v>
                </c:pt>
                <c:pt idx="824">
                  <c:v>41345</c:v>
                </c:pt>
                <c:pt idx="825">
                  <c:v>41346</c:v>
                </c:pt>
                <c:pt idx="826">
                  <c:v>41347</c:v>
                </c:pt>
                <c:pt idx="827">
                  <c:v>41348</c:v>
                </c:pt>
                <c:pt idx="828">
                  <c:v>41351</c:v>
                </c:pt>
                <c:pt idx="829">
                  <c:v>41352</c:v>
                </c:pt>
                <c:pt idx="830">
                  <c:v>41353</c:v>
                </c:pt>
                <c:pt idx="831">
                  <c:v>41354</c:v>
                </c:pt>
                <c:pt idx="832">
                  <c:v>41355</c:v>
                </c:pt>
                <c:pt idx="833">
                  <c:v>41358</c:v>
                </c:pt>
                <c:pt idx="834">
                  <c:v>41359</c:v>
                </c:pt>
                <c:pt idx="835">
                  <c:v>41360</c:v>
                </c:pt>
                <c:pt idx="836">
                  <c:v>41361</c:v>
                </c:pt>
                <c:pt idx="837">
                  <c:v>41366</c:v>
                </c:pt>
                <c:pt idx="838">
                  <c:v>41367</c:v>
                </c:pt>
                <c:pt idx="839">
                  <c:v>41368</c:v>
                </c:pt>
                <c:pt idx="840">
                  <c:v>41369</c:v>
                </c:pt>
                <c:pt idx="841">
                  <c:v>41372</c:v>
                </c:pt>
                <c:pt idx="842">
                  <c:v>41373</c:v>
                </c:pt>
                <c:pt idx="843">
                  <c:v>41374</c:v>
                </c:pt>
                <c:pt idx="844">
                  <c:v>41375</c:v>
                </c:pt>
                <c:pt idx="845">
                  <c:v>41376</c:v>
                </c:pt>
                <c:pt idx="846">
                  <c:v>41379</c:v>
                </c:pt>
                <c:pt idx="847">
                  <c:v>41380</c:v>
                </c:pt>
                <c:pt idx="848">
                  <c:v>41381</c:v>
                </c:pt>
                <c:pt idx="849">
                  <c:v>41382</c:v>
                </c:pt>
                <c:pt idx="850">
                  <c:v>41383</c:v>
                </c:pt>
                <c:pt idx="851">
                  <c:v>41386</c:v>
                </c:pt>
                <c:pt idx="852">
                  <c:v>41387</c:v>
                </c:pt>
                <c:pt idx="853">
                  <c:v>41388</c:v>
                </c:pt>
                <c:pt idx="854">
                  <c:v>41389</c:v>
                </c:pt>
                <c:pt idx="855">
                  <c:v>41390</c:v>
                </c:pt>
                <c:pt idx="856">
                  <c:v>41393</c:v>
                </c:pt>
                <c:pt idx="857">
                  <c:v>41394</c:v>
                </c:pt>
                <c:pt idx="858">
                  <c:v>41395</c:v>
                </c:pt>
                <c:pt idx="859">
                  <c:v>41396</c:v>
                </c:pt>
                <c:pt idx="860">
                  <c:v>41397</c:v>
                </c:pt>
                <c:pt idx="861">
                  <c:v>41400</c:v>
                </c:pt>
                <c:pt idx="862">
                  <c:v>41401</c:v>
                </c:pt>
                <c:pt idx="863">
                  <c:v>41402</c:v>
                </c:pt>
                <c:pt idx="864">
                  <c:v>41403</c:v>
                </c:pt>
                <c:pt idx="865">
                  <c:v>41404</c:v>
                </c:pt>
                <c:pt idx="866">
                  <c:v>41407</c:v>
                </c:pt>
                <c:pt idx="867">
                  <c:v>41408</c:v>
                </c:pt>
                <c:pt idx="868">
                  <c:v>41409</c:v>
                </c:pt>
                <c:pt idx="869">
                  <c:v>41410</c:v>
                </c:pt>
                <c:pt idx="870">
                  <c:v>41411</c:v>
                </c:pt>
                <c:pt idx="871">
                  <c:v>41414</c:v>
                </c:pt>
                <c:pt idx="872">
                  <c:v>41415</c:v>
                </c:pt>
                <c:pt idx="873">
                  <c:v>41416</c:v>
                </c:pt>
                <c:pt idx="874">
                  <c:v>41417</c:v>
                </c:pt>
                <c:pt idx="875">
                  <c:v>41418</c:v>
                </c:pt>
                <c:pt idx="876">
                  <c:v>41421</c:v>
                </c:pt>
                <c:pt idx="877">
                  <c:v>41422</c:v>
                </c:pt>
                <c:pt idx="878">
                  <c:v>41423</c:v>
                </c:pt>
                <c:pt idx="879">
                  <c:v>41424</c:v>
                </c:pt>
                <c:pt idx="880">
                  <c:v>41425</c:v>
                </c:pt>
                <c:pt idx="881">
                  <c:v>41428</c:v>
                </c:pt>
                <c:pt idx="882">
                  <c:v>41429</c:v>
                </c:pt>
                <c:pt idx="883">
                  <c:v>41430</c:v>
                </c:pt>
                <c:pt idx="884">
                  <c:v>41431</c:v>
                </c:pt>
                <c:pt idx="885">
                  <c:v>41432</c:v>
                </c:pt>
                <c:pt idx="886">
                  <c:v>41435</c:v>
                </c:pt>
                <c:pt idx="887">
                  <c:v>41436</c:v>
                </c:pt>
                <c:pt idx="888">
                  <c:v>41437</c:v>
                </c:pt>
                <c:pt idx="889">
                  <c:v>41438</c:v>
                </c:pt>
                <c:pt idx="890">
                  <c:v>41439</c:v>
                </c:pt>
                <c:pt idx="891">
                  <c:v>41442</c:v>
                </c:pt>
                <c:pt idx="892">
                  <c:v>41443</c:v>
                </c:pt>
                <c:pt idx="893">
                  <c:v>41444</c:v>
                </c:pt>
                <c:pt idx="894">
                  <c:v>41445</c:v>
                </c:pt>
                <c:pt idx="895">
                  <c:v>41446</c:v>
                </c:pt>
                <c:pt idx="896">
                  <c:v>41449</c:v>
                </c:pt>
                <c:pt idx="897">
                  <c:v>41450</c:v>
                </c:pt>
                <c:pt idx="898">
                  <c:v>41451</c:v>
                </c:pt>
                <c:pt idx="899">
                  <c:v>41452</c:v>
                </c:pt>
                <c:pt idx="900">
                  <c:v>41453</c:v>
                </c:pt>
                <c:pt idx="901">
                  <c:v>41456</c:v>
                </c:pt>
                <c:pt idx="902">
                  <c:v>41457</c:v>
                </c:pt>
                <c:pt idx="903">
                  <c:v>41458</c:v>
                </c:pt>
                <c:pt idx="904">
                  <c:v>41459</c:v>
                </c:pt>
                <c:pt idx="905">
                  <c:v>41460</c:v>
                </c:pt>
                <c:pt idx="906">
                  <c:v>41463</c:v>
                </c:pt>
                <c:pt idx="907">
                  <c:v>41464</c:v>
                </c:pt>
                <c:pt idx="908">
                  <c:v>41465</c:v>
                </c:pt>
                <c:pt idx="909">
                  <c:v>41466</c:v>
                </c:pt>
                <c:pt idx="910">
                  <c:v>41467</c:v>
                </c:pt>
                <c:pt idx="911">
                  <c:v>41470</c:v>
                </c:pt>
                <c:pt idx="912">
                  <c:v>41471</c:v>
                </c:pt>
                <c:pt idx="913">
                  <c:v>41472</c:v>
                </c:pt>
                <c:pt idx="914">
                  <c:v>41473</c:v>
                </c:pt>
                <c:pt idx="915">
                  <c:v>41474</c:v>
                </c:pt>
                <c:pt idx="916">
                  <c:v>41477</c:v>
                </c:pt>
                <c:pt idx="917">
                  <c:v>41478</c:v>
                </c:pt>
                <c:pt idx="918">
                  <c:v>41479</c:v>
                </c:pt>
                <c:pt idx="919">
                  <c:v>41480</c:v>
                </c:pt>
                <c:pt idx="920">
                  <c:v>41481</c:v>
                </c:pt>
                <c:pt idx="921">
                  <c:v>41484</c:v>
                </c:pt>
                <c:pt idx="922">
                  <c:v>41485</c:v>
                </c:pt>
                <c:pt idx="923">
                  <c:v>41486</c:v>
                </c:pt>
                <c:pt idx="924">
                  <c:v>41487</c:v>
                </c:pt>
                <c:pt idx="925">
                  <c:v>41488</c:v>
                </c:pt>
                <c:pt idx="926">
                  <c:v>41491</c:v>
                </c:pt>
                <c:pt idx="927">
                  <c:v>41492</c:v>
                </c:pt>
                <c:pt idx="928">
                  <c:v>41493</c:v>
                </c:pt>
                <c:pt idx="929">
                  <c:v>41494</c:v>
                </c:pt>
                <c:pt idx="930">
                  <c:v>41495</c:v>
                </c:pt>
                <c:pt idx="931">
                  <c:v>41498</c:v>
                </c:pt>
                <c:pt idx="932">
                  <c:v>41499</c:v>
                </c:pt>
                <c:pt idx="933">
                  <c:v>41500</c:v>
                </c:pt>
                <c:pt idx="934">
                  <c:v>41501</c:v>
                </c:pt>
                <c:pt idx="935">
                  <c:v>41502</c:v>
                </c:pt>
                <c:pt idx="936">
                  <c:v>41505</c:v>
                </c:pt>
                <c:pt idx="937">
                  <c:v>41506</c:v>
                </c:pt>
                <c:pt idx="938">
                  <c:v>41507</c:v>
                </c:pt>
                <c:pt idx="939">
                  <c:v>41508</c:v>
                </c:pt>
                <c:pt idx="940">
                  <c:v>41509</c:v>
                </c:pt>
                <c:pt idx="941">
                  <c:v>41512</c:v>
                </c:pt>
                <c:pt idx="942">
                  <c:v>41513</c:v>
                </c:pt>
                <c:pt idx="943">
                  <c:v>41514</c:v>
                </c:pt>
                <c:pt idx="944">
                  <c:v>41515</c:v>
                </c:pt>
                <c:pt idx="945">
                  <c:v>41516</c:v>
                </c:pt>
                <c:pt idx="946">
                  <c:v>41519</c:v>
                </c:pt>
                <c:pt idx="947">
                  <c:v>41520</c:v>
                </c:pt>
                <c:pt idx="948">
                  <c:v>41521</c:v>
                </c:pt>
                <c:pt idx="949">
                  <c:v>41522</c:v>
                </c:pt>
                <c:pt idx="950">
                  <c:v>41523</c:v>
                </c:pt>
                <c:pt idx="951">
                  <c:v>41526</c:v>
                </c:pt>
                <c:pt idx="952">
                  <c:v>41527</c:v>
                </c:pt>
                <c:pt idx="953">
                  <c:v>41528</c:v>
                </c:pt>
                <c:pt idx="954">
                  <c:v>41529</c:v>
                </c:pt>
                <c:pt idx="955">
                  <c:v>41530</c:v>
                </c:pt>
                <c:pt idx="956">
                  <c:v>41533</c:v>
                </c:pt>
                <c:pt idx="957">
                  <c:v>41534</c:v>
                </c:pt>
                <c:pt idx="958">
                  <c:v>41535</c:v>
                </c:pt>
                <c:pt idx="959">
                  <c:v>41536</c:v>
                </c:pt>
                <c:pt idx="960">
                  <c:v>41537</c:v>
                </c:pt>
                <c:pt idx="961">
                  <c:v>41540</c:v>
                </c:pt>
                <c:pt idx="962">
                  <c:v>41541</c:v>
                </c:pt>
                <c:pt idx="963">
                  <c:v>41542</c:v>
                </c:pt>
                <c:pt idx="964">
                  <c:v>41543</c:v>
                </c:pt>
                <c:pt idx="965">
                  <c:v>41544</c:v>
                </c:pt>
                <c:pt idx="966">
                  <c:v>41547</c:v>
                </c:pt>
                <c:pt idx="967">
                  <c:v>41548</c:v>
                </c:pt>
                <c:pt idx="968">
                  <c:v>41549</c:v>
                </c:pt>
                <c:pt idx="969">
                  <c:v>41550</c:v>
                </c:pt>
                <c:pt idx="970">
                  <c:v>41551</c:v>
                </c:pt>
                <c:pt idx="971">
                  <c:v>41554</c:v>
                </c:pt>
                <c:pt idx="972">
                  <c:v>41555</c:v>
                </c:pt>
                <c:pt idx="973">
                  <c:v>41556</c:v>
                </c:pt>
                <c:pt idx="974">
                  <c:v>41557</c:v>
                </c:pt>
                <c:pt idx="975">
                  <c:v>41558</c:v>
                </c:pt>
                <c:pt idx="976">
                  <c:v>41561</c:v>
                </c:pt>
                <c:pt idx="977">
                  <c:v>41562</c:v>
                </c:pt>
                <c:pt idx="978">
                  <c:v>41563</c:v>
                </c:pt>
                <c:pt idx="979">
                  <c:v>41564</c:v>
                </c:pt>
                <c:pt idx="980">
                  <c:v>41565</c:v>
                </c:pt>
                <c:pt idx="981">
                  <c:v>41568</c:v>
                </c:pt>
                <c:pt idx="982">
                  <c:v>41569</c:v>
                </c:pt>
                <c:pt idx="983">
                  <c:v>41570</c:v>
                </c:pt>
                <c:pt idx="984">
                  <c:v>41571</c:v>
                </c:pt>
                <c:pt idx="985">
                  <c:v>41572</c:v>
                </c:pt>
                <c:pt idx="986">
                  <c:v>41575</c:v>
                </c:pt>
                <c:pt idx="987">
                  <c:v>41576</c:v>
                </c:pt>
                <c:pt idx="988">
                  <c:v>41577</c:v>
                </c:pt>
                <c:pt idx="989">
                  <c:v>41578</c:v>
                </c:pt>
                <c:pt idx="990">
                  <c:v>41579</c:v>
                </c:pt>
                <c:pt idx="991">
                  <c:v>41582</c:v>
                </c:pt>
                <c:pt idx="992">
                  <c:v>41583</c:v>
                </c:pt>
                <c:pt idx="993">
                  <c:v>41584</c:v>
                </c:pt>
                <c:pt idx="994">
                  <c:v>41585</c:v>
                </c:pt>
                <c:pt idx="995">
                  <c:v>41586</c:v>
                </c:pt>
                <c:pt idx="996">
                  <c:v>41589</c:v>
                </c:pt>
                <c:pt idx="997">
                  <c:v>41590</c:v>
                </c:pt>
                <c:pt idx="998">
                  <c:v>41591</c:v>
                </c:pt>
                <c:pt idx="999">
                  <c:v>41592</c:v>
                </c:pt>
                <c:pt idx="1000">
                  <c:v>41593</c:v>
                </c:pt>
                <c:pt idx="1001">
                  <c:v>41596</c:v>
                </c:pt>
                <c:pt idx="1002">
                  <c:v>41597</c:v>
                </c:pt>
                <c:pt idx="1003">
                  <c:v>41598</c:v>
                </c:pt>
                <c:pt idx="1004">
                  <c:v>41599</c:v>
                </c:pt>
                <c:pt idx="1005">
                  <c:v>41600</c:v>
                </c:pt>
                <c:pt idx="1006">
                  <c:v>41603</c:v>
                </c:pt>
                <c:pt idx="1007">
                  <c:v>41604</c:v>
                </c:pt>
                <c:pt idx="1008">
                  <c:v>41605</c:v>
                </c:pt>
                <c:pt idx="1009">
                  <c:v>41606</c:v>
                </c:pt>
                <c:pt idx="1010">
                  <c:v>41607</c:v>
                </c:pt>
                <c:pt idx="1011">
                  <c:v>41610</c:v>
                </c:pt>
                <c:pt idx="1012">
                  <c:v>41611</c:v>
                </c:pt>
                <c:pt idx="1013">
                  <c:v>41612</c:v>
                </c:pt>
                <c:pt idx="1014">
                  <c:v>41613</c:v>
                </c:pt>
                <c:pt idx="1015">
                  <c:v>41614</c:v>
                </c:pt>
                <c:pt idx="1016">
                  <c:v>41617</c:v>
                </c:pt>
                <c:pt idx="1017">
                  <c:v>41618</c:v>
                </c:pt>
                <c:pt idx="1018">
                  <c:v>41619</c:v>
                </c:pt>
                <c:pt idx="1019">
                  <c:v>41620</c:v>
                </c:pt>
                <c:pt idx="1020">
                  <c:v>41621</c:v>
                </c:pt>
                <c:pt idx="1021">
                  <c:v>41624</c:v>
                </c:pt>
                <c:pt idx="1022">
                  <c:v>41625</c:v>
                </c:pt>
                <c:pt idx="1023">
                  <c:v>41626</c:v>
                </c:pt>
                <c:pt idx="1024">
                  <c:v>41627</c:v>
                </c:pt>
                <c:pt idx="1025">
                  <c:v>41628</c:v>
                </c:pt>
                <c:pt idx="1026">
                  <c:v>41631</c:v>
                </c:pt>
                <c:pt idx="1027">
                  <c:v>41632</c:v>
                </c:pt>
                <c:pt idx="1028">
                  <c:v>41635</c:v>
                </c:pt>
                <c:pt idx="1029">
                  <c:v>41638</c:v>
                </c:pt>
                <c:pt idx="1030">
                  <c:v>41639</c:v>
                </c:pt>
                <c:pt idx="1031">
                  <c:v>41641</c:v>
                </c:pt>
                <c:pt idx="1032">
                  <c:v>41642</c:v>
                </c:pt>
                <c:pt idx="1033">
                  <c:v>41645</c:v>
                </c:pt>
                <c:pt idx="1034">
                  <c:v>41646</c:v>
                </c:pt>
                <c:pt idx="1035">
                  <c:v>41647</c:v>
                </c:pt>
                <c:pt idx="1036">
                  <c:v>41648</c:v>
                </c:pt>
                <c:pt idx="1037">
                  <c:v>41649</c:v>
                </c:pt>
                <c:pt idx="1038">
                  <c:v>41652</c:v>
                </c:pt>
                <c:pt idx="1039">
                  <c:v>41653</c:v>
                </c:pt>
                <c:pt idx="1040">
                  <c:v>41654</c:v>
                </c:pt>
                <c:pt idx="1041">
                  <c:v>41655</c:v>
                </c:pt>
                <c:pt idx="1042">
                  <c:v>41656</c:v>
                </c:pt>
                <c:pt idx="1043">
                  <c:v>41659</c:v>
                </c:pt>
                <c:pt idx="1044">
                  <c:v>41660</c:v>
                </c:pt>
                <c:pt idx="1045">
                  <c:v>41661</c:v>
                </c:pt>
                <c:pt idx="1046">
                  <c:v>41662</c:v>
                </c:pt>
                <c:pt idx="1047">
                  <c:v>41663</c:v>
                </c:pt>
                <c:pt idx="1048">
                  <c:v>41666</c:v>
                </c:pt>
                <c:pt idx="1049">
                  <c:v>41667</c:v>
                </c:pt>
                <c:pt idx="1050">
                  <c:v>41668</c:v>
                </c:pt>
                <c:pt idx="1051">
                  <c:v>41669</c:v>
                </c:pt>
                <c:pt idx="1052">
                  <c:v>41670</c:v>
                </c:pt>
                <c:pt idx="1053">
                  <c:v>41673</c:v>
                </c:pt>
                <c:pt idx="1054">
                  <c:v>41674</c:v>
                </c:pt>
                <c:pt idx="1055">
                  <c:v>41675</c:v>
                </c:pt>
                <c:pt idx="1056">
                  <c:v>41676</c:v>
                </c:pt>
                <c:pt idx="1057">
                  <c:v>41677</c:v>
                </c:pt>
                <c:pt idx="1058">
                  <c:v>41680</c:v>
                </c:pt>
                <c:pt idx="1059">
                  <c:v>41681</c:v>
                </c:pt>
                <c:pt idx="1060">
                  <c:v>41682</c:v>
                </c:pt>
                <c:pt idx="1061">
                  <c:v>41683</c:v>
                </c:pt>
                <c:pt idx="1062">
                  <c:v>41684</c:v>
                </c:pt>
                <c:pt idx="1063">
                  <c:v>41687</c:v>
                </c:pt>
                <c:pt idx="1064">
                  <c:v>41688</c:v>
                </c:pt>
                <c:pt idx="1065">
                  <c:v>41689</c:v>
                </c:pt>
                <c:pt idx="1066">
                  <c:v>41690</c:v>
                </c:pt>
                <c:pt idx="1067">
                  <c:v>41691</c:v>
                </c:pt>
                <c:pt idx="1068">
                  <c:v>41694</c:v>
                </c:pt>
                <c:pt idx="1069">
                  <c:v>41695</c:v>
                </c:pt>
                <c:pt idx="1070">
                  <c:v>41696</c:v>
                </c:pt>
                <c:pt idx="1071">
                  <c:v>41697</c:v>
                </c:pt>
                <c:pt idx="1072">
                  <c:v>41698</c:v>
                </c:pt>
                <c:pt idx="1073">
                  <c:v>41701</c:v>
                </c:pt>
                <c:pt idx="1074">
                  <c:v>41702</c:v>
                </c:pt>
                <c:pt idx="1075">
                  <c:v>41703</c:v>
                </c:pt>
                <c:pt idx="1076">
                  <c:v>41704</c:v>
                </c:pt>
                <c:pt idx="1077">
                  <c:v>41705</c:v>
                </c:pt>
                <c:pt idx="1078">
                  <c:v>41708</c:v>
                </c:pt>
                <c:pt idx="1079">
                  <c:v>41709</c:v>
                </c:pt>
                <c:pt idx="1080">
                  <c:v>41710</c:v>
                </c:pt>
                <c:pt idx="1081">
                  <c:v>41711</c:v>
                </c:pt>
                <c:pt idx="1082">
                  <c:v>41712</c:v>
                </c:pt>
                <c:pt idx="1083">
                  <c:v>41715</c:v>
                </c:pt>
                <c:pt idx="1084">
                  <c:v>41716</c:v>
                </c:pt>
                <c:pt idx="1085">
                  <c:v>41717</c:v>
                </c:pt>
                <c:pt idx="1086">
                  <c:v>41718</c:v>
                </c:pt>
                <c:pt idx="1087">
                  <c:v>41719</c:v>
                </c:pt>
                <c:pt idx="1088">
                  <c:v>41722</c:v>
                </c:pt>
                <c:pt idx="1089">
                  <c:v>41723</c:v>
                </c:pt>
                <c:pt idx="1090">
                  <c:v>41724</c:v>
                </c:pt>
                <c:pt idx="1091">
                  <c:v>41725</c:v>
                </c:pt>
                <c:pt idx="1092">
                  <c:v>41726</c:v>
                </c:pt>
                <c:pt idx="1093">
                  <c:v>41729</c:v>
                </c:pt>
                <c:pt idx="1094">
                  <c:v>41730</c:v>
                </c:pt>
                <c:pt idx="1095">
                  <c:v>41731</c:v>
                </c:pt>
                <c:pt idx="1096">
                  <c:v>41732</c:v>
                </c:pt>
                <c:pt idx="1097">
                  <c:v>41733</c:v>
                </c:pt>
                <c:pt idx="1098">
                  <c:v>41736</c:v>
                </c:pt>
                <c:pt idx="1099">
                  <c:v>41737</c:v>
                </c:pt>
                <c:pt idx="1100">
                  <c:v>41738</c:v>
                </c:pt>
                <c:pt idx="1101">
                  <c:v>41739</c:v>
                </c:pt>
                <c:pt idx="1102">
                  <c:v>41740</c:v>
                </c:pt>
                <c:pt idx="1103">
                  <c:v>41743</c:v>
                </c:pt>
                <c:pt idx="1104">
                  <c:v>41744</c:v>
                </c:pt>
                <c:pt idx="1105">
                  <c:v>41745</c:v>
                </c:pt>
                <c:pt idx="1106">
                  <c:v>41746</c:v>
                </c:pt>
                <c:pt idx="1107">
                  <c:v>41751</c:v>
                </c:pt>
                <c:pt idx="1108">
                  <c:v>41752</c:v>
                </c:pt>
                <c:pt idx="1109">
                  <c:v>41753</c:v>
                </c:pt>
                <c:pt idx="1110">
                  <c:v>41754</c:v>
                </c:pt>
                <c:pt idx="1111">
                  <c:v>41757</c:v>
                </c:pt>
                <c:pt idx="1112">
                  <c:v>41758</c:v>
                </c:pt>
                <c:pt idx="1113">
                  <c:v>41759</c:v>
                </c:pt>
                <c:pt idx="1114">
                  <c:v>41760</c:v>
                </c:pt>
                <c:pt idx="1115">
                  <c:v>41761</c:v>
                </c:pt>
                <c:pt idx="1116">
                  <c:v>41764</c:v>
                </c:pt>
                <c:pt idx="1117">
                  <c:v>41765</c:v>
                </c:pt>
                <c:pt idx="1118">
                  <c:v>41766</c:v>
                </c:pt>
                <c:pt idx="1119">
                  <c:v>41767</c:v>
                </c:pt>
                <c:pt idx="1120">
                  <c:v>41768</c:v>
                </c:pt>
                <c:pt idx="1121">
                  <c:v>41771</c:v>
                </c:pt>
                <c:pt idx="1122">
                  <c:v>41772</c:v>
                </c:pt>
                <c:pt idx="1123">
                  <c:v>41773</c:v>
                </c:pt>
                <c:pt idx="1124">
                  <c:v>41774</c:v>
                </c:pt>
                <c:pt idx="1125">
                  <c:v>41775</c:v>
                </c:pt>
                <c:pt idx="1126">
                  <c:v>41778</c:v>
                </c:pt>
                <c:pt idx="1127">
                  <c:v>41779</c:v>
                </c:pt>
                <c:pt idx="1128">
                  <c:v>41780</c:v>
                </c:pt>
                <c:pt idx="1129">
                  <c:v>41781</c:v>
                </c:pt>
                <c:pt idx="1130">
                  <c:v>41782</c:v>
                </c:pt>
                <c:pt idx="1131">
                  <c:v>41785</c:v>
                </c:pt>
                <c:pt idx="1132">
                  <c:v>41786</c:v>
                </c:pt>
                <c:pt idx="1133">
                  <c:v>41787</c:v>
                </c:pt>
                <c:pt idx="1134">
                  <c:v>41788</c:v>
                </c:pt>
                <c:pt idx="1135">
                  <c:v>41789</c:v>
                </c:pt>
                <c:pt idx="1136">
                  <c:v>41792</c:v>
                </c:pt>
                <c:pt idx="1137">
                  <c:v>41793</c:v>
                </c:pt>
                <c:pt idx="1138">
                  <c:v>41794</c:v>
                </c:pt>
                <c:pt idx="1139">
                  <c:v>41795</c:v>
                </c:pt>
                <c:pt idx="1140">
                  <c:v>41796</c:v>
                </c:pt>
                <c:pt idx="1141">
                  <c:v>41799</c:v>
                </c:pt>
                <c:pt idx="1142">
                  <c:v>41800</c:v>
                </c:pt>
                <c:pt idx="1143">
                  <c:v>41801</c:v>
                </c:pt>
                <c:pt idx="1144">
                  <c:v>41802</c:v>
                </c:pt>
                <c:pt idx="1145">
                  <c:v>41803</c:v>
                </c:pt>
                <c:pt idx="1146">
                  <c:v>41806</c:v>
                </c:pt>
                <c:pt idx="1147">
                  <c:v>41807</c:v>
                </c:pt>
                <c:pt idx="1148">
                  <c:v>41808</c:v>
                </c:pt>
                <c:pt idx="1149">
                  <c:v>41809</c:v>
                </c:pt>
                <c:pt idx="1150">
                  <c:v>41810</c:v>
                </c:pt>
                <c:pt idx="1151">
                  <c:v>41813</c:v>
                </c:pt>
                <c:pt idx="1152">
                  <c:v>41814</c:v>
                </c:pt>
                <c:pt idx="1153">
                  <c:v>41815</c:v>
                </c:pt>
                <c:pt idx="1154">
                  <c:v>41816</c:v>
                </c:pt>
                <c:pt idx="1155">
                  <c:v>41817</c:v>
                </c:pt>
                <c:pt idx="1156">
                  <c:v>41820</c:v>
                </c:pt>
                <c:pt idx="1157">
                  <c:v>41821</c:v>
                </c:pt>
                <c:pt idx="1158">
                  <c:v>41822</c:v>
                </c:pt>
                <c:pt idx="1159">
                  <c:v>41823</c:v>
                </c:pt>
                <c:pt idx="1160">
                  <c:v>41824</c:v>
                </c:pt>
                <c:pt idx="1161">
                  <c:v>41827</c:v>
                </c:pt>
                <c:pt idx="1162">
                  <c:v>41828</c:v>
                </c:pt>
                <c:pt idx="1163">
                  <c:v>41829</c:v>
                </c:pt>
                <c:pt idx="1164">
                  <c:v>41830</c:v>
                </c:pt>
                <c:pt idx="1165">
                  <c:v>41831</c:v>
                </c:pt>
                <c:pt idx="1166">
                  <c:v>41834</c:v>
                </c:pt>
                <c:pt idx="1167">
                  <c:v>41835</c:v>
                </c:pt>
                <c:pt idx="1168">
                  <c:v>41836</c:v>
                </c:pt>
                <c:pt idx="1169">
                  <c:v>41837</c:v>
                </c:pt>
                <c:pt idx="1170">
                  <c:v>41838</c:v>
                </c:pt>
                <c:pt idx="1171">
                  <c:v>41841</c:v>
                </c:pt>
                <c:pt idx="1172">
                  <c:v>41842</c:v>
                </c:pt>
                <c:pt idx="1173">
                  <c:v>41843</c:v>
                </c:pt>
                <c:pt idx="1174">
                  <c:v>41844</c:v>
                </c:pt>
                <c:pt idx="1175">
                  <c:v>41845</c:v>
                </c:pt>
                <c:pt idx="1176">
                  <c:v>41848</c:v>
                </c:pt>
                <c:pt idx="1177">
                  <c:v>41849</c:v>
                </c:pt>
                <c:pt idx="1178">
                  <c:v>41850</c:v>
                </c:pt>
                <c:pt idx="1179">
                  <c:v>41851</c:v>
                </c:pt>
                <c:pt idx="1180">
                  <c:v>41852</c:v>
                </c:pt>
                <c:pt idx="1181">
                  <c:v>41855</c:v>
                </c:pt>
                <c:pt idx="1182">
                  <c:v>41856</c:v>
                </c:pt>
                <c:pt idx="1183">
                  <c:v>41857</c:v>
                </c:pt>
                <c:pt idx="1184">
                  <c:v>41858</c:v>
                </c:pt>
                <c:pt idx="1185">
                  <c:v>41859</c:v>
                </c:pt>
                <c:pt idx="1186">
                  <c:v>41862</c:v>
                </c:pt>
                <c:pt idx="1187">
                  <c:v>41863</c:v>
                </c:pt>
                <c:pt idx="1188">
                  <c:v>41864</c:v>
                </c:pt>
                <c:pt idx="1189">
                  <c:v>41865</c:v>
                </c:pt>
                <c:pt idx="1190">
                  <c:v>41866</c:v>
                </c:pt>
                <c:pt idx="1191">
                  <c:v>41869</c:v>
                </c:pt>
                <c:pt idx="1192">
                  <c:v>41870</c:v>
                </c:pt>
                <c:pt idx="1193">
                  <c:v>41871</c:v>
                </c:pt>
                <c:pt idx="1194">
                  <c:v>41872</c:v>
                </c:pt>
                <c:pt idx="1195">
                  <c:v>41873</c:v>
                </c:pt>
                <c:pt idx="1196">
                  <c:v>41876</c:v>
                </c:pt>
                <c:pt idx="1197">
                  <c:v>41877</c:v>
                </c:pt>
                <c:pt idx="1198">
                  <c:v>41878</c:v>
                </c:pt>
                <c:pt idx="1199">
                  <c:v>41879</c:v>
                </c:pt>
                <c:pt idx="1200">
                  <c:v>41880</c:v>
                </c:pt>
                <c:pt idx="1201">
                  <c:v>41883</c:v>
                </c:pt>
                <c:pt idx="1202">
                  <c:v>41884</c:v>
                </c:pt>
                <c:pt idx="1203">
                  <c:v>41885</c:v>
                </c:pt>
                <c:pt idx="1204">
                  <c:v>41886</c:v>
                </c:pt>
                <c:pt idx="1205">
                  <c:v>41887</c:v>
                </c:pt>
                <c:pt idx="1206">
                  <c:v>41890</c:v>
                </c:pt>
                <c:pt idx="1207">
                  <c:v>41891</c:v>
                </c:pt>
                <c:pt idx="1208">
                  <c:v>41892</c:v>
                </c:pt>
                <c:pt idx="1209">
                  <c:v>41893</c:v>
                </c:pt>
                <c:pt idx="1210">
                  <c:v>41894</c:v>
                </c:pt>
                <c:pt idx="1211">
                  <c:v>41897</c:v>
                </c:pt>
                <c:pt idx="1212">
                  <c:v>41898</c:v>
                </c:pt>
                <c:pt idx="1213">
                  <c:v>41899</c:v>
                </c:pt>
                <c:pt idx="1214">
                  <c:v>41900</c:v>
                </c:pt>
                <c:pt idx="1215">
                  <c:v>41901</c:v>
                </c:pt>
                <c:pt idx="1216">
                  <c:v>41904</c:v>
                </c:pt>
                <c:pt idx="1217">
                  <c:v>41905</c:v>
                </c:pt>
                <c:pt idx="1218">
                  <c:v>41906</c:v>
                </c:pt>
                <c:pt idx="1219">
                  <c:v>41907</c:v>
                </c:pt>
                <c:pt idx="1220">
                  <c:v>41908</c:v>
                </c:pt>
                <c:pt idx="1221">
                  <c:v>41911</c:v>
                </c:pt>
                <c:pt idx="1222">
                  <c:v>41912</c:v>
                </c:pt>
                <c:pt idx="1223">
                  <c:v>41913</c:v>
                </c:pt>
                <c:pt idx="1224">
                  <c:v>41914</c:v>
                </c:pt>
                <c:pt idx="1225">
                  <c:v>41915</c:v>
                </c:pt>
                <c:pt idx="1226">
                  <c:v>41918</c:v>
                </c:pt>
                <c:pt idx="1227">
                  <c:v>41919</c:v>
                </c:pt>
                <c:pt idx="1228">
                  <c:v>41920</c:v>
                </c:pt>
                <c:pt idx="1229">
                  <c:v>41921</c:v>
                </c:pt>
                <c:pt idx="1230">
                  <c:v>41922</c:v>
                </c:pt>
                <c:pt idx="1231">
                  <c:v>41925</c:v>
                </c:pt>
                <c:pt idx="1232">
                  <c:v>41926</c:v>
                </c:pt>
                <c:pt idx="1233">
                  <c:v>41927</c:v>
                </c:pt>
                <c:pt idx="1234">
                  <c:v>41928</c:v>
                </c:pt>
                <c:pt idx="1235">
                  <c:v>41929</c:v>
                </c:pt>
                <c:pt idx="1236">
                  <c:v>41932</c:v>
                </c:pt>
                <c:pt idx="1237">
                  <c:v>41933</c:v>
                </c:pt>
                <c:pt idx="1238">
                  <c:v>41934</c:v>
                </c:pt>
                <c:pt idx="1239">
                  <c:v>41935</c:v>
                </c:pt>
                <c:pt idx="1240">
                  <c:v>41936</c:v>
                </c:pt>
                <c:pt idx="1241">
                  <c:v>41939</c:v>
                </c:pt>
                <c:pt idx="1242">
                  <c:v>41940</c:v>
                </c:pt>
                <c:pt idx="1243">
                  <c:v>41941</c:v>
                </c:pt>
                <c:pt idx="1244">
                  <c:v>41942</c:v>
                </c:pt>
                <c:pt idx="1245">
                  <c:v>41943</c:v>
                </c:pt>
              </c:numCache>
            </c:numRef>
          </c:cat>
          <c:val>
            <c:numRef>
              <c:f>Sheet1!$D$2:$D$1247</c:f>
              <c:numCache>
                <c:formatCode>General</c:formatCode>
                <c:ptCount val="1246"/>
              </c:numCache>
            </c:numRef>
          </c:val>
          <c:smooth val="0"/>
        </c:ser>
        <c:dLbls>
          <c:showLegendKey val="0"/>
          <c:showVal val="0"/>
          <c:showCatName val="0"/>
          <c:showSerName val="0"/>
          <c:showPercent val="0"/>
          <c:showBubbleSize val="0"/>
        </c:dLbls>
        <c:marker val="1"/>
        <c:smooth val="0"/>
        <c:axId val="34715904"/>
        <c:axId val="37031936"/>
      </c:lineChart>
      <c:dateAx>
        <c:axId val="34715904"/>
        <c:scaling>
          <c:orientation val="minMax"/>
        </c:scaling>
        <c:delete val="0"/>
        <c:axPos val="b"/>
        <c:numFmt formatCode="[$-409]mmm\-yy;@" sourceLinked="0"/>
        <c:majorTickMark val="in"/>
        <c:minorTickMark val="in"/>
        <c:tickLblPos val="nextTo"/>
        <c:spPr>
          <a:ln w="12700">
            <a:solidFill>
              <a:schemeClr val="tx2"/>
            </a:solidFill>
            <a:prstDash val="solid"/>
          </a:ln>
        </c:spPr>
        <c:txPr>
          <a:bodyPr rot="0" vert="horz"/>
          <a:lstStyle/>
          <a:p>
            <a:pPr>
              <a:defRPr sz="1000" b="0" i="0" u="none" strike="noStrike" baseline="0">
                <a:solidFill>
                  <a:schemeClr val="tx1"/>
                </a:solidFill>
                <a:latin typeface="Arial"/>
                <a:ea typeface="Arial"/>
                <a:cs typeface="Arial"/>
              </a:defRPr>
            </a:pPr>
            <a:endParaRPr lang="en-US"/>
          </a:p>
        </c:txPr>
        <c:crossAx val="37031936"/>
        <c:crosses val="autoZero"/>
        <c:auto val="1"/>
        <c:lblOffset val="100"/>
        <c:baseTimeUnit val="days"/>
      </c:dateAx>
      <c:valAx>
        <c:axId val="37031936"/>
        <c:scaling>
          <c:orientation val="minMax"/>
        </c:scaling>
        <c:delete val="0"/>
        <c:axPos val="l"/>
        <c:majorGridlines>
          <c:spPr>
            <a:ln w="12700" cmpd="sng">
              <a:solidFill>
                <a:schemeClr val="tx2"/>
              </a:solidFill>
              <a:prstDash val="solid"/>
            </a:ln>
          </c:spPr>
        </c:majorGridlines>
        <c:numFmt formatCode="0" sourceLinked="0"/>
        <c:majorTickMark val="out"/>
        <c:minorTickMark val="none"/>
        <c:tickLblPos val="nextTo"/>
        <c:spPr>
          <a:ln w="9493">
            <a:noFill/>
          </a:ln>
        </c:spPr>
        <c:txPr>
          <a:bodyPr rot="0" vert="horz"/>
          <a:lstStyle/>
          <a:p>
            <a:pPr>
              <a:defRPr sz="1000" b="0" i="0" u="none" strike="noStrike" baseline="0">
                <a:solidFill>
                  <a:schemeClr val="tx1"/>
                </a:solidFill>
                <a:latin typeface="Arial"/>
                <a:ea typeface="Arial"/>
                <a:cs typeface="Arial"/>
              </a:defRPr>
            </a:pPr>
            <a:endParaRPr lang="en-US"/>
          </a:p>
        </c:txPr>
        <c:crossAx val="34715904"/>
        <c:crosses val="autoZero"/>
        <c:crossBetween val="between"/>
      </c:valAx>
      <c:spPr>
        <a:noFill/>
        <a:ln w="25313">
          <a:noFill/>
        </a:ln>
      </c:spPr>
    </c:plotArea>
    <c:plotVisOnly val="1"/>
    <c:dispBlanksAs val="gap"/>
    <c:showDLblsOverMax val="0"/>
  </c:chart>
  <c:spPr>
    <a:noFill/>
    <a:ln>
      <a:noFill/>
    </a:ln>
  </c:spPr>
  <c:txPr>
    <a:bodyPr/>
    <a:lstStyle/>
    <a:p>
      <a:pPr>
        <a:defRPr sz="1196" b="0" i="0" u="none" strike="noStrike" baseline="0">
          <a:solidFill>
            <a:schemeClr val="tx1"/>
          </a:solidFill>
          <a:latin typeface="Arial"/>
          <a:ea typeface="Arial"/>
          <a:cs typeface="Aria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72134733158355"/>
          <c:y val="5.0269935770223852E-2"/>
          <c:w val="0.54750851456067995"/>
          <c:h val="0.84222440944881893"/>
        </c:manualLayout>
      </c:layout>
      <c:barChart>
        <c:barDir val="bar"/>
        <c:grouping val="clustered"/>
        <c:varyColors val="0"/>
        <c:ser>
          <c:idx val="0"/>
          <c:order val="0"/>
          <c:tx>
            <c:strRef>
              <c:f>Sheet1!$B$1</c:f>
              <c:strCache>
                <c:ptCount val="1"/>
                <c:pt idx="0">
                  <c:v>Weight</c:v>
                </c:pt>
              </c:strCache>
            </c:strRef>
          </c:tx>
          <c:spPr>
            <a:solidFill>
              <a:schemeClr val="accent2"/>
            </a:solidFill>
            <a:ln>
              <a:noFill/>
            </a:ln>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Pt>
            <c:idx val="8"/>
            <c:invertIfNegative val="0"/>
            <c:bubble3D val="0"/>
          </c:dPt>
          <c:dPt>
            <c:idx val="9"/>
            <c:invertIfNegative val="0"/>
            <c:bubble3D val="0"/>
            <c:spPr>
              <a:solidFill>
                <a:schemeClr val="accent2"/>
              </a:solidFill>
              <a:ln>
                <a:solidFill>
                  <a:schemeClr val="accent2"/>
                </a:solidFill>
              </a:ln>
            </c:spPr>
          </c:dPt>
          <c:dLbls>
            <c:numFmt formatCode="0.0%" sourceLinked="0"/>
            <c:txPr>
              <a:bodyPr anchor="ctr" anchorCtr="1"/>
              <a:lstStyle/>
              <a:p>
                <a:pPr>
                  <a:defRPr sz="1000" b="0"/>
                </a:pPr>
                <a:endParaRPr lang="en-US"/>
              </a:p>
            </c:txPr>
            <c:dLblPos val="outEnd"/>
            <c:showLegendKey val="0"/>
            <c:showVal val="1"/>
            <c:showCatName val="0"/>
            <c:showSerName val="0"/>
            <c:showPercent val="0"/>
            <c:showBubbleSize val="0"/>
            <c:separator> </c:separator>
            <c:showLeaderLines val="0"/>
          </c:dLbls>
          <c:cat>
            <c:strRef>
              <c:f>Sheet1!$A$2:$A$9</c:f>
              <c:strCache>
                <c:ptCount val="8"/>
                <c:pt idx="0">
                  <c:v>Technology</c:v>
                </c:pt>
                <c:pt idx="1">
                  <c:v>Health Care</c:v>
                </c:pt>
                <c:pt idx="2">
                  <c:v>Consumer Goods</c:v>
                </c:pt>
                <c:pt idx="3">
                  <c:v>Industrials</c:v>
                </c:pt>
                <c:pt idx="4">
                  <c:v>Telecommunications</c:v>
                </c:pt>
                <c:pt idx="5">
                  <c:v>Consumer Services</c:v>
                </c:pt>
                <c:pt idx="6">
                  <c:v>Utilities</c:v>
                </c:pt>
                <c:pt idx="7">
                  <c:v>Financials</c:v>
                </c:pt>
              </c:strCache>
            </c:strRef>
          </c:cat>
          <c:val>
            <c:numRef>
              <c:f>Sheet1!$B$2:$B$9</c:f>
              <c:numCache>
                <c:formatCode>0.00%</c:formatCode>
                <c:ptCount val="8"/>
                <c:pt idx="0">
                  <c:v>1.76948E-2</c:v>
                </c:pt>
                <c:pt idx="1">
                  <c:v>3.64605E-2</c:v>
                </c:pt>
                <c:pt idx="2">
                  <c:v>6.4702800000000005E-2</c:v>
                </c:pt>
                <c:pt idx="3">
                  <c:v>8.8667300000000004E-2</c:v>
                </c:pt>
                <c:pt idx="4">
                  <c:v>0.10616909999999999</c:v>
                </c:pt>
                <c:pt idx="5">
                  <c:v>0.12627870000000002</c:v>
                </c:pt>
                <c:pt idx="6">
                  <c:v>0.18266970000000002</c:v>
                </c:pt>
                <c:pt idx="7">
                  <c:v>0.37735680000000005</c:v>
                </c:pt>
              </c:numCache>
            </c:numRef>
          </c:val>
        </c:ser>
        <c:dLbls>
          <c:showLegendKey val="0"/>
          <c:showVal val="0"/>
          <c:showCatName val="0"/>
          <c:showSerName val="0"/>
          <c:showPercent val="0"/>
          <c:showBubbleSize val="0"/>
        </c:dLbls>
        <c:gapWidth val="150"/>
        <c:axId val="48777856"/>
        <c:axId val="48796032"/>
      </c:barChart>
      <c:catAx>
        <c:axId val="48777856"/>
        <c:scaling>
          <c:orientation val="minMax"/>
        </c:scaling>
        <c:delete val="0"/>
        <c:axPos val="l"/>
        <c:numFmt formatCode="0.0%" sourceLinked="0"/>
        <c:majorTickMark val="none"/>
        <c:minorTickMark val="none"/>
        <c:tickLblPos val="nextTo"/>
        <c:spPr>
          <a:ln w="6350">
            <a:solidFill>
              <a:schemeClr val="tx2"/>
            </a:solidFill>
          </a:ln>
        </c:spPr>
        <c:txPr>
          <a:bodyPr anchor="ctr" anchorCtr="1"/>
          <a:lstStyle/>
          <a:p>
            <a:pPr>
              <a:defRPr sz="1000"/>
            </a:pPr>
            <a:endParaRPr lang="en-US"/>
          </a:p>
        </c:txPr>
        <c:crossAx val="48796032"/>
        <c:crosses val="autoZero"/>
        <c:auto val="1"/>
        <c:lblAlgn val="ctr"/>
        <c:lblOffset val="100"/>
        <c:noMultiLvlLbl val="0"/>
      </c:catAx>
      <c:valAx>
        <c:axId val="48796032"/>
        <c:scaling>
          <c:orientation val="minMax"/>
        </c:scaling>
        <c:delete val="1"/>
        <c:axPos val="b"/>
        <c:numFmt formatCode="0.00%" sourceLinked="1"/>
        <c:majorTickMark val="out"/>
        <c:minorTickMark val="none"/>
        <c:tickLblPos val="nextTo"/>
        <c:crossAx val="48777856"/>
        <c:crosses val="autoZero"/>
        <c:crossBetween val="between"/>
      </c:valAx>
    </c:plotArea>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72134733158355"/>
          <c:y val="5.0269935770223852E-2"/>
          <c:w val="0.54750851456067995"/>
          <c:h val="0.84222440944881893"/>
        </c:manualLayout>
      </c:layout>
      <c:barChart>
        <c:barDir val="bar"/>
        <c:grouping val="clustered"/>
        <c:varyColors val="0"/>
        <c:ser>
          <c:idx val="0"/>
          <c:order val="0"/>
          <c:tx>
            <c:strRef>
              <c:f>Sheet1!$B$1</c:f>
              <c:strCache>
                <c:ptCount val="1"/>
                <c:pt idx="0">
                  <c:v>Weight</c:v>
                </c:pt>
              </c:strCache>
            </c:strRef>
          </c:tx>
          <c:spPr>
            <a:solidFill>
              <a:schemeClr val="accent2"/>
            </a:solidFill>
            <a:ln>
              <a:noFill/>
            </a:ln>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Pt>
            <c:idx val="8"/>
            <c:invertIfNegative val="0"/>
            <c:bubble3D val="0"/>
          </c:dPt>
          <c:dPt>
            <c:idx val="9"/>
            <c:invertIfNegative val="0"/>
            <c:bubble3D val="0"/>
            <c:spPr>
              <a:solidFill>
                <a:schemeClr val="accent2"/>
              </a:solidFill>
              <a:ln>
                <a:solidFill>
                  <a:schemeClr val="accent2"/>
                </a:solidFill>
              </a:ln>
            </c:spPr>
          </c:dPt>
          <c:dLbls>
            <c:numFmt formatCode="0.0%" sourceLinked="0"/>
            <c:txPr>
              <a:bodyPr anchor="ctr" anchorCtr="1"/>
              <a:lstStyle/>
              <a:p>
                <a:pPr>
                  <a:defRPr sz="1000" b="0"/>
                </a:pPr>
                <a:endParaRPr lang="en-US"/>
              </a:p>
            </c:txPr>
            <c:dLblPos val="outEnd"/>
            <c:showLegendKey val="0"/>
            <c:showVal val="1"/>
            <c:showCatName val="0"/>
            <c:showSerName val="0"/>
            <c:showPercent val="0"/>
            <c:showBubbleSize val="0"/>
            <c:separator> </c:separator>
            <c:showLeaderLines val="0"/>
          </c:dLbls>
          <c:cat>
            <c:strRef>
              <c:f>Sheet1!$A$2:$A$12</c:f>
              <c:strCache>
                <c:ptCount val="11"/>
                <c:pt idx="0">
                  <c:v>Others</c:v>
                </c:pt>
                <c:pt idx="1">
                  <c:v>Belgium</c:v>
                </c:pt>
                <c:pt idx="2">
                  <c:v>Japan</c:v>
                </c:pt>
                <c:pt idx="3">
                  <c:v>France</c:v>
                </c:pt>
                <c:pt idx="4">
                  <c:v>Switzerland</c:v>
                </c:pt>
                <c:pt idx="5">
                  <c:v>Canada</c:v>
                </c:pt>
                <c:pt idx="6">
                  <c:v>Singapore</c:v>
                </c:pt>
                <c:pt idx="7">
                  <c:v>Australia</c:v>
                </c:pt>
                <c:pt idx="8">
                  <c:v>Hong Kong</c:v>
                </c:pt>
                <c:pt idx="9">
                  <c:v>Great Britain</c:v>
                </c:pt>
                <c:pt idx="10">
                  <c:v>United States</c:v>
                </c:pt>
              </c:strCache>
            </c:strRef>
          </c:cat>
          <c:val>
            <c:numRef>
              <c:f>Sheet1!$B$2:$B$12</c:f>
              <c:numCache>
                <c:formatCode>0.00%</c:formatCode>
                <c:ptCount val="11"/>
                <c:pt idx="0">
                  <c:v>7.6509900000000006E-2</c:v>
                </c:pt>
                <c:pt idx="1">
                  <c:v>2.17964E-2</c:v>
                </c:pt>
                <c:pt idx="2">
                  <c:v>2.39423E-2</c:v>
                </c:pt>
                <c:pt idx="3">
                  <c:v>3.9146800000000002E-2</c:v>
                </c:pt>
                <c:pt idx="4">
                  <c:v>5.9997500000000002E-2</c:v>
                </c:pt>
                <c:pt idx="5">
                  <c:v>7.7771299999999988E-2</c:v>
                </c:pt>
                <c:pt idx="6">
                  <c:v>9.1633199999999998E-2</c:v>
                </c:pt>
                <c:pt idx="7">
                  <c:v>9.5376900000000001E-2</c:v>
                </c:pt>
                <c:pt idx="8">
                  <c:v>0.11199729999999999</c:v>
                </c:pt>
                <c:pt idx="9">
                  <c:v>0.14331379999999999</c:v>
                </c:pt>
                <c:pt idx="10">
                  <c:v>0.25851429999999992</c:v>
                </c:pt>
              </c:numCache>
            </c:numRef>
          </c:val>
        </c:ser>
        <c:dLbls>
          <c:showLegendKey val="0"/>
          <c:showVal val="0"/>
          <c:showCatName val="0"/>
          <c:showSerName val="0"/>
          <c:showPercent val="0"/>
          <c:showBubbleSize val="0"/>
        </c:dLbls>
        <c:gapWidth val="150"/>
        <c:axId val="48543616"/>
        <c:axId val="48545152"/>
      </c:barChart>
      <c:catAx>
        <c:axId val="48543616"/>
        <c:scaling>
          <c:orientation val="minMax"/>
        </c:scaling>
        <c:delete val="0"/>
        <c:axPos val="l"/>
        <c:numFmt formatCode="0.0%" sourceLinked="0"/>
        <c:majorTickMark val="none"/>
        <c:minorTickMark val="none"/>
        <c:tickLblPos val="nextTo"/>
        <c:spPr>
          <a:ln w="6350">
            <a:solidFill>
              <a:schemeClr val="tx2"/>
            </a:solidFill>
          </a:ln>
        </c:spPr>
        <c:txPr>
          <a:bodyPr anchor="ctr" anchorCtr="1"/>
          <a:lstStyle/>
          <a:p>
            <a:pPr>
              <a:defRPr sz="1000"/>
            </a:pPr>
            <a:endParaRPr lang="en-US"/>
          </a:p>
        </c:txPr>
        <c:crossAx val="48545152"/>
        <c:crosses val="autoZero"/>
        <c:auto val="1"/>
        <c:lblAlgn val="ctr"/>
        <c:lblOffset val="100"/>
        <c:noMultiLvlLbl val="0"/>
      </c:catAx>
      <c:valAx>
        <c:axId val="48545152"/>
        <c:scaling>
          <c:orientation val="minMax"/>
        </c:scaling>
        <c:delete val="1"/>
        <c:axPos val="b"/>
        <c:numFmt formatCode="0.00%" sourceLinked="1"/>
        <c:majorTickMark val="out"/>
        <c:minorTickMark val="none"/>
        <c:tickLblPos val="nextTo"/>
        <c:crossAx val="48543616"/>
        <c:crosses val="autoZero"/>
        <c:crossBetween val="between"/>
      </c:valAx>
    </c:plotArea>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D55E9D5-6EC7-464A-ABCB-0175CC23F9D5}" type="datetimeFigureOut">
              <a:rPr lang="de-DE" smtClean="0"/>
              <a:pPr/>
              <a:t>19.01.2015</a:t>
            </a:fld>
            <a:endParaRPr lang="de-DE" dirty="0"/>
          </a:p>
        </p:txBody>
      </p:sp>
      <p:sp>
        <p:nvSpPr>
          <p:cNvPr id="4" name="Folienbildplatzhalt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C706C45-A89D-4844-918B-944343F2F335}" type="slidenum">
              <a:rPr lang="de-DE" smtClean="0"/>
              <a:pPr/>
              <a:t>‹#›</a:t>
            </a:fld>
            <a:endParaRPr lang="de-DE" dirty="0"/>
          </a:p>
        </p:txBody>
      </p:sp>
    </p:spTree>
    <p:extLst>
      <p:ext uri="{BB962C8B-B14F-4D97-AF65-F5344CB8AC3E}">
        <p14:creationId xmlns:p14="http://schemas.microsoft.com/office/powerpoint/2010/main" val="37635599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a:spLocks noGrp="1" noChangeArrowheads="1"/>
          </p:cNvSpPr>
          <p:nvPr>
            <p:ph type="sldNum" sz="quarter" idx="5"/>
          </p:nvPr>
        </p:nvSpPr>
        <p:spPr>
          <a:noFill/>
        </p:spPr>
        <p:txBody>
          <a:bodyPr/>
          <a:lstStyle/>
          <a:p>
            <a:fld id="{91D65369-8E24-4680-A96B-5E6163E9F82C}" type="slidenum">
              <a:rPr lang="de-DE" smtClean="0">
                <a:solidFill>
                  <a:prstClr val="black"/>
                </a:solidFill>
              </a:rPr>
              <a:pPr/>
              <a:t>3</a:t>
            </a:fld>
            <a:endParaRPr lang="de-DE" dirty="0" smtClean="0">
              <a:solidFill>
                <a:prstClr val="black"/>
              </a:solidFill>
            </a:endParaRPr>
          </a:p>
        </p:txBody>
      </p:sp>
      <p:sp>
        <p:nvSpPr>
          <p:cNvPr id="92163" name="Rectangle 2"/>
          <p:cNvSpPr>
            <a:spLocks noGrp="1" noRot="1" noChangeAspect="1" noChangeArrowheads="1" noTextEdit="1"/>
          </p:cNvSpPr>
          <p:nvPr>
            <p:ph type="sldImg"/>
          </p:nvPr>
        </p:nvSpPr>
        <p:spPr>
          <a:ln/>
        </p:spPr>
      </p:sp>
      <p:sp>
        <p:nvSpPr>
          <p:cNvPr id="92164"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706C45-A89D-4844-918B-944343F2F335}" type="slidenum">
              <a:rPr lang="de-DE" smtClean="0">
                <a:solidFill>
                  <a:prstClr val="black"/>
                </a:solidFill>
              </a:rPr>
              <a:pPr/>
              <a:t>7</a:t>
            </a:fld>
            <a:endParaRPr lang="de-DE" dirty="0">
              <a:solidFill>
                <a:prstClr val="black"/>
              </a:solidFill>
            </a:endParaRPr>
          </a:p>
        </p:txBody>
      </p:sp>
    </p:spTree>
    <p:extLst>
      <p:ext uri="{BB962C8B-B14F-4D97-AF65-F5344CB8AC3E}">
        <p14:creationId xmlns:p14="http://schemas.microsoft.com/office/powerpoint/2010/main" val="29493690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1EE2E884-40A8-4798-BF18-D6CB35A0624F}" type="slidenum">
              <a:rPr lang="de-DE">
                <a:solidFill>
                  <a:srgbClr val="000000"/>
                </a:solidFill>
              </a:rPr>
              <a:pPr/>
              <a:t>9</a:t>
            </a:fld>
            <a:endParaRPr lang="de-DE" dirty="0">
              <a:solidFill>
                <a:srgbClr val="000000"/>
              </a:solidFill>
            </a:endParaRPr>
          </a:p>
        </p:txBody>
      </p:sp>
      <p:sp>
        <p:nvSpPr>
          <p:cNvPr id="29699" name="Rectangle 7"/>
          <p:cNvSpPr txBox="1">
            <a:spLocks noGrp="1" noChangeArrowheads="1"/>
          </p:cNvSpPr>
          <p:nvPr/>
        </p:nvSpPr>
        <p:spPr bwMode="auto">
          <a:xfrm>
            <a:off x="3885455" y="8686289"/>
            <a:ext cx="2972548" cy="457712"/>
          </a:xfrm>
          <a:prstGeom prst="rect">
            <a:avLst/>
          </a:prstGeom>
          <a:noFill/>
          <a:ln w="9525">
            <a:noFill/>
            <a:miter lim="800000"/>
            <a:headEnd/>
            <a:tailEnd/>
          </a:ln>
        </p:spPr>
        <p:txBody>
          <a:bodyPr lIns="91494" tIns="45748" rIns="91494" bIns="45748" anchor="b"/>
          <a:lstStyle/>
          <a:p>
            <a:pPr algn="r" eaLnBrk="0" hangingPunct="0">
              <a:spcBef>
                <a:spcPct val="0"/>
              </a:spcBef>
            </a:pPr>
            <a:fld id="{13689EED-5508-406E-9B63-92BBE18CB967}" type="slidenum">
              <a:rPr lang="en-US" sz="1200">
                <a:solidFill>
                  <a:srgbClr val="000000"/>
                </a:solidFill>
                <a:ea typeface="ＭＳ Ｐゴシック" pitchFamily="34" charset="-128"/>
              </a:rPr>
              <a:pPr algn="r" eaLnBrk="0" hangingPunct="0">
                <a:spcBef>
                  <a:spcPct val="0"/>
                </a:spcBef>
              </a:pPr>
              <a:t>9</a:t>
            </a:fld>
            <a:endParaRPr lang="en-US" sz="1200" dirty="0">
              <a:solidFill>
                <a:srgbClr val="000000"/>
              </a:solidFill>
              <a:ea typeface="ＭＳ Ｐゴシック" pitchFamily="34" charset="-128"/>
            </a:endParaRPr>
          </a:p>
        </p:txBody>
      </p:sp>
      <p:sp>
        <p:nvSpPr>
          <p:cNvPr id="29700" name="Rectangle 2"/>
          <p:cNvSpPr>
            <a:spLocks noGrp="1" noRot="1" noChangeAspect="1" noChangeArrowheads="1" noTextEdit="1"/>
          </p:cNvSpPr>
          <p:nvPr>
            <p:ph type="sldImg"/>
          </p:nvPr>
        </p:nvSpPr>
        <p:spPr>
          <a:xfrm>
            <a:off x="463550" y="457200"/>
            <a:ext cx="5927725" cy="4103688"/>
          </a:xfrm>
          <a:ln/>
        </p:spPr>
      </p:sp>
      <p:sp>
        <p:nvSpPr>
          <p:cNvPr id="29701" name="Rectangle 3"/>
          <p:cNvSpPr>
            <a:spLocks noGrp="1" noChangeArrowheads="1"/>
          </p:cNvSpPr>
          <p:nvPr>
            <p:ph type="body" idx="1"/>
          </p:nvPr>
        </p:nvSpPr>
        <p:spPr>
          <a:xfrm>
            <a:off x="685485" y="4561036"/>
            <a:ext cx="5487041" cy="4116482"/>
          </a:xfrm>
          <a:noFill/>
          <a:ln/>
        </p:spPr>
        <p:txBody>
          <a:bodyPr/>
          <a:lstStyle/>
          <a:p>
            <a:pPr eaLnBrk="1" hangingPunct="1"/>
            <a:endParaRPr lang="de-CH"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9" name="Rectangle 2"/>
          <p:cNvSpPr>
            <a:spLocks noGrp="1" noRot="1" noChangeAspect="1" noChangeArrowheads="1" noTextEdit="1"/>
          </p:cNvSpPr>
          <p:nvPr>
            <p:ph type="sldImg"/>
          </p:nvPr>
        </p:nvSpPr>
        <p:spPr>
          <a:ln/>
        </p:spPr>
      </p:sp>
      <p:sp>
        <p:nvSpPr>
          <p:cNvPr id="91140"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txBox="1">
            <a:spLocks noGrp="1" noChangeArrowheads="1"/>
          </p:cNvSpPr>
          <p:nvPr/>
        </p:nvSpPr>
        <p:spPr bwMode="auto">
          <a:xfrm>
            <a:off x="3884065" y="8685048"/>
            <a:ext cx="2972335" cy="457493"/>
          </a:xfrm>
          <a:prstGeom prst="rect">
            <a:avLst/>
          </a:prstGeom>
          <a:noFill/>
          <a:ln w="9525">
            <a:noFill/>
            <a:miter lim="800000"/>
            <a:headEnd/>
            <a:tailEnd/>
          </a:ln>
        </p:spPr>
        <p:txBody>
          <a:bodyPr anchor="b"/>
          <a:lstStyle/>
          <a:p>
            <a:pPr algn="r">
              <a:spcBef>
                <a:spcPct val="0"/>
              </a:spcBef>
            </a:pPr>
            <a:fld id="{C7290348-950D-4A40-BFD8-75C8DCFB4773}" type="slidenum">
              <a:rPr lang="de-DE" sz="1200" b="0">
                <a:solidFill>
                  <a:prstClr val="black"/>
                </a:solidFill>
                <a:cs typeface="Arial" charset="0"/>
              </a:rPr>
              <a:pPr algn="r">
                <a:spcBef>
                  <a:spcPct val="0"/>
                </a:spcBef>
              </a:pPr>
              <a:t>11</a:t>
            </a:fld>
            <a:endParaRPr lang="de-DE" sz="1200" b="0" dirty="0">
              <a:solidFill>
                <a:prstClr val="black"/>
              </a:solidFill>
              <a:cs typeface="Arial" charset="0"/>
            </a:endParaRPr>
          </a:p>
        </p:txBody>
      </p:sp>
      <p:sp>
        <p:nvSpPr>
          <p:cNvPr id="46083" name="Slide Image Placeholder 1"/>
          <p:cNvSpPr>
            <a:spLocks noGrp="1" noRot="1" noChangeAspect="1" noTextEdit="1"/>
          </p:cNvSpPr>
          <p:nvPr>
            <p:ph type="sldImg"/>
          </p:nvPr>
        </p:nvSpPr>
        <p:spPr>
          <a:ln/>
        </p:spPr>
      </p:sp>
      <p:sp>
        <p:nvSpPr>
          <p:cNvPr id="46084" name="Notes Placeholder 2"/>
          <p:cNvSpPr>
            <a:spLocks noGrp="1"/>
          </p:cNvSpPr>
          <p:nvPr>
            <p:ph type="body" idx="1"/>
          </p:nvPr>
        </p:nvSpPr>
        <p:spPr>
          <a:xfrm>
            <a:off x="914936" y="4343988"/>
            <a:ext cx="5028131" cy="4114509"/>
          </a:xfrm>
          <a:noFill/>
          <a:ln/>
        </p:spPr>
        <p:txBody>
          <a:bodyPr/>
          <a:lstStyle/>
          <a:p>
            <a:pPr eaLnBrk="1" hangingPunct="1"/>
            <a:endParaRPr lang="en-US" dirty="0" smtClean="0"/>
          </a:p>
        </p:txBody>
      </p:sp>
      <p:sp>
        <p:nvSpPr>
          <p:cNvPr id="46085" name="Slide Number Placeholder 3"/>
          <p:cNvSpPr txBox="1">
            <a:spLocks noGrp="1"/>
          </p:cNvSpPr>
          <p:nvPr/>
        </p:nvSpPr>
        <p:spPr bwMode="auto">
          <a:xfrm>
            <a:off x="3885666" y="8686510"/>
            <a:ext cx="2972334" cy="457491"/>
          </a:xfrm>
          <a:prstGeom prst="rect">
            <a:avLst/>
          </a:prstGeom>
          <a:noFill/>
          <a:ln w="9525">
            <a:noFill/>
            <a:miter lim="800000"/>
            <a:headEnd/>
            <a:tailEnd/>
          </a:ln>
        </p:spPr>
        <p:txBody>
          <a:bodyPr anchor="b"/>
          <a:lstStyle/>
          <a:p>
            <a:pPr algn="r" eaLnBrk="0" hangingPunct="0">
              <a:spcBef>
                <a:spcPct val="0"/>
              </a:spcBef>
            </a:pPr>
            <a:fld id="{99868DBA-5EA7-4DDB-B474-8A2272AB207C}" type="slidenum">
              <a:rPr lang="de-DE" sz="1200" b="0">
                <a:solidFill>
                  <a:prstClr val="black"/>
                </a:solidFill>
                <a:ea typeface="ＭＳ Ｐゴシック" pitchFamily="34" charset="-128"/>
                <a:cs typeface="Arial" charset="0"/>
              </a:rPr>
              <a:pPr algn="r" eaLnBrk="0" hangingPunct="0">
                <a:spcBef>
                  <a:spcPct val="0"/>
                </a:spcBef>
              </a:pPr>
              <a:t>11</a:t>
            </a:fld>
            <a:endParaRPr lang="de-DE" sz="1200" b="0" dirty="0">
              <a:solidFill>
                <a:prstClr val="black"/>
              </a:solidFill>
              <a:ea typeface="ＭＳ Ｐゴシック" pitchFamily="34" charset="-128"/>
              <a:cs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4.jpe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jpe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27806813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28454951"/>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44666951"/>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53618321"/>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82887795"/>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46206417"/>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85247705"/>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255258760"/>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35432602"/>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512295266"/>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4851498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33940906"/>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47829462"/>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877982229"/>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1306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4599618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932414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72042384"/>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52160744"/>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97681503"/>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1694318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4382026"/>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587592808"/>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820474775"/>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818013202"/>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300557234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138555036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64188525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71818570"/>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48758141"/>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2293689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1672966"/>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6875387"/>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24026357"/>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124299842"/>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30164187"/>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883761270"/>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9837310"/>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00821534"/>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997612321"/>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61351923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9968046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08865121"/>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23673457"/>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04703469"/>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005933697"/>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90465216"/>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53657289"/>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58005835"/>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191554498"/>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4019858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68344850"/>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96413479"/>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023683973"/>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08106423"/>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54577409"/>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87113799"/>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08393383"/>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44434519"/>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62727884"/>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600576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462136358"/>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570482229"/>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312391679"/>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688967172"/>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720067447"/>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253211181"/>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96567695"/>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162883190"/>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92501555"/>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387851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217715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35048851"/>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28454672"/>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59313007"/>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567343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667039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1411899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559503369"/>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53504008"/>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13607238"/>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04970774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02899945"/>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19892003"/>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195587492"/>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50680912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9743914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0788705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88991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0377398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332728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05316884"/>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968986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1047026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7967308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616074589"/>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9969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4311154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0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779437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18859876"/>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8695989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01520852"/>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1148255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69185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21911790"/>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11526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4075251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414502657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237225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8505999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0270586"/>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219518603"/>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98991640"/>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2149857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3707869"/>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20143377"/>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689303891"/>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571267246"/>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21272167"/>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2068906"/>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876274762"/>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75191127"/>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13926226"/>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123372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895365"/>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32201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49429617"/>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10361253"/>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028263315"/>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80664411"/>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52303022"/>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55576085"/>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43617771"/>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879160289"/>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047803669"/>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437433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jpe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slideLayout" Target="../slideLayouts/slideLayout101.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slideLayout" Target="../slideLayouts/slideLayout104.xml"/><Relationship Id="rId47" Type="http://schemas.openxmlformats.org/officeDocument/2006/relationships/slideLayout" Target="../slideLayouts/slideLayout109.xml"/><Relationship Id="rId50" Type="http://schemas.openxmlformats.org/officeDocument/2006/relationships/slideLayout" Target="../slideLayouts/slideLayout112.xml"/><Relationship Id="rId55" Type="http://schemas.openxmlformats.org/officeDocument/2006/relationships/slideLayout" Target="../slideLayouts/slideLayout117.xml"/><Relationship Id="rId63" Type="http://schemas.openxmlformats.org/officeDocument/2006/relationships/image" Target="../media/image1.jpeg"/><Relationship Id="rId7" Type="http://schemas.openxmlformats.org/officeDocument/2006/relationships/slideLayout" Target="../slideLayouts/slideLayout6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41" Type="http://schemas.openxmlformats.org/officeDocument/2006/relationships/slideLayout" Target="../slideLayouts/slideLayout103.xml"/><Relationship Id="rId54" Type="http://schemas.openxmlformats.org/officeDocument/2006/relationships/slideLayout" Target="../slideLayouts/slideLayout116.xml"/><Relationship Id="rId62" Type="http://schemas.openxmlformats.org/officeDocument/2006/relationships/theme" Target="../theme/theme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slideLayout" Target="../slideLayouts/slideLayout102.xml"/><Relationship Id="rId45" Type="http://schemas.openxmlformats.org/officeDocument/2006/relationships/slideLayout" Target="../slideLayouts/slideLayout107.xml"/><Relationship Id="rId53" Type="http://schemas.openxmlformats.org/officeDocument/2006/relationships/slideLayout" Target="../slideLayouts/slideLayout115.xml"/><Relationship Id="rId58" Type="http://schemas.openxmlformats.org/officeDocument/2006/relationships/slideLayout" Target="../slideLayouts/slideLayout120.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49" Type="http://schemas.openxmlformats.org/officeDocument/2006/relationships/slideLayout" Target="../slideLayouts/slideLayout111.xml"/><Relationship Id="rId57" Type="http://schemas.openxmlformats.org/officeDocument/2006/relationships/slideLayout" Target="../slideLayouts/slideLayout119.xml"/><Relationship Id="rId61" Type="http://schemas.openxmlformats.org/officeDocument/2006/relationships/slideLayout" Target="../slideLayouts/slideLayout123.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52" Type="http://schemas.openxmlformats.org/officeDocument/2006/relationships/slideLayout" Target="../slideLayouts/slideLayout114.xml"/><Relationship Id="rId60" Type="http://schemas.openxmlformats.org/officeDocument/2006/relationships/slideLayout" Target="../slideLayouts/slideLayout12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slideLayout" Target="../slideLayouts/slideLayout105.xml"/><Relationship Id="rId48" Type="http://schemas.openxmlformats.org/officeDocument/2006/relationships/slideLayout" Target="../slideLayouts/slideLayout110.xml"/><Relationship Id="rId56" Type="http://schemas.openxmlformats.org/officeDocument/2006/relationships/slideLayout" Target="../slideLayouts/slideLayout118.xml"/><Relationship Id="rId8" Type="http://schemas.openxmlformats.org/officeDocument/2006/relationships/slideLayout" Target="../slideLayouts/slideLayout70.xml"/><Relationship Id="rId51" Type="http://schemas.openxmlformats.org/officeDocument/2006/relationships/slideLayout" Target="../slideLayouts/slideLayout113.xml"/><Relationship Id="rId3" Type="http://schemas.openxmlformats.org/officeDocument/2006/relationships/slideLayout" Target="../slideLayouts/slideLayout65.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slideLayout" Target="../slideLayouts/slideLayout108.xml"/><Relationship Id="rId59" Type="http://schemas.openxmlformats.org/officeDocument/2006/relationships/slideLayout" Target="../slideLayouts/slideLayout12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9" Type="http://schemas.openxmlformats.org/officeDocument/2006/relationships/slideLayout" Target="../slideLayouts/slideLayout162.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42" Type="http://schemas.openxmlformats.org/officeDocument/2006/relationships/slideLayout" Target="../slideLayouts/slideLayout165.xml"/><Relationship Id="rId47" Type="http://schemas.openxmlformats.org/officeDocument/2006/relationships/slideLayout" Target="../slideLayouts/slideLayout170.xml"/><Relationship Id="rId50" Type="http://schemas.openxmlformats.org/officeDocument/2006/relationships/slideLayout" Target="../slideLayouts/slideLayout173.xml"/><Relationship Id="rId55" Type="http://schemas.openxmlformats.org/officeDocument/2006/relationships/slideLayout" Target="../slideLayouts/slideLayout178.xml"/><Relationship Id="rId7" Type="http://schemas.openxmlformats.org/officeDocument/2006/relationships/slideLayout" Target="../slideLayouts/slideLayout13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41" Type="http://schemas.openxmlformats.org/officeDocument/2006/relationships/slideLayout" Target="../slideLayouts/slideLayout164.xml"/><Relationship Id="rId54" Type="http://schemas.openxmlformats.org/officeDocument/2006/relationships/slideLayout" Target="../slideLayouts/slideLayout177.xml"/><Relationship Id="rId62" Type="http://schemas.openxmlformats.org/officeDocument/2006/relationships/image" Target="../media/image1.jpeg"/><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45" Type="http://schemas.openxmlformats.org/officeDocument/2006/relationships/slideLayout" Target="../slideLayouts/slideLayout168.xml"/><Relationship Id="rId53" Type="http://schemas.openxmlformats.org/officeDocument/2006/relationships/slideLayout" Target="../slideLayouts/slideLayout176.xml"/><Relationship Id="rId58" Type="http://schemas.openxmlformats.org/officeDocument/2006/relationships/slideLayout" Target="../slideLayouts/slideLayout181.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49" Type="http://schemas.openxmlformats.org/officeDocument/2006/relationships/slideLayout" Target="../slideLayouts/slideLayout172.xml"/><Relationship Id="rId57" Type="http://schemas.openxmlformats.org/officeDocument/2006/relationships/slideLayout" Target="../slideLayouts/slideLayout180.xml"/><Relationship Id="rId61" Type="http://schemas.openxmlformats.org/officeDocument/2006/relationships/theme" Target="../theme/theme3.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4" Type="http://schemas.openxmlformats.org/officeDocument/2006/relationships/slideLayout" Target="../slideLayouts/slideLayout167.xml"/><Relationship Id="rId52" Type="http://schemas.openxmlformats.org/officeDocument/2006/relationships/slideLayout" Target="../slideLayouts/slideLayout175.xml"/><Relationship Id="rId60" Type="http://schemas.openxmlformats.org/officeDocument/2006/relationships/slideLayout" Target="../slideLayouts/slideLayout183.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43" Type="http://schemas.openxmlformats.org/officeDocument/2006/relationships/slideLayout" Target="../slideLayouts/slideLayout166.xml"/><Relationship Id="rId48" Type="http://schemas.openxmlformats.org/officeDocument/2006/relationships/slideLayout" Target="../slideLayouts/slideLayout171.xml"/><Relationship Id="rId56" Type="http://schemas.openxmlformats.org/officeDocument/2006/relationships/slideLayout" Target="../slideLayouts/slideLayout179.xml"/><Relationship Id="rId8" Type="http://schemas.openxmlformats.org/officeDocument/2006/relationships/slideLayout" Target="../slideLayouts/slideLayout131.xml"/><Relationship Id="rId51" Type="http://schemas.openxmlformats.org/officeDocument/2006/relationships/slideLayout" Target="../slideLayouts/slideLayout174.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 Id="rId46" Type="http://schemas.openxmlformats.org/officeDocument/2006/relationships/slideLayout" Target="../slideLayouts/slideLayout169.xml"/><Relationship Id="rId59" Type="http://schemas.openxmlformats.org/officeDocument/2006/relationships/slideLayout" Target="../slideLayouts/slideLayout1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4"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pPr algn="r">
                <a:lnSpc>
                  <a:spcPct val="95000"/>
                </a:lnSpc>
                <a:spcBef>
                  <a:spcPct val="0"/>
                </a:spcBef>
              </a:pPr>
              <a:t>‹#›</a:t>
            </a:fld>
            <a:endParaRPr lang="it-IT" sz="1200" b="0" dirty="0">
              <a:solidFill>
                <a:srgbClr val="000000"/>
              </a:solidFill>
            </a:endParaRPr>
          </a:p>
        </p:txBody>
      </p:sp>
    </p:spTree>
    <p:extLst>
      <p:ext uri="{BB962C8B-B14F-4D97-AF65-F5344CB8AC3E}">
        <p14:creationId xmlns:p14="http://schemas.microsoft.com/office/powerpoint/2010/main" val="2408518968"/>
      </p:ext>
    </p:extLst>
  </p:cSld>
  <p:clrMap bg1="lt1" tx1="dk1" bg2="lt2" tx2="dk2" accent1="accent1" accent2="accent2" accent3="accent3" accent4="accent4" accent5="accent5" accent6="accent6" hlink="hlink" folHlink="folHlink"/>
  <p:sldLayoutIdLst>
    <p:sldLayoutId id="2147484111" r:id="rId1"/>
    <p:sldLayoutId id="2147484112" r:id="rId2"/>
    <p:sldLayoutId id="2147484113" r:id="rId3"/>
    <p:sldLayoutId id="2147484114" r:id="rId4"/>
    <p:sldLayoutId id="2147484115" r:id="rId5"/>
    <p:sldLayoutId id="2147484116" r:id="rId6"/>
    <p:sldLayoutId id="2147484117" r:id="rId7"/>
    <p:sldLayoutId id="2147484118" r:id="rId8"/>
    <p:sldLayoutId id="2147484119" r:id="rId9"/>
    <p:sldLayoutId id="2147484120" r:id="rId10"/>
    <p:sldLayoutId id="2147484121" r:id="rId11"/>
    <p:sldLayoutId id="2147484122" r:id="rId12"/>
    <p:sldLayoutId id="2147484123" r:id="rId13"/>
    <p:sldLayoutId id="2147484124" r:id="rId14"/>
    <p:sldLayoutId id="2147484125" r:id="rId15"/>
    <p:sldLayoutId id="2147484126" r:id="rId16"/>
    <p:sldLayoutId id="2147484127" r:id="rId17"/>
    <p:sldLayoutId id="2147484128" r:id="rId18"/>
    <p:sldLayoutId id="2147484129" r:id="rId19"/>
    <p:sldLayoutId id="2147484130" r:id="rId20"/>
    <p:sldLayoutId id="2147484131" r:id="rId21"/>
    <p:sldLayoutId id="2147484132" r:id="rId22"/>
    <p:sldLayoutId id="2147484133" r:id="rId23"/>
    <p:sldLayoutId id="2147484134" r:id="rId24"/>
    <p:sldLayoutId id="2147484135" r:id="rId25"/>
    <p:sldLayoutId id="2147484136" r:id="rId26"/>
    <p:sldLayoutId id="2147483889" r:id="rId27"/>
    <p:sldLayoutId id="2147483663" r:id="rId28"/>
    <p:sldLayoutId id="2147483667" r:id="rId29"/>
    <p:sldLayoutId id="2147483677" r:id="rId30"/>
    <p:sldLayoutId id="2147483678" r:id="rId31"/>
    <p:sldLayoutId id="2147483784" r:id="rId32"/>
    <p:sldLayoutId id="2147483785" r:id="rId33"/>
    <p:sldLayoutId id="2147483786" r:id="rId34"/>
    <p:sldLayoutId id="2147483787" r:id="rId35"/>
    <p:sldLayoutId id="2147483825" r:id="rId36"/>
    <p:sldLayoutId id="2147483826" r:id="rId37"/>
    <p:sldLayoutId id="2147483827" r:id="rId38"/>
    <p:sldLayoutId id="2147483828" r:id="rId39"/>
    <p:sldLayoutId id="2147483829" r:id="rId40"/>
    <p:sldLayoutId id="2147483830" r:id="rId41"/>
    <p:sldLayoutId id="2147483831" r:id="rId42"/>
    <p:sldLayoutId id="2147483832" r:id="rId43"/>
    <p:sldLayoutId id="2147483850" r:id="rId44"/>
    <p:sldLayoutId id="2147483851" r:id="rId45"/>
    <p:sldLayoutId id="2147483852" r:id="rId46"/>
    <p:sldLayoutId id="2147483853" r:id="rId47"/>
    <p:sldLayoutId id="2147483854" r:id="rId48"/>
    <p:sldLayoutId id="2147483855" r:id="rId49"/>
    <p:sldLayoutId id="2147483856" r:id="rId50"/>
    <p:sldLayoutId id="2147483857" r:id="rId51"/>
    <p:sldLayoutId id="2147483858" r:id="rId52"/>
    <p:sldLayoutId id="2147483860" r:id="rId53"/>
    <p:sldLayoutId id="2147483861" r:id="rId54"/>
    <p:sldLayoutId id="2147483908" r:id="rId55"/>
    <p:sldLayoutId id="2147483909" r:id="rId56"/>
    <p:sldLayoutId id="2147483910" r:id="rId57"/>
    <p:sldLayoutId id="2147483911" r:id="rId58"/>
    <p:sldLayoutId id="2147483912" r:id="rId59"/>
    <p:sldLayoutId id="2147483913" r:id="rId60"/>
    <p:sldLayoutId id="2147483914" r:id="rId61"/>
    <p:sldLayoutId id="2147483915" r:id="rId62"/>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3"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solidFill>
                <a:prstClr val="black"/>
              </a:solidFill>
            </a:endParaRPr>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solidFill>
                  <a:prstClr val="black"/>
                </a:solidFill>
              </a:rPr>
              <a:pPr algn="r">
                <a:lnSpc>
                  <a:spcPct val="95000"/>
                </a:lnSpc>
                <a:spcBef>
                  <a:spcPct val="0"/>
                </a:spcBef>
              </a:pPr>
              <a:t>‹#›</a:t>
            </a:fld>
            <a:endParaRPr lang="it-IT" sz="1200" dirty="0">
              <a:solidFill>
                <a:srgbClr val="000000"/>
              </a:solidFill>
            </a:endParaRPr>
          </a:p>
        </p:txBody>
      </p:sp>
    </p:spTree>
    <p:extLst>
      <p:ext uri="{BB962C8B-B14F-4D97-AF65-F5344CB8AC3E}">
        <p14:creationId xmlns:p14="http://schemas.microsoft.com/office/powerpoint/2010/main" val="2366459260"/>
      </p:ext>
    </p:extLst>
  </p:cSld>
  <p:clrMap bg1="lt1" tx1="dk1" bg2="lt2" tx2="dk2" accent1="accent1" accent2="accent2" accent3="accent3" accent4="accent4" accent5="accent5" accent6="accent6" hlink="hlink" folHlink="folHlink"/>
  <p:sldLayoutIdLst>
    <p:sldLayoutId id="2147484138" r:id="rId1"/>
    <p:sldLayoutId id="2147484139" r:id="rId2"/>
    <p:sldLayoutId id="2147484140" r:id="rId3"/>
    <p:sldLayoutId id="2147484141" r:id="rId4"/>
    <p:sldLayoutId id="2147484142" r:id="rId5"/>
    <p:sldLayoutId id="2147484143" r:id="rId6"/>
    <p:sldLayoutId id="2147484144" r:id="rId7"/>
    <p:sldLayoutId id="2147484145" r:id="rId8"/>
    <p:sldLayoutId id="2147484146" r:id="rId9"/>
    <p:sldLayoutId id="2147484147" r:id="rId10"/>
    <p:sldLayoutId id="2147484148" r:id="rId11"/>
    <p:sldLayoutId id="2147484149" r:id="rId12"/>
    <p:sldLayoutId id="2147484150" r:id="rId13"/>
    <p:sldLayoutId id="2147484151" r:id="rId14"/>
    <p:sldLayoutId id="2147484152" r:id="rId15"/>
    <p:sldLayoutId id="2147484153" r:id="rId16"/>
    <p:sldLayoutId id="2147484154" r:id="rId17"/>
    <p:sldLayoutId id="2147484155" r:id="rId18"/>
    <p:sldLayoutId id="2147484156" r:id="rId19"/>
    <p:sldLayoutId id="2147484157" r:id="rId20"/>
    <p:sldLayoutId id="2147484158" r:id="rId21"/>
    <p:sldLayoutId id="2147484159" r:id="rId22"/>
    <p:sldLayoutId id="2147484160" r:id="rId23"/>
    <p:sldLayoutId id="2147484161" r:id="rId24"/>
    <p:sldLayoutId id="2147484162" r:id="rId25"/>
    <p:sldLayoutId id="2147484224" r:id="rId26"/>
    <p:sldLayoutId id="2147484251" r:id="rId27"/>
    <p:sldLayoutId id="2147484252" r:id="rId28"/>
    <p:sldLayoutId id="2147484253" r:id="rId29"/>
    <p:sldLayoutId id="2147484254" r:id="rId30"/>
    <p:sldLayoutId id="2147484255" r:id="rId31"/>
    <p:sldLayoutId id="2147484256" r:id="rId32"/>
    <p:sldLayoutId id="2147484257" r:id="rId33"/>
    <p:sldLayoutId id="2147484258" r:id="rId34"/>
    <p:sldLayoutId id="2147484259" r:id="rId35"/>
    <p:sldLayoutId id="2147484260" r:id="rId36"/>
    <p:sldLayoutId id="2147484261" r:id="rId37"/>
    <p:sldLayoutId id="2147484262" r:id="rId38"/>
    <p:sldLayoutId id="2147484263" r:id="rId39"/>
    <p:sldLayoutId id="2147484264" r:id="rId40"/>
    <p:sldLayoutId id="2147484265" r:id="rId41"/>
    <p:sldLayoutId id="2147484266" r:id="rId42"/>
    <p:sldLayoutId id="2147484267" r:id="rId43"/>
    <p:sldLayoutId id="2147484268" r:id="rId44"/>
    <p:sldLayoutId id="2147484269" r:id="rId45"/>
    <p:sldLayoutId id="2147484270" r:id="rId46"/>
    <p:sldLayoutId id="2147484271" r:id="rId47"/>
    <p:sldLayoutId id="2147484272" r:id="rId48"/>
    <p:sldLayoutId id="2147484273" r:id="rId49"/>
    <p:sldLayoutId id="2147484274" r:id="rId50"/>
    <p:sldLayoutId id="2147484275" r:id="rId51"/>
    <p:sldLayoutId id="2147484276" r:id="rId52"/>
    <p:sldLayoutId id="2147484277" r:id="rId53"/>
    <p:sldLayoutId id="2147484278" r:id="rId54"/>
    <p:sldLayoutId id="2147484279" r:id="rId55"/>
    <p:sldLayoutId id="2147484280" r:id="rId56"/>
    <p:sldLayoutId id="2147484281" r:id="rId57"/>
    <p:sldLayoutId id="2147484282" r:id="rId58"/>
    <p:sldLayoutId id="2147484283" r:id="rId59"/>
    <p:sldLayoutId id="2147484284" r:id="rId60"/>
    <p:sldLayoutId id="2147484285" r:id="rId61"/>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2"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solidFill>
                <a:prstClr val="black"/>
              </a:solidFill>
            </a:endParaRPr>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solidFill>
                  <a:prstClr val="black"/>
                </a:solidFill>
              </a:rPr>
              <a:pPr algn="r">
                <a:lnSpc>
                  <a:spcPct val="95000"/>
                </a:lnSpc>
                <a:spcBef>
                  <a:spcPct val="0"/>
                </a:spcBef>
              </a:pPr>
              <a:t>‹#›</a:t>
            </a:fld>
            <a:endParaRPr lang="it-IT" sz="1200" dirty="0">
              <a:solidFill>
                <a:srgbClr val="000000"/>
              </a:solidFill>
            </a:endParaRPr>
          </a:p>
        </p:txBody>
      </p:sp>
    </p:spTree>
    <p:extLst>
      <p:ext uri="{BB962C8B-B14F-4D97-AF65-F5344CB8AC3E}">
        <p14:creationId xmlns:p14="http://schemas.microsoft.com/office/powerpoint/2010/main" val="2633097039"/>
      </p:ext>
    </p:extLst>
  </p:cSld>
  <p:clrMap bg1="lt1" tx1="dk1" bg2="lt2" tx2="dk2" accent1="accent1" accent2="accent2" accent3="accent3" accent4="accent4" accent5="accent5" accent6="accent6" hlink="hlink" folHlink="folHlink"/>
  <p:sldLayoutIdLst>
    <p:sldLayoutId id="2147484164" r:id="rId1"/>
    <p:sldLayoutId id="2147484165" r:id="rId2"/>
    <p:sldLayoutId id="2147484166" r:id="rId3"/>
    <p:sldLayoutId id="2147484167" r:id="rId4"/>
    <p:sldLayoutId id="2147484168" r:id="rId5"/>
    <p:sldLayoutId id="2147484169" r:id="rId6"/>
    <p:sldLayoutId id="2147484170" r:id="rId7"/>
    <p:sldLayoutId id="2147484171" r:id="rId8"/>
    <p:sldLayoutId id="2147484172" r:id="rId9"/>
    <p:sldLayoutId id="2147484173" r:id="rId10"/>
    <p:sldLayoutId id="2147484174" r:id="rId11"/>
    <p:sldLayoutId id="2147484175" r:id="rId12"/>
    <p:sldLayoutId id="2147484176" r:id="rId13"/>
    <p:sldLayoutId id="2147484177" r:id="rId14"/>
    <p:sldLayoutId id="2147484178" r:id="rId15"/>
    <p:sldLayoutId id="2147484179" r:id="rId16"/>
    <p:sldLayoutId id="2147484180" r:id="rId17"/>
    <p:sldLayoutId id="2147484181" r:id="rId18"/>
    <p:sldLayoutId id="2147484182" r:id="rId19"/>
    <p:sldLayoutId id="2147484183" r:id="rId20"/>
    <p:sldLayoutId id="2147484184" r:id="rId21"/>
    <p:sldLayoutId id="2147484185" r:id="rId22"/>
    <p:sldLayoutId id="2147484186" r:id="rId23"/>
    <p:sldLayoutId id="2147484187" r:id="rId24"/>
    <p:sldLayoutId id="2147484188" r:id="rId25"/>
    <p:sldLayoutId id="2147484189" r:id="rId26"/>
    <p:sldLayoutId id="2147484190" r:id="rId27"/>
    <p:sldLayoutId id="2147484191" r:id="rId28"/>
    <p:sldLayoutId id="2147484192" r:id="rId29"/>
    <p:sldLayoutId id="2147484193" r:id="rId30"/>
    <p:sldLayoutId id="2147484194" r:id="rId31"/>
    <p:sldLayoutId id="2147484195" r:id="rId32"/>
    <p:sldLayoutId id="2147484196" r:id="rId33"/>
    <p:sldLayoutId id="2147484197" r:id="rId34"/>
    <p:sldLayoutId id="2147484198" r:id="rId35"/>
    <p:sldLayoutId id="2147484199" r:id="rId36"/>
    <p:sldLayoutId id="2147484200" r:id="rId37"/>
    <p:sldLayoutId id="2147484201" r:id="rId38"/>
    <p:sldLayoutId id="2147484202" r:id="rId39"/>
    <p:sldLayoutId id="2147484203" r:id="rId40"/>
    <p:sldLayoutId id="2147484204" r:id="rId41"/>
    <p:sldLayoutId id="2147484205" r:id="rId42"/>
    <p:sldLayoutId id="2147484206" r:id="rId43"/>
    <p:sldLayoutId id="2147484207" r:id="rId44"/>
    <p:sldLayoutId id="2147484208" r:id="rId45"/>
    <p:sldLayoutId id="2147484209" r:id="rId46"/>
    <p:sldLayoutId id="2147484210" r:id="rId47"/>
    <p:sldLayoutId id="2147484211" r:id="rId48"/>
    <p:sldLayoutId id="2147484212" r:id="rId49"/>
    <p:sldLayoutId id="2147484213" r:id="rId50"/>
    <p:sldLayoutId id="2147484214" r:id="rId51"/>
    <p:sldLayoutId id="2147484215" r:id="rId52"/>
    <p:sldLayoutId id="2147484216" r:id="rId53"/>
    <p:sldLayoutId id="2147484217" r:id="rId54"/>
    <p:sldLayoutId id="2147484218" r:id="rId55"/>
    <p:sldLayoutId id="2147484219" r:id="rId56"/>
    <p:sldLayoutId id="2147484220" r:id="rId57"/>
    <p:sldLayoutId id="2147484221" r:id="rId58"/>
    <p:sldLayoutId id="2147484222" r:id="rId59"/>
    <p:sldLayoutId id="2147484223" r:id="rId60"/>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67.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88.xml"/><Relationship Id="rId4" Type="http://schemas.openxmlformats.org/officeDocument/2006/relationships/chart" Target="../charts/chart3.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67.xml"/><Relationship Id="rId1" Type="http://schemas.openxmlformats.org/officeDocument/2006/relationships/tags" Target="../tags/tag5.xml"/></Relationships>
</file>

<file path=ppt/slides/_rels/slide9.xml.rels><?xml version="1.0" encoding="UTF-8" standalone="yes"?>
<Relationships xmlns="http://schemas.openxmlformats.org/package/2006/relationships"><Relationship Id="rId117" Type="http://schemas.openxmlformats.org/officeDocument/2006/relationships/tags" Target="../tags/tag122.xml"/><Relationship Id="rId299" Type="http://schemas.openxmlformats.org/officeDocument/2006/relationships/tags" Target="../tags/tag304.xml"/><Relationship Id="rId303" Type="http://schemas.openxmlformats.org/officeDocument/2006/relationships/tags" Target="../tags/tag308.xml"/><Relationship Id="rId21" Type="http://schemas.openxmlformats.org/officeDocument/2006/relationships/tags" Target="../tags/tag26.xml"/><Relationship Id="rId42" Type="http://schemas.openxmlformats.org/officeDocument/2006/relationships/tags" Target="../tags/tag47.xml"/><Relationship Id="rId63" Type="http://schemas.openxmlformats.org/officeDocument/2006/relationships/tags" Target="../tags/tag68.xml"/><Relationship Id="rId84" Type="http://schemas.openxmlformats.org/officeDocument/2006/relationships/tags" Target="../tags/tag89.xml"/><Relationship Id="rId138" Type="http://schemas.openxmlformats.org/officeDocument/2006/relationships/tags" Target="../tags/tag143.xml"/><Relationship Id="rId159" Type="http://schemas.openxmlformats.org/officeDocument/2006/relationships/tags" Target="../tags/tag164.xml"/><Relationship Id="rId324" Type="http://schemas.openxmlformats.org/officeDocument/2006/relationships/tags" Target="../tags/tag329.xml"/><Relationship Id="rId345" Type="http://schemas.openxmlformats.org/officeDocument/2006/relationships/tags" Target="../tags/tag350.xml"/><Relationship Id="rId366" Type="http://schemas.openxmlformats.org/officeDocument/2006/relationships/tags" Target="../tags/tag371.xml"/><Relationship Id="rId170" Type="http://schemas.openxmlformats.org/officeDocument/2006/relationships/tags" Target="../tags/tag175.xml"/><Relationship Id="rId191" Type="http://schemas.openxmlformats.org/officeDocument/2006/relationships/tags" Target="../tags/tag196.xml"/><Relationship Id="rId205" Type="http://schemas.openxmlformats.org/officeDocument/2006/relationships/tags" Target="../tags/tag210.xml"/><Relationship Id="rId226" Type="http://schemas.openxmlformats.org/officeDocument/2006/relationships/tags" Target="../tags/tag231.xml"/><Relationship Id="rId247" Type="http://schemas.openxmlformats.org/officeDocument/2006/relationships/tags" Target="../tags/tag252.xml"/><Relationship Id="rId107" Type="http://schemas.openxmlformats.org/officeDocument/2006/relationships/tags" Target="../tags/tag112.xml"/><Relationship Id="rId268" Type="http://schemas.openxmlformats.org/officeDocument/2006/relationships/tags" Target="../tags/tag273.xml"/><Relationship Id="rId289" Type="http://schemas.openxmlformats.org/officeDocument/2006/relationships/tags" Target="../tags/tag294.xml"/><Relationship Id="rId11" Type="http://schemas.openxmlformats.org/officeDocument/2006/relationships/tags" Target="../tags/tag16.xml"/><Relationship Id="rId32" Type="http://schemas.openxmlformats.org/officeDocument/2006/relationships/tags" Target="../tags/tag37.xml"/><Relationship Id="rId53" Type="http://schemas.openxmlformats.org/officeDocument/2006/relationships/tags" Target="../tags/tag58.xml"/><Relationship Id="rId74" Type="http://schemas.openxmlformats.org/officeDocument/2006/relationships/tags" Target="../tags/tag79.xml"/><Relationship Id="rId128" Type="http://schemas.openxmlformats.org/officeDocument/2006/relationships/tags" Target="../tags/tag133.xml"/><Relationship Id="rId149" Type="http://schemas.openxmlformats.org/officeDocument/2006/relationships/tags" Target="../tags/tag154.xml"/><Relationship Id="rId314" Type="http://schemas.openxmlformats.org/officeDocument/2006/relationships/tags" Target="../tags/tag319.xml"/><Relationship Id="rId335" Type="http://schemas.openxmlformats.org/officeDocument/2006/relationships/tags" Target="../tags/tag340.xml"/><Relationship Id="rId356" Type="http://schemas.openxmlformats.org/officeDocument/2006/relationships/tags" Target="../tags/tag361.xml"/><Relationship Id="rId377" Type="http://schemas.openxmlformats.org/officeDocument/2006/relationships/tags" Target="../tags/tag382.xml"/><Relationship Id="rId5" Type="http://schemas.openxmlformats.org/officeDocument/2006/relationships/tags" Target="../tags/tag10.xml"/><Relationship Id="rId95" Type="http://schemas.openxmlformats.org/officeDocument/2006/relationships/tags" Target="../tags/tag100.xml"/><Relationship Id="rId160" Type="http://schemas.openxmlformats.org/officeDocument/2006/relationships/tags" Target="../tags/tag165.xml"/><Relationship Id="rId181" Type="http://schemas.openxmlformats.org/officeDocument/2006/relationships/tags" Target="../tags/tag186.xml"/><Relationship Id="rId216" Type="http://schemas.openxmlformats.org/officeDocument/2006/relationships/tags" Target="../tags/tag221.xml"/><Relationship Id="rId237" Type="http://schemas.openxmlformats.org/officeDocument/2006/relationships/tags" Target="../tags/tag242.xml"/><Relationship Id="rId258" Type="http://schemas.openxmlformats.org/officeDocument/2006/relationships/tags" Target="../tags/tag263.xml"/><Relationship Id="rId279" Type="http://schemas.openxmlformats.org/officeDocument/2006/relationships/tags" Target="../tags/tag284.xml"/><Relationship Id="rId22" Type="http://schemas.openxmlformats.org/officeDocument/2006/relationships/tags" Target="../tags/tag27.xml"/><Relationship Id="rId43" Type="http://schemas.openxmlformats.org/officeDocument/2006/relationships/tags" Target="../tags/tag48.xml"/><Relationship Id="rId64" Type="http://schemas.openxmlformats.org/officeDocument/2006/relationships/tags" Target="../tags/tag69.xml"/><Relationship Id="rId118" Type="http://schemas.openxmlformats.org/officeDocument/2006/relationships/tags" Target="../tags/tag123.xml"/><Relationship Id="rId139" Type="http://schemas.openxmlformats.org/officeDocument/2006/relationships/tags" Target="../tags/tag144.xml"/><Relationship Id="rId290" Type="http://schemas.openxmlformats.org/officeDocument/2006/relationships/tags" Target="../tags/tag295.xml"/><Relationship Id="rId304" Type="http://schemas.openxmlformats.org/officeDocument/2006/relationships/tags" Target="../tags/tag309.xml"/><Relationship Id="rId325" Type="http://schemas.openxmlformats.org/officeDocument/2006/relationships/tags" Target="../tags/tag330.xml"/><Relationship Id="rId346" Type="http://schemas.openxmlformats.org/officeDocument/2006/relationships/tags" Target="../tags/tag351.xml"/><Relationship Id="rId367" Type="http://schemas.openxmlformats.org/officeDocument/2006/relationships/tags" Target="../tags/tag372.xml"/><Relationship Id="rId85" Type="http://schemas.openxmlformats.org/officeDocument/2006/relationships/tags" Target="../tags/tag90.xml"/><Relationship Id="rId150" Type="http://schemas.openxmlformats.org/officeDocument/2006/relationships/tags" Target="../tags/tag155.xml"/><Relationship Id="rId171" Type="http://schemas.openxmlformats.org/officeDocument/2006/relationships/tags" Target="../tags/tag176.xml"/><Relationship Id="rId192" Type="http://schemas.openxmlformats.org/officeDocument/2006/relationships/tags" Target="../tags/tag197.xml"/><Relationship Id="rId206" Type="http://schemas.openxmlformats.org/officeDocument/2006/relationships/tags" Target="../tags/tag211.xml"/><Relationship Id="rId227" Type="http://schemas.openxmlformats.org/officeDocument/2006/relationships/tags" Target="../tags/tag232.xml"/><Relationship Id="rId248" Type="http://schemas.openxmlformats.org/officeDocument/2006/relationships/tags" Target="../tags/tag253.xml"/><Relationship Id="rId269" Type="http://schemas.openxmlformats.org/officeDocument/2006/relationships/tags" Target="../tags/tag274.xml"/><Relationship Id="rId12" Type="http://schemas.openxmlformats.org/officeDocument/2006/relationships/tags" Target="../tags/tag17.xml"/><Relationship Id="rId33" Type="http://schemas.openxmlformats.org/officeDocument/2006/relationships/tags" Target="../tags/tag38.xml"/><Relationship Id="rId108" Type="http://schemas.openxmlformats.org/officeDocument/2006/relationships/tags" Target="../tags/tag113.xml"/><Relationship Id="rId129" Type="http://schemas.openxmlformats.org/officeDocument/2006/relationships/tags" Target="../tags/tag134.xml"/><Relationship Id="rId280" Type="http://schemas.openxmlformats.org/officeDocument/2006/relationships/tags" Target="../tags/tag285.xml"/><Relationship Id="rId315" Type="http://schemas.openxmlformats.org/officeDocument/2006/relationships/tags" Target="../tags/tag320.xml"/><Relationship Id="rId336" Type="http://schemas.openxmlformats.org/officeDocument/2006/relationships/tags" Target="../tags/tag341.xml"/><Relationship Id="rId357" Type="http://schemas.openxmlformats.org/officeDocument/2006/relationships/tags" Target="../tags/tag362.xml"/><Relationship Id="rId54" Type="http://schemas.openxmlformats.org/officeDocument/2006/relationships/tags" Target="../tags/tag59.xml"/><Relationship Id="rId75" Type="http://schemas.openxmlformats.org/officeDocument/2006/relationships/tags" Target="../tags/tag80.xml"/><Relationship Id="rId96" Type="http://schemas.openxmlformats.org/officeDocument/2006/relationships/tags" Target="../tags/tag101.xml"/><Relationship Id="rId140" Type="http://schemas.openxmlformats.org/officeDocument/2006/relationships/tags" Target="../tags/tag145.xml"/><Relationship Id="rId161" Type="http://schemas.openxmlformats.org/officeDocument/2006/relationships/tags" Target="../tags/tag166.xml"/><Relationship Id="rId182" Type="http://schemas.openxmlformats.org/officeDocument/2006/relationships/tags" Target="../tags/tag187.xml"/><Relationship Id="rId217" Type="http://schemas.openxmlformats.org/officeDocument/2006/relationships/tags" Target="../tags/tag222.xml"/><Relationship Id="rId378" Type="http://schemas.openxmlformats.org/officeDocument/2006/relationships/tags" Target="../tags/tag383.xml"/><Relationship Id="rId6" Type="http://schemas.openxmlformats.org/officeDocument/2006/relationships/tags" Target="../tags/tag11.xml"/><Relationship Id="rId238" Type="http://schemas.openxmlformats.org/officeDocument/2006/relationships/tags" Target="../tags/tag243.xml"/><Relationship Id="rId259" Type="http://schemas.openxmlformats.org/officeDocument/2006/relationships/tags" Target="../tags/tag264.xml"/><Relationship Id="rId23" Type="http://schemas.openxmlformats.org/officeDocument/2006/relationships/tags" Target="../tags/tag28.xml"/><Relationship Id="rId119" Type="http://schemas.openxmlformats.org/officeDocument/2006/relationships/tags" Target="../tags/tag124.xml"/><Relationship Id="rId270" Type="http://schemas.openxmlformats.org/officeDocument/2006/relationships/tags" Target="../tags/tag275.xml"/><Relationship Id="rId291" Type="http://schemas.openxmlformats.org/officeDocument/2006/relationships/tags" Target="../tags/tag296.xml"/><Relationship Id="rId305" Type="http://schemas.openxmlformats.org/officeDocument/2006/relationships/tags" Target="../tags/tag310.xml"/><Relationship Id="rId326" Type="http://schemas.openxmlformats.org/officeDocument/2006/relationships/tags" Target="../tags/tag331.xml"/><Relationship Id="rId347" Type="http://schemas.openxmlformats.org/officeDocument/2006/relationships/tags" Target="../tags/tag352.xml"/><Relationship Id="rId44" Type="http://schemas.openxmlformats.org/officeDocument/2006/relationships/tags" Target="../tags/tag49.xml"/><Relationship Id="rId65" Type="http://schemas.openxmlformats.org/officeDocument/2006/relationships/tags" Target="../tags/tag70.xml"/><Relationship Id="rId86" Type="http://schemas.openxmlformats.org/officeDocument/2006/relationships/tags" Target="../tags/tag91.xml"/><Relationship Id="rId130" Type="http://schemas.openxmlformats.org/officeDocument/2006/relationships/tags" Target="../tags/tag135.xml"/><Relationship Id="rId151" Type="http://schemas.openxmlformats.org/officeDocument/2006/relationships/tags" Target="../tags/tag156.xml"/><Relationship Id="rId368" Type="http://schemas.openxmlformats.org/officeDocument/2006/relationships/tags" Target="../tags/tag373.xml"/><Relationship Id="rId172" Type="http://schemas.openxmlformats.org/officeDocument/2006/relationships/tags" Target="../tags/tag177.xml"/><Relationship Id="rId193" Type="http://schemas.openxmlformats.org/officeDocument/2006/relationships/tags" Target="../tags/tag198.xml"/><Relationship Id="rId207" Type="http://schemas.openxmlformats.org/officeDocument/2006/relationships/tags" Target="../tags/tag212.xml"/><Relationship Id="rId228" Type="http://schemas.openxmlformats.org/officeDocument/2006/relationships/tags" Target="../tags/tag233.xml"/><Relationship Id="rId249" Type="http://schemas.openxmlformats.org/officeDocument/2006/relationships/tags" Target="../tags/tag254.xml"/><Relationship Id="rId13" Type="http://schemas.openxmlformats.org/officeDocument/2006/relationships/tags" Target="../tags/tag18.xml"/><Relationship Id="rId109" Type="http://schemas.openxmlformats.org/officeDocument/2006/relationships/tags" Target="../tags/tag114.xml"/><Relationship Id="rId260" Type="http://schemas.openxmlformats.org/officeDocument/2006/relationships/tags" Target="../tags/tag265.xml"/><Relationship Id="rId281" Type="http://schemas.openxmlformats.org/officeDocument/2006/relationships/tags" Target="../tags/tag286.xml"/><Relationship Id="rId316" Type="http://schemas.openxmlformats.org/officeDocument/2006/relationships/tags" Target="../tags/tag321.xml"/><Relationship Id="rId337" Type="http://schemas.openxmlformats.org/officeDocument/2006/relationships/tags" Target="../tags/tag342.xml"/><Relationship Id="rId34" Type="http://schemas.openxmlformats.org/officeDocument/2006/relationships/tags" Target="../tags/tag39.xml"/><Relationship Id="rId55" Type="http://schemas.openxmlformats.org/officeDocument/2006/relationships/tags" Target="../tags/tag60.xml"/><Relationship Id="rId76" Type="http://schemas.openxmlformats.org/officeDocument/2006/relationships/tags" Target="../tags/tag81.xml"/><Relationship Id="rId97" Type="http://schemas.openxmlformats.org/officeDocument/2006/relationships/tags" Target="../tags/tag102.xml"/><Relationship Id="rId120" Type="http://schemas.openxmlformats.org/officeDocument/2006/relationships/tags" Target="../tags/tag125.xml"/><Relationship Id="rId141" Type="http://schemas.openxmlformats.org/officeDocument/2006/relationships/tags" Target="../tags/tag146.xml"/><Relationship Id="rId358" Type="http://schemas.openxmlformats.org/officeDocument/2006/relationships/tags" Target="../tags/tag363.xml"/><Relationship Id="rId379" Type="http://schemas.openxmlformats.org/officeDocument/2006/relationships/tags" Target="../tags/tag384.xml"/><Relationship Id="rId7" Type="http://schemas.openxmlformats.org/officeDocument/2006/relationships/tags" Target="../tags/tag12.xml"/><Relationship Id="rId162" Type="http://schemas.openxmlformats.org/officeDocument/2006/relationships/tags" Target="../tags/tag167.xml"/><Relationship Id="rId183" Type="http://schemas.openxmlformats.org/officeDocument/2006/relationships/tags" Target="../tags/tag188.xml"/><Relationship Id="rId218" Type="http://schemas.openxmlformats.org/officeDocument/2006/relationships/tags" Target="../tags/tag223.xml"/><Relationship Id="rId239" Type="http://schemas.openxmlformats.org/officeDocument/2006/relationships/tags" Target="../tags/tag244.xml"/><Relationship Id="rId250" Type="http://schemas.openxmlformats.org/officeDocument/2006/relationships/tags" Target="../tags/tag255.xml"/><Relationship Id="rId271" Type="http://schemas.openxmlformats.org/officeDocument/2006/relationships/tags" Target="../tags/tag276.xml"/><Relationship Id="rId292" Type="http://schemas.openxmlformats.org/officeDocument/2006/relationships/tags" Target="../tags/tag297.xml"/><Relationship Id="rId306" Type="http://schemas.openxmlformats.org/officeDocument/2006/relationships/tags" Target="../tags/tag311.xml"/><Relationship Id="rId24" Type="http://schemas.openxmlformats.org/officeDocument/2006/relationships/tags" Target="../tags/tag29.xml"/><Relationship Id="rId45" Type="http://schemas.openxmlformats.org/officeDocument/2006/relationships/tags" Target="../tags/tag50.xml"/><Relationship Id="rId66" Type="http://schemas.openxmlformats.org/officeDocument/2006/relationships/tags" Target="../tags/tag71.xml"/><Relationship Id="rId87" Type="http://schemas.openxmlformats.org/officeDocument/2006/relationships/tags" Target="../tags/tag92.xml"/><Relationship Id="rId110" Type="http://schemas.openxmlformats.org/officeDocument/2006/relationships/tags" Target="../tags/tag115.xml"/><Relationship Id="rId131" Type="http://schemas.openxmlformats.org/officeDocument/2006/relationships/tags" Target="../tags/tag136.xml"/><Relationship Id="rId327" Type="http://schemas.openxmlformats.org/officeDocument/2006/relationships/tags" Target="../tags/tag332.xml"/><Relationship Id="rId348" Type="http://schemas.openxmlformats.org/officeDocument/2006/relationships/tags" Target="../tags/tag353.xml"/><Relationship Id="rId369" Type="http://schemas.openxmlformats.org/officeDocument/2006/relationships/tags" Target="../tags/tag374.xml"/><Relationship Id="rId152" Type="http://schemas.openxmlformats.org/officeDocument/2006/relationships/tags" Target="../tags/tag157.xml"/><Relationship Id="rId173" Type="http://schemas.openxmlformats.org/officeDocument/2006/relationships/tags" Target="../tags/tag178.xml"/><Relationship Id="rId194" Type="http://schemas.openxmlformats.org/officeDocument/2006/relationships/tags" Target="../tags/tag199.xml"/><Relationship Id="rId208" Type="http://schemas.openxmlformats.org/officeDocument/2006/relationships/tags" Target="../tags/tag213.xml"/><Relationship Id="rId229" Type="http://schemas.openxmlformats.org/officeDocument/2006/relationships/tags" Target="../tags/tag234.xml"/><Relationship Id="rId380" Type="http://schemas.openxmlformats.org/officeDocument/2006/relationships/tags" Target="../tags/tag385.xml"/><Relationship Id="rId240" Type="http://schemas.openxmlformats.org/officeDocument/2006/relationships/tags" Target="../tags/tag245.xml"/><Relationship Id="rId261" Type="http://schemas.openxmlformats.org/officeDocument/2006/relationships/tags" Target="../tags/tag266.xml"/><Relationship Id="rId14" Type="http://schemas.openxmlformats.org/officeDocument/2006/relationships/tags" Target="../tags/tag19.xml"/><Relationship Id="rId35" Type="http://schemas.openxmlformats.org/officeDocument/2006/relationships/tags" Target="../tags/tag40.xml"/><Relationship Id="rId56" Type="http://schemas.openxmlformats.org/officeDocument/2006/relationships/tags" Target="../tags/tag61.xml"/><Relationship Id="rId77" Type="http://schemas.openxmlformats.org/officeDocument/2006/relationships/tags" Target="../tags/tag82.xml"/><Relationship Id="rId100" Type="http://schemas.openxmlformats.org/officeDocument/2006/relationships/tags" Target="../tags/tag105.xml"/><Relationship Id="rId282" Type="http://schemas.openxmlformats.org/officeDocument/2006/relationships/tags" Target="../tags/tag287.xml"/><Relationship Id="rId317" Type="http://schemas.openxmlformats.org/officeDocument/2006/relationships/tags" Target="../tags/tag322.xml"/><Relationship Id="rId338" Type="http://schemas.openxmlformats.org/officeDocument/2006/relationships/tags" Target="../tags/tag343.xml"/><Relationship Id="rId359" Type="http://schemas.openxmlformats.org/officeDocument/2006/relationships/tags" Target="../tags/tag364.xml"/><Relationship Id="rId8" Type="http://schemas.openxmlformats.org/officeDocument/2006/relationships/tags" Target="../tags/tag13.xml"/><Relationship Id="rId98" Type="http://schemas.openxmlformats.org/officeDocument/2006/relationships/tags" Target="../tags/tag103.xml"/><Relationship Id="rId121" Type="http://schemas.openxmlformats.org/officeDocument/2006/relationships/tags" Target="../tags/tag126.xml"/><Relationship Id="rId142" Type="http://schemas.openxmlformats.org/officeDocument/2006/relationships/tags" Target="../tags/tag147.xml"/><Relationship Id="rId163" Type="http://schemas.openxmlformats.org/officeDocument/2006/relationships/tags" Target="../tags/tag168.xml"/><Relationship Id="rId184" Type="http://schemas.openxmlformats.org/officeDocument/2006/relationships/tags" Target="../tags/tag189.xml"/><Relationship Id="rId219" Type="http://schemas.openxmlformats.org/officeDocument/2006/relationships/tags" Target="../tags/tag224.xml"/><Relationship Id="rId370" Type="http://schemas.openxmlformats.org/officeDocument/2006/relationships/tags" Target="../tags/tag375.xml"/><Relationship Id="rId230" Type="http://schemas.openxmlformats.org/officeDocument/2006/relationships/tags" Target="../tags/tag235.xml"/><Relationship Id="rId251" Type="http://schemas.openxmlformats.org/officeDocument/2006/relationships/tags" Target="../tags/tag256.xml"/><Relationship Id="rId25" Type="http://schemas.openxmlformats.org/officeDocument/2006/relationships/tags" Target="../tags/tag30.xml"/><Relationship Id="rId46" Type="http://schemas.openxmlformats.org/officeDocument/2006/relationships/tags" Target="../tags/tag51.xml"/><Relationship Id="rId67" Type="http://schemas.openxmlformats.org/officeDocument/2006/relationships/tags" Target="../tags/tag72.xml"/><Relationship Id="rId272" Type="http://schemas.openxmlformats.org/officeDocument/2006/relationships/tags" Target="../tags/tag277.xml"/><Relationship Id="rId293" Type="http://schemas.openxmlformats.org/officeDocument/2006/relationships/tags" Target="../tags/tag298.xml"/><Relationship Id="rId307" Type="http://schemas.openxmlformats.org/officeDocument/2006/relationships/tags" Target="../tags/tag312.xml"/><Relationship Id="rId328" Type="http://schemas.openxmlformats.org/officeDocument/2006/relationships/tags" Target="../tags/tag333.xml"/><Relationship Id="rId349" Type="http://schemas.openxmlformats.org/officeDocument/2006/relationships/tags" Target="../tags/tag354.xml"/><Relationship Id="rId88" Type="http://schemas.openxmlformats.org/officeDocument/2006/relationships/tags" Target="../tags/tag93.xml"/><Relationship Id="rId111" Type="http://schemas.openxmlformats.org/officeDocument/2006/relationships/tags" Target="../tags/tag116.xml"/><Relationship Id="rId132" Type="http://schemas.openxmlformats.org/officeDocument/2006/relationships/tags" Target="../tags/tag137.xml"/><Relationship Id="rId153" Type="http://schemas.openxmlformats.org/officeDocument/2006/relationships/tags" Target="../tags/tag158.xml"/><Relationship Id="rId174" Type="http://schemas.openxmlformats.org/officeDocument/2006/relationships/tags" Target="../tags/tag179.xml"/><Relationship Id="rId195" Type="http://schemas.openxmlformats.org/officeDocument/2006/relationships/tags" Target="../tags/tag200.xml"/><Relationship Id="rId209" Type="http://schemas.openxmlformats.org/officeDocument/2006/relationships/tags" Target="../tags/tag214.xml"/><Relationship Id="rId360" Type="http://schemas.openxmlformats.org/officeDocument/2006/relationships/tags" Target="../tags/tag365.xml"/><Relationship Id="rId381" Type="http://schemas.openxmlformats.org/officeDocument/2006/relationships/tags" Target="../tags/tag386.xml"/><Relationship Id="rId220" Type="http://schemas.openxmlformats.org/officeDocument/2006/relationships/tags" Target="../tags/tag225.xml"/><Relationship Id="rId241" Type="http://schemas.openxmlformats.org/officeDocument/2006/relationships/tags" Target="../tags/tag246.xml"/><Relationship Id="rId15" Type="http://schemas.openxmlformats.org/officeDocument/2006/relationships/tags" Target="../tags/tag20.xml"/><Relationship Id="rId36" Type="http://schemas.openxmlformats.org/officeDocument/2006/relationships/tags" Target="../tags/tag41.xml"/><Relationship Id="rId57" Type="http://schemas.openxmlformats.org/officeDocument/2006/relationships/tags" Target="../tags/tag62.xml"/><Relationship Id="rId262" Type="http://schemas.openxmlformats.org/officeDocument/2006/relationships/tags" Target="../tags/tag267.xml"/><Relationship Id="rId283" Type="http://schemas.openxmlformats.org/officeDocument/2006/relationships/tags" Target="../tags/tag288.xml"/><Relationship Id="rId318" Type="http://schemas.openxmlformats.org/officeDocument/2006/relationships/tags" Target="../tags/tag323.xml"/><Relationship Id="rId339" Type="http://schemas.openxmlformats.org/officeDocument/2006/relationships/tags" Target="../tags/tag344.xml"/><Relationship Id="rId78" Type="http://schemas.openxmlformats.org/officeDocument/2006/relationships/tags" Target="../tags/tag83.xml"/><Relationship Id="rId99" Type="http://schemas.openxmlformats.org/officeDocument/2006/relationships/tags" Target="../tags/tag104.xml"/><Relationship Id="rId101" Type="http://schemas.openxmlformats.org/officeDocument/2006/relationships/tags" Target="../tags/tag106.xml"/><Relationship Id="rId122" Type="http://schemas.openxmlformats.org/officeDocument/2006/relationships/tags" Target="../tags/tag127.xml"/><Relationship Id="rId143" Type="http://schemas.openxmlformats.org/officeDocument/2006/relationships/tags" Target="../tags/tag148.xml"/><Relationship Id="rId164" Type="http://schemas.openxmlformats.org/officeDocument/2006/relationships/tags" Target="../tags/tag169.xml"/><Relationship Id="rId185" Type="http://schemas.openxmlformats.org/officeDocument/2006/relationships/tags" Target="../tags/tag190.xml"/><Relationship Id="rId350" Type="http://schemas.openxmlformats.org/officeDocument/2006/relationships/tags" Target="../tags/tag355.xml"/><Relationship Id="rId371" Type="http://schemas.openxmlformats.org/officeDocument/2006/relationships/tags" Target="../tags/tag376.xml"/><Relationship Id="rId9" Type="http://schemas.openxmlformats.org/officeDocument/2006/relationships/tags" Target="../tags/tag14.xml"/><Relationship Id="rId210" Type="http://schemas.openxmlformats.org/officeDocument/2006/relationships/tags" Target="../tags/tag215.xml"/><Relationship Id="rId26" Type="http://schemas.openxmlformats.org/officeDocument/2006/relationships/tags" Target="../tags/tag31.xml"/><Relationship Id="rId231" Type="http://schemas.openxmlformats.org/officeDocument/2006/relationships/tags" Target="../tags/tag236.xml"/><Relationship Id="rId252" Type="http://schemas.openxmlformats.org/officeDocument/2006/relationships/tags" Target="../tags/tag257.xml"/><Relationship Id="rId273" Type="http://schemas.openxmlformats.org/officeDocument/2006/relationships/tags" Target="../tags/tag278.xml"/><Relationship Id="rId294" Type="http://schemas.openxmlformats.org/officeDocument/2006/relationships/tags" Target="../tags/tag299.xml"/><Relationship Id="rId308" Type="http://schemas.openxmlformats.org/officeDocument/2006/relationships/tags" Target="../tags/tag313.xml"/><Relationship Id="rId329" Type="http://schemas.openxmlformats.org/officeDocument/2006/relationships/tags" Target="../tags/tag334.xml"/><Relationship Id="rId47" Type="http://schemas.openxmlformats.org/officeDocument/2006/relationships/tags" Target="../tags/tag52.xml"/><Relationship Id="rId68" Type="http://schemas.openxmlformats.org/officeDocument/2006/relationships/tags" Target="../tags/tag73.xml"/><Relationship Id="rId89" Type="http://schemas.openxmlformats.org/officeDocument/2006/relationships/tags" Target="../tags/tag94.xml"/><Relationship Id="rId112" Type="http://schemas.openxmlformats.org/officeDocument/2006/relationships/tags" Target="../tags/tag117.xml"/><Relationship Id="rId133" Type="http://schemas.openxmlformats.org/officeDocument/2006/relationships/tags" Target="../tags/tag138.xml"/><Relationship Id="rId154" Type="http://schemas.openxmlformats.org/officeDocument/2006/relationships/tags" Target="../tags/tag159.xml"/><Relationship Id="rId175" Type="http://schemas.openxmlformats.org/officeDocument/2006/relationships/tags" Target="../tags/tag180.xml"/><Relationship Id="rId340" Type="http://schemas.openxmlformats.org/officeDocument/2006/relationships/tags" Target="../tags/tag345.xml"/><Relationship Id="rId361" Type="http://schemas.openxmlformats.org/officeDocument/2006/relationships/tags" Target="../tags/tag366.xml"/><Relationship Id="rId196" Type="http://schemas.openxmlformats.org/officeDocument/2006/relationships/tags" Target="../tags/tag201.xml"/><Relationship Id="rId200" Type="http://schemas.openxmlformats.org/officeDocument/2006/relationships/tags" Target="../tags/tag205.xml"/><Relationship Id="rId382" Type="http://schemas.openxmlformats.org/officeDocument/2006/relationships/slideLayout" Target="../slideLayouts/slideLayout67.xml"/><Relationship Id="rId16" Type="http://schemas.openxmlformats.org/officeDocument/2006/relationships/tags" Target="../tags/tag21.xml"/><Relationship Id="rId221" Type="http://schemas.openxmlformats.org/officeDocument/2006/relationships/tags" Target="../tags/tag226.xml"/><Relationship Id="rId242" Type="http://schemas.openxmlformats.org/officeDocument/2006/relationships/tags" Target="../tags/tag247.xml"/><Relationship Id="rId263" Type="http://schemas.openxmlformats.org/officeDocument/2006/relationships/tags" Target="../tags/tag268.xml"/><Relationship Id="rId284" Type="http://schemas.openxmlformats.org/officeDocument/2006/relationships/tags" Target="../tags/tag289.xml"/><Relationship Id="rId319" Type="http://schemas.openxmlformats.org/officeDocument/2006/relationships/tags" Target="../tags/tag324.xml"/><Relationship Id="rId37" Type="http://schemas.openxmlformats.org/officeDocument/2006/relationships/tags" Target="../tags/tag42.xml"/><Relationship Id="rId58" Type="http://schemas.openxmlformats.org/officeDocument/2006/relationships/tags" Target="../tags/tag63.xml"/><Relationship Id="rId79" Type="http://schemas.openxmlformats.org/officeDocument/2006/relationships/tags" Target="../tags/tag84.xml"/><Relationship Id="rId102" Type="http://schemas.openxmlformats.org/officeDocument/2006/relationships/tags" Target="../tags/tag107.xml"/><Relationship Id="rId123" Type="http://schemas.openxmlformats.org/officeDocument/2006/relationships/tags" Target="../tags/tag128.xml"/><Relationship Id="rId144" Type="http://schemas.openxmlformats.org/officeDocument/2006/relationships/tags" Target="../tags/tag149.xml"/><Relationship Id="rId330" Type="http://schemas.openxmlformats.org/officeDocument/2006/relationships/tags" Target="../tags/tag335.xml"/><Relationship Id="rId90" Type="http://schemas.openxmlformats.org/officeDocument/2006/relationships/tags" Target="../tags/tag95.xml"/><Relationship Id="rId165" Type="http://schemas.openxmlformats.org/officeDocument/2006/relationships/tags" Target="../tags/tag170.xml"/><Relationship Id="rId186" Type="http://schemas.openxmlformats.org/officeDocument/2006/relationships/tags" Target="../tags/tag191.xml"/><Relationship Id="rId351" Type="http://schemas.openxmlformats.org/officeDocument/2006/relationships/tags" Target="../tags/tag356.xml"/><Relationship Id="rId372" Type="http://schemas.openxmlformats.org/officeDocument/2006/relationships/tags" Target="../tags/tag377.xml"/><Relationship Id="rId211" Type="http://schemas.openxmlformats.org/officeDocument/2006/relationships/tags" Target="../tags/tag216.xml"/><Relationship Id="rId232" Type="http://schemas.openxmlformats.org/officeDocument/2006/relationships/tags" Target="../tags/tag237.xml"/><Relationship Id="rId253" Type="http://schemas.openxmlformats.org/officeDocument/2006/relationships/tags" Target="../tags/tag258.xml"/><Relationship Id="rId274" Type="http://schemas.openxmlformats.org/officeDocument/2006/relationships/tags" Target="../tags/tag279.xml"/><Relationship Id="rId295" Type="http://schemas.openxmlformats.org/officeDocument/2006/relationships/tags" Target="../tags/tag300.xml"/><Relationship Id="rId309" Type="http://schemas.openxmlformats.org/officeDocument/2006/relationships/tags" Target="../tags/tag314.xml"/><Relationship Id="rId27" Type="http://schemas.openxmlformats.org/officeDocument/2006/relationships/tags" Target="../tags/tag32.xml"/><Relationship Id="rId48" Type="http://schemas.openxmlformats.org/officeDocument/2006/relationships/tags" Target="../tags/tag53.xml"/><Relationship Id="rId69" Type="http://schemas.openxmlformats.org/officeDocument/2006/relationships/tags" Target="../tags/tag74.xml"/><Relationship Id="rId113" Type="http://schemas.openxmlformats.org/officeDocument/2006/relationships/tags" Target="../tags/tag118.xml"/><Relationship Id="rId134" Type="http://schemas.openxmlformats.org/officeDocument/2006/relationships/tags" Target="../tags/tag139.xml"/><Relationship Id="rId320" Type="http://schemas.openxmlformats.org/officeDocument/2006/relationships/tags" Target="../tags/tag325.xml"/><Relationship Id="rId80" Type="http://schemas.openxmlformats.org/officeDocument/2006/relationships/tags" Target="../tags/tag85.xml"/><Relationship Id="rId155" Type="http://schemas.openxmlformats.org/officeDocument/2006/relationships/tags" Target="../tags/tag160.xml"/><Relationship Id="rId176" Type="http://schemas.openxmlformats.org/officeDocument/2006/relationships/tags" Target="../tags/tag181.xml"/><Relationship Id="rId197" Type="http://schemas.openxmlformats.org/officeDocument/2006/relationships/tags" Target="../tags/tag202.xml"/><Relationship Id="rId341" Type="http://schemas.openxmlformats.org/officeDocument/2006/relationships/tags" Target="../tags/tag346.xml"/><Relationship Id="rId362" Type="http://schemas.openxmlformats.org/officeDocument/2006/relationships/tags" Target="../tags/tag367.xml"/><Relationship Id="rId383" Type="http://schemas.openxmlformats.org/officeDocument/2006/relationships/notesSlide" Target="../notesSlides/notesSlide3.xml"/><Relationship Id="rId201" Type="http://schemas.openxmlformats.org/officeDocument/2006/relationships/tags" Target="../tags/tag206.xml"/><Relationship Id="rId222" Type="http://schemas.openxmlformats.org/officeDocument/2006/relationships/tags" Target="../tags/tag227.xml"/><Relationship Id="rId243" Type="http://schemas.openxmlformats.org/officeDocument/2006/relationships/tags" Target="../tags/tag248.xml"/><Relationship Id="rId264" Type="http://schemas.openxmlformats.org/officeDocument/2006/relationships/tags" Target="../tags/tag269.xml"/><Relationship Id="rId285" Type="http://schemas.openxmlformats.org/officeDocument/2006/relationships/tags" Target="../tags/tag290.xml"/><Relationship Id="rId17" Type="http://schemas.openxmlformats.org/officeDocument/2006/relationships/tags" Target="../tags/tag22.xml"/><Relationship Id="rId38" Type="http://schemas.openxmlformats.org/officeDocument/2006/relationships/tags" Target="../tags/tag43.xml"/><Relationship Id="rId59" Type="http://schemas.openxmlformats.org/officeDocument/2006/relationships/tags" Target="../tags/tag64.xml"/><Relationship Id="rId103" Type="http://schemas.openxmlformats.org/officeDocument/2006/relationships/tags" Target="../tags/tag108.xml"/><Relationship Id="rId124" Type="http://schemas.openxmlformats.org/officeDocument/2006/relationships/tags" Target="../tags/tag129.xml"/><Relationship Id="rId310" Type="http://schemas.openxmlformats.org/officeDocument/2006/relationships/tags" Target="../tags/tag315.xml"/><Relationship Id="rId70" Type="http://schemas.openxmlformats.org/officeDocument/2006/relationships/tags" Target="../tags/tag75.xml"/><Relationship Id="rId91" Type="http://schemas.openxmlformats.org/officeDocument/2006/relationships/tags" Target="../tags/tag96.xml"/><Relationship Id="rId145" Type="http://schemas.openxmlformats.org/officeDocument/2006/relationships/tags" Target="../tags/tag150.xml"/><Relationship Id="rId166" Type="http://schemas.openxmlformats.org/officeDocument/2006/relationships/tags" Target="../tags/tag171.xml"/><Relationship Id="rId187" Type="http://schemas.openxmlformats.org/officeDocument/2006/relationships/tags" Target="../tags/tag192.xml"/><Relationship Id="rId331" Type="http://schemas.openxmlformats.org/officeDocument/2006/relationships/tags" Target="../tags/tag336.xml"/><Relationship Id="rId352" Type="http://schemas.openxmlformats.org/officeDocument/2006/relationships/tags" Target="../tags/tag357.xml"/><Relationship Id="rId373" Type="http://schemas.openxmlformats.org/officeDocument/2006/relationships/tags" Target="../tags/tag378.xml"/><Relationship Id="rId1" Type="http://schemas.openxmlformats.org/officeDocument/2006/relationships/tags" Target="../tags/tag6.xml"/><Relationship Id="rId212" Type="http://schemas.openxmlformats.org/officeDocument/2006/relationships/tags" Target="../tags/tag217.xml"/><Relationship Id="rId233" Type="http://schemas.openxmlformats.org/officeDocument/2006/relationships/tags" Target="../tags/tag238.xml"/><Relationship Id="rId254" Type="http://schemas.openxmlformats.org/officeDocument/2006/relationships/tags" Target="../tags/tag259.xml"/><Relationship Id="rId28" Type="http://schemas.openxmlformats.org/officeDocument/2006/relationships/tags" Target="../tags/tag33.xml"/><Relationship Id="rId49" Type="http://schemas.openxmlformats.org/officeDocument/2006/relationships/tags" Target="../tags/tag54.xml"/><Relationship Id="rId114" Type="http://schemas.openxmlformats.org/officeDocument/2006/relationships/tags" Target="../tags/tag119.xml"/><Relationship Id="rId275" Type="http://schemas.openxmlformats.org/officeDocument/2006/relationships/tags" Target="../tags/tag280.xml"/><Relationship Id="rId296" Type="http://schemas.openxmlformats.org/officeDocument/2006/relationships/tags" Target="../tags/tag301.xml"/><Relationship Id="rId300" Type="http://schemas.openxmlformats.org/officeDocument/2006/relationships/tags" Target="../tags/tag305.xml"/><Relationship Id="rId60" Type="http://schemas.openxmlformats.org/officeDocument/2006/relationships/tags" Target="../tags/tag65.xml"/><Relationship Id="rId81" Type="http://schemas.openxmlformats.org/officeDocument/2006/relationships/tags" Target="../tags/tag86.xml"/><Relationship Id="rId135" Type="http://schemas.openxmlformats.org/officeDocument/2006/relationships/tags" Target="../tags/tag140.xml"/><Relationship Id="rId156" Type="http://schemas.openxmlformats.org/officeDocument/2006/relationships/tags" Target="../tags/tag161.xml"/><Relationship Id="rId177" Type="http://schemas.openxmlformats.org/officeDocument/2006/relationships/tags" Target="../tags/tag182.xml"/><Relationship Id="rId198" Type="http://schemas.openxmlformats.org/officeDocument/2006/relationships/tags" Target="../tags/tag203.xml"/><Relationship Id="rId321" Type="http://schemas.openxmlformats.org/officeDocument/2006/relationships/tags" Target="../tags/tag326.xml"/><Relationship Id="rId342" Type="http://schemas.openxmlformats.org/officeDocument/2006/relationships/tags" Target="../tags/tag347.xml"/><Relationship Id="rId363" Type="http://schemas.openxmlformats.org/officeDocument/2006/relationships/tags" Target="../tags/tag368.xml"/><Relationship Id="rId202" Type="http://schemas.openxmlformats.org/officeDocument/2006/relationships/tags" Target="../tags/tag207.xml"/><Relationship Id="rId223" Type="http://schemas.openxmlformats.org/officeDocument/2006/relationships/tags" Target="../tags/tag228.xml"/><Relationship Id="rId244" Type="http://schemas.openxmlformats.org/officeDocument/2006/relationships/tags" Target="../tags/tag249.xml"/><Relationship Id="rId18" Type="http://schemas.openxmlformats.org/officeDocument/2006/relationships/tags" Target="../tags/tag23.xml"/><Relationship Id="rId39" Type="http://schemas.openxmlformats.org/officeDocument/2006/relationships/tags" Target="../tags/tag44.xml"/><Relationship Id="rId265" Type="http://schemas.openxmlformats.org/officeDocument/2006/relationships/tags" Target="../tags/tag270.xml"/><Relationship Id="rId286" Type="http://schemas.openxmlformats.org/officeDocument/2006/relationships/tags" Target="../tags/tag291.xml"/><Relationship Id="rId50" Type="http://schemas.openxmlformats.org/officeDocument/2006/relationships/tags" Target="../tags/tag55.xml"/><Relationship Id="rId104" Type="http://schemas.openxmlformats.org/officeDocument/2006/relationships/tags" Target="../tags/tag109.xml"/><Relationship Id="rId125" Type="http://schemas.openxmlformats.org/officeDocument/2006/relationships/tags" Target="../tags/tag130.xml"/><Relationship Id="rId146" Type="http://schemas.openxmlformats.org/officeDocument/2006/relationships/tags" Target="../tags/tag151.xml"/><Relationship Id="rId167" Type="http://schemas.openxmlformats.org/officeDocument/2006/relationships/tags" Target="../tags/tag172.xml"/><Relationship Id="rId188" Type="http://schemas.openxmlformats.org/officeDocument/2006/relationships/tags" Target="../tags/tag193.xml"/><Relationship Id="rId311" Type="http://schemas.openxmlformats.org/officeDocument/2006/relationships/tags" Target="../tags/tag316.xml"/><Relationship Id="rId332" Type="http://schemas.openxmlformats.org/officeDocument/2006/relationships/tags" Target="../tags/tag337.xml"/><Relationship Id="rId353" Type="http://schemas.openxmlformats.org/officeDocument/2006/relationships/tags" Target="../tags/tag358.xml"/><Relationship Id="rId374" Type="http://schemas.openxmlformats.org/officeDocument/2006/relationships/tags" Target="../tags/tag379.xml"/><Relationship Id="rId71" Type="http://schemas.openxmlformats.org/officeDocument/2006/relationships/tags" Target="../tags/tag76.xml"/><Relationship Id="rId92" Type="http://schemas.openxmlformats.org/officeDocument/2006/relationships/tags" Target="../tags/tag97.xml"/><Relationship Id="rId213" Type="http://schemas.openxmlformats.org/officeDocument/2006/relationships/tags" Target="../tags/tag218.xml"/><Relationship Id="rId234" Type="http://schemas.openxmlformats.org/officeDocument/2006/relationships/tags" Target="../tags/tag239.xml"/><Relationship Id="rId2" Type="http://schemas.openxmlformats.org/officeDocument/2006/relationships/tags" Target="../tags/tag7.xml"/><Relationship Id="rId29" Type="http://schemas.openxmlformats.org/officeDocument/2006/relationships/tags" Target="../tags/tag34.xml"/><Relationship Id="rId255" Type="http://schemas.openxmlformats.org/officeDocument/2006/relationships/tags" Target="../tags/tag260.xml"/><Relationship Id="rId276" Type="http://schemas.openxmlformats.org/officeDocument/2006/relationships/tags" Target="../tags/tag281.xml"/><Relationship Id="rId297" Type="http://schemas.openxmlformats.org/officeDocument/2006/relationships/tags" Target="../tags/tag302.xml"/><Relationship Id="rId40" Type="http://schemas.openxmlformats.org/officeDocument/2006/relationships/tags" Target="../tags/tag45.xml"/><Relationship Id="rId115" Type="http://schemas.openxmlformats.org/officeDocument/2006/relationships/tags" Target="../tags/tag120.xml"/><Relationship Id="rId136" Type="http://schemas.openxmlformats.org/officeDocument/2006/relationships/tags" Target="../tags/tag141.xml"/><Relationship Id="rId157" Type="http://schemas.openxmlformats.org/officeDocument/2006/relationships/tags" Target="../tags/tag162.xml"/><Relationship Id="rId178" Type="http://schemas.openxmlformats.org/officeDocument/2006/relationships/tags" Target="../tags/tag183.xml"/><Relationship Id="rId301" Type="http://schemas.openxmlformats.org/officeDocument/2006/relationships/tags" Target="../tags/tag306.xml"/><Relationship Id="rId322" Type="http://schemas.openxmlformats.org/officeDocument/2006/relationships/tags" Target="../tags/tag327.xml"/><Relationship Id="rId343" Type="http://schemas.openxmlformats.org/officeDocument/2006/relationships/tags" Target="../tags/tag348.xml"/><Relationship Id="rId364" Type="http://schemas.openxmlformats.org/officeDocument/2006/relationships/tags" Target="../tags/tag369.xml"/><Relationship Id="rId61" Type="http://schemas.openxmlformats.org/officeDocument/2006/relationships/tags" Target="../tags/tag66.xml"/><Relationship Id="rId82" Type="http://schemas.openxmlformats.org/officeDocument/2006/relationships/tags" Target="../tags/tag87.xml"/><Relationship Id="rId199" Type="http://schemas.openxmlformats.org/officeDocument/2006/relationships/tags" Target="../tags/tag204.xml"/><Relationship Id="rId203" Type="http://schemas.openxmlformats.org/officeDocument/2006/relationships/tags" Target="../tags/tag208.xml"/><Relationship Id="rId19" Type="http://schemas.openxmlformats.org/officeDocument/2006/relationships/tags" Target="../tags/tag24.xml"/><Relationship Id="rId224" Type="http://schemas.openxmlformats.org/officeDocument/2006/relationships/tags" Target="../tags/tag229.xml"/><Relationship Id="rId245" Type="http://schemas.openxmlformats.org/officeDocument/2006/relationships/tags" Target="../tags/tag250.xml"/><Relationship Id="rId266" Type="http://schemas.openxmlformats.org/officeDocument/2006/relationships/tags" Target="../tags/tag271.xml"/><Relationship Id="rId287" Type="http://schemas.openxmlformats.org/officeDocument/2006/relationships/tags" Target="../tags/tag292.xml"/><Relationship Id="rId30" Type="http://schemas.openxmlformats.org/officeDocument/2006/relationships/tags" Target="../tags/tag35.xml"/><Relationship Id="rId105" Type="http://schemas.openxmlformats.org/officeDocument/2006/relationships/tags" Target="../tags/tag110.xml"/><Relationship Id="rId126" Type="http://schemas.openxmlformats.org/officeDocument/2006/relationships/tags" Target="../tags/tag131.xml"/><Relationship Id="rId147" Type="http://schemas.openxmlformats.org/officeDocument/2006/relationships/tags" Target="../tags/tag152.xml"/><Relationship Id="rId168" Type="http://schemas.openxmlformats.org/officeDocument/2006/relationships/tags" Target="../tags/tag173.xml"/><Relationship Id="rId312" Type="http://schemas.openxmlformats.org/officeDocument/2006/relationships/tags" Target="../tags/tag317.xml"/><Relationship Id="rId333" Type="http://schemas.openxmlformats.org/officeDocument/2006/relationships/tags" Target="../tags/tag338.xml"/><Relationship Id="rId354" Type="http://schemas.openxmlformats.org/officeDocument/2006/relationships/tags" Target="../tags/tag359.xml"/><Relationship Id="rId51" Type="http://schemas.openxmlformats.org/officeDocument/2006/relationships/tags" Target="../tags/tag56.xml"/><Relationship Id="rId72" Type="http://schemas.openxmlformats.org/officeDocument/2006/relationships/tags" Target="../tags/tag77.xml"/><Relationship Id="rId93" Type="http://schemas.openxmlformats.org/officeDocument/2006/relationships/tags" Target="../tags/tag98.xml"/><Relationship Id="rId189" Type="http://schemas.openxmlformats.org/officeDocument/2006/relationships/tags" Target="../tags/tag194.xml"/><Relationship Id="rId375" Type="http://schemas.openxmlformats.org/officeDocument/2006/relationships/tags" Target="../tags/tag380.xml"/><Relationship Id="rId3" Type="http://schemas.openxmlformats.org/officeDocument/2006/relationships/tags" Target="../tags/tag8.xml"/><Relationship Id="rId214" Type="http://schemas.openxmlformats.org/officeDocument/2006/relationships/tags" Target="../tags/tag219.xml"/><Relationship Id="rId235" Type="http://schemas.openxmlformats.org/officeDocument/2006/relationships/tags" Target="../tags/tag240.xml"/><Relationship Id="rId256" Type="http://schemas.openxmlformats.org/officeDocument/2006/relationships/tags" Target="../tags/tag261.xml"/><Relationship Id="rId277" Type="http://schemas.openxmlformats.org/officeDocument/2006/relationships/tags" Target="../tags/tag282.xml"/><Relationship Id="rId298" Type="http://schemas.openxmlformats.org/officeDocument/2006/relationships/tags" Target="../tags/tag303.xml"/><Relationship Id="rId116" Type="http://schemas.openxmlformats.org/officeDocument/2006/relationships/tags" Target="../tags/tag121.xml"/><Relationship Id="rId137" Type="http://schemas.openxmlformats.org/officeDocument/2006/relationships/tags" Target="../tags/tag142.xml"/><Relationship Id="rId158" Type="http://schemas.openxmlformats.org/officeDocument/2006/relationships/tags" Target="../tags/tag163.xml"/><Relationship Id="rId302" Type="http://schemas.openxmlformats.org/officeDocument/2006/relationships/tags" Target="../tags/tag307.xml"/><Relationship Id="rId323" Type="http://schemas.openxmlformats.org/officeDocument/2006/relationships/tags" Target="../tags/tag328.xml"/><Relationship Id="rId344" Type="http://schemas.openxmlformats.org/officeDocument/2006/relationships/tags" Target="../tags/tag349.xml"/><Relationship Id="rId20" Type="http://schemas.openxmlformats.org/officeDocument/2006/relationships/tags" Target="../tags/tag25.xml"/><Relationship Id="rId41" Type="http://schemas.openxmlformats.org/officeDocument/2006/relationships/tags" Target="../tags/tag46.xml"/><Relationship Id="rId62" Type="http://schemas.openxmlformats.org/officeDocument/2006/relationships/tags" Target="../tags/tag67.xml"/><Relationship Id="rId83" Type="http://schemas.openxmlformats.org/officeDocument/2006/relationships/tags" Target="../tags/tag88.xml"/><Relationship Id="rId179" Type="http://schemas.openxmlformats.org/officeDocument/2006/relationships/tags" Target="../tags/tag184.xml"/><Relationship Id="rId365" Type="http://schemas.openxmlformats.org/officeDocument/2006/relationships/tags" Target="../tags/tag370.xml"/><Relationship Id="rId190" Type="http://schemas.openxmlformats.org/officeDocument/2006/relationships/tags" Target="../tags/tag195.xml"/><Relationship Id="rId204" Type="http://schemas.openxmlformats.org/officeDocument/2006/relationships/tags" Target="../tags/tag209.xml"/><Relationship Id="rId225" Type="http://schemas.openxmlformats.org/officeDocument/2006/relationships/tags" Target="../tags/tag230.xml"/><Relationship Id="rId246" Type="http://schemas.openxmlformats.org/officeDocument/2006/relationships/tags" Target="../tags/tag251.xml"/><Relationship Id="rId267" Type="http://schemas.openxmlformats.org/officeDocument/2006/relationships/tags" Target="../tags/tag272.xml"/><Relationship Id="rId288" Type="http://schemas.openxmlformats.org/officeDocument/2006/relationships/tags" Target="../tags/tag293.xml"/><Relationship Id="rId106" Type="http://schemas.openxmlformats.org/officeDocument/2006/relationships/tags" Target="../tags/tag111.xml"/><Relationship Id="rId127" Type="http://schemas.openxmlformats.org/officeDocument/2006/relationships/tags" Target="../tags/tag132.xml"/><Relationship Id="rId313" Type="http://schemas.openxmlformats.org/officeDocument/2006/relationships/tags" Target="../tags/tag318.xml"/><Relationship Id="rId10" Type="http://schemas.openxmlformats.org/officeDocument/2006/relationships/tags" Target="../tags/tag15.xml"/><Relationship Id="rId31" Type="http://schemas.openxmlformats.org/officeDocument/2006/relationships/tags" Target="../tags/tag36.xml"/><Relationship Id="rId52" Type="http://schemas.openxmlformats.org/officeDocument/2006/relationships/tags" Target="../tags/tag57.xml"/><Relationship Id="rId73" Type="http://schemas.openxmlformats.org/officeDocument/2006/relationships/tags" Target="../tags/tag78.xml"/><Relationship Id="rId94" Type="http://schemas.openxmlformats.org/officeDocument/2006/relationships/tags" Target="../tags/tag99.xml"/><Relationship Id="rId148" Type="http://schemas.openxmlformats.org/officeDocument/2006/relationships/tags" Target="../tags/tag153.xml"/><Relationship Id="rId169" Type="http://schemas.openxmlformats.org/officeDocument/2006/relationships/tags" Target="../tags/tag174.xml"/><Relationship Id="rId334" Type="http://schemas.openxmlformats.org/officeDocument/2006/relationships/tags" Target="../tags/tag339.xml"/><Relationship Id="rId355" Type="http://schemas.openxmlformats.org/officeDocument/2006/relationships/tags" Target="../tags/tag360.xml"/><Relationship Id="rId376" Type="http://schemas.openxmlformats.org/officeDocument/2006/relationships/tags" Target="../tags/tag381.xml"/><Relationship Id="rId4" Type="http://schemas.openxmlformats.org/officeDocument/2006/relationships/tags" Target="../tags/tag9.xml"/><Relationship Id="rId180" Type="http://schemas.openxmlformats.org/officeDocument/2006/relationships/tags" Target="../tags/tag185.xml"/><Relationship Id="rId215" Type="http://schemas.openxmlformats.org/officeDocument/2006/relationships/tags" Target="../tags/tag220.xml"/><Relationship Id="rId236" Type="http://schemas.openxmlformats.org/officeDocument/2006/relationships/tags" Target="../tags/tag241.xml"/><Relationship Id="rId257" Type="http://schemas.openxmlformats.org/officeDocument/2006/relationships/tags" Target="../tags/tag262.xml"/><Relationship Id="rId278" Type="http://schemas.openxmlformats.org/officeDocument/2006/relationships/tags" Target="../tags/tag28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366694" y="1337346"/>
            <a:ext cx="9159894" cy="233910"/>
          </a:xfrm>
        </p:spPr>
        <p:txBody>
          <a:bodyPr/>
          <a:lstStyle/>
          <a:p>
            <a:r>
              <a:rPr lang="en-US" dirty="0" smtClean="0"/>
              <a:t>January, 2015</a:t>
            </a:r>
            <a:endParaRPr lang="en-US" dirty="0"/>
          </a:p>
        </p:txBody>
      </p:sp>
      <p:sp>
        <p:nvSpPr>
          <p:cNvPr id="3" name="Title 2"/>
          <p:cNvSpPr>
            <a:spLocks noGrp="1"/>
          </p:cNvSpPr>
          <p:nvPr>
            <p:ph type="ctrTitle"/>
          </p:nvPr>
        </p:nvSpPr>
        <p:spPr/>
        <p:txBody>
          <a:bodyPr/>
          <a:lstStyle/>
          <a:p>
            <a:r>
              <a:rPr lang="en-US" dirty="0" smtClean="0"/>
              <a:t>STOXX</a:t>
            </a:r>
            <a:r>
              <a:rPr lang="en-US" baseline="30000" dirty="0" smtClean="0"/>
              <a:t>®</a:t>
            </a:r>
            <a:r>
              <a:rPr lang="en-US" dirty="0" smtClean="0"/>
              <a:t> GLOBAL SELECT DIVIDEND 100 INDEX</a:t>
            </a:r>
            <a:r>
              <a:rPr lang="en-US" sz="1800" dirty="0"/>
              <a:t/>
            </a:r>
            <a:br>
              <a:rPr lang="en-US" sz="1800" dirty="0"/>
            </a:br>
            <a:endParaRPr lang="en-US" dirty="0"/>
          </a:p>
        </p:txBody>
      </p:sp>
    </p:spTree>
    <p:extLst>
      <p:ext uri="{BB962C8B-B14F-4D97-AF65-F5344CB8AC3E}">
        <p14:creationId xmlns:p14="http://schemas.microsoft.com/office/powerpoint/2010/main" val="144506050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a:lstStyle/>
          <a:p>
            <a:r>
              <a:rPr lang="en-US" dirty="0" smtClean="0"/>
              <a:t>References</a:t>
            </a:r>
            <a:endParaRPr lang="en-US" baseline="30000" dirty="0" smtClean="0"/>
          </a:p>
        </p:txBody>
      </p:sp>
      <p:sp>
        <p:nvSpPr>
          <p:cNvPr id="28" name="TextBox 27"/>
          <p:cNvSpPr txBox="1"/>
          <p:nvPr/>
        </p:nvSpPr>
        <p:spPr>
          <a:xfrm>
            <a:off x="9307298" y="6487889"/>
            <a:ext cx="527957" cy="175433"/>
          </a:xfrm>
          <a:prstGeom prst="rect">
            <a:avLst/>
          </a:prstGeom>
          <a:solidFill>
            <a:schemeClr val="bg1"/>
          </a:solidFill>
        </p:spPr>
        <p:txBody>
          <a:bodyPr wrap="square" lIns="0" tIns="0" rIns="0" bIns="0" rtlCol="0">
            <a:spAutoFit/>
          </a:bodyPr>
          <a:lstStyle/>
          <a:p>
            <a:pPr algn="l">
              <a:lnSpc>
                <a:spcPct val="95000"/>
              </a:lnSpc>
            </a:pPr>
            <a:r>
              <a:rPr lang="en-US" sz="1200" b="0" dirty="0" smtClean="0"/>
              <a:t> </a:t>
            </a:r>
            <a:fld id="{9713B8C3-2C6E-429C-B53D-6800F49006AC}" type="slidenum">
              <a:rPr lang="en-US" sz="1200" b="0" smtClean="0"/>
              <a:pPr algn="l">
                <a:lnSpc>
                  <a:spcPct val="95000"/>
                </a:lnSpc>
              </a:pPr>
              <a:t>10</a:t>
            </a:fld>
            <a:endParaRPr lang="en-US" sz="1200" b="0" dirty="0" smtClean="0"/>
          </a:p>
        </p:txBody>
      </p:sp>
      <p:sp>
        <p:nvSpPr>
          <p:cNvPr id="2" name="Rectangle 2"/>
          <p:cNvSpPr>
            <a:spLocks noChangeArrowheads="1"/>
          </p:cNvSpPr>
          <p:nvPr/>
        </p:nvSpPr>
        <p:spPr bwMode="auto">
          <a:xfrm>
            <a:off x="0" y="0"/>
            <a:ext cx="9906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11" name="Rectangle 4"/>
          <p:cNvSpPr>
            <a:spLocks noChangeArrowheads="1"/>
          </p:cNvSpPr>
          <p:nvPr/>
        </p:nvSpPr>
        <p:spPr bwMode="auto">
          <a:xfrm>
            <a:off x="368300" y="1540760"/>
            <a:ext cx="9155113" cy="4062069"/>
          </a:xfrm>
          <a:prstGeom prst="rect">
            <a:avLst/>
          </a:prstGeom>
          <a:noFill/>
          <a:ln w="9525">
            <a:noFill/>
            <a:miter lim="800000"/>
            <a:headEnd/>
            <a:tailEnd/>
          </a:ln>
        </p:spPr>
        <p:txBody>
          <a:bodyPr wrap="square" lIns="0" tIns="36000" rIns="0" bIns="0">
            <a:spAutoFit/>
          </a:bodyPr>
          <a:lstStyle/>
          <a:p>
            <a:pPr marL="190500" lvl="1" indent="-188913">
              <a:lnSpc>
                <a:spcPct val="80000"/>
              </a:lnSpc>
              <a:spcBef>
                <a:spcPct val="0"/>
              </a:spcBef>
              <a:spcAft>
                <a:spcPts val="600"/>
              </a:spcAft>
              <a:buFont typeface="Arial" charset="0"/>
              <a:buChar char="»"/>
            </a:pPr>
            <a:r>
              <a:rPr lang="en-US" sz="1400" dirty="0" smtClean="0"/>
              <a:t>Campbell</a:t>
            </a:r>
            <a:r>
              <a:rPr lang="en-US" sz="1400" dirty="0"/>
              <a:t>, J. and R. Shiller, The Dividend-Price Ratio and Expectations of Future Dividends and Discount Factors, Review of Financial Studies, 1, </a:t>
            </a:r>
            <a:r>
              <a:rPr lang="en-US" sz="1400" dirty="0" smtClean="0"/>
              <a:t>1988</a:t>
            </a:r>
            <a:endParaRPr lang="en-US" sz="1400" dirty="0"/>
          </a:p>
          <a:p>
            <a:pPr marL="190500" lvl="1" indent="-188913">
              <a:lnSpc>
                <a:spcPct val="80000"/>
              </a:lnSpc>
              <a:spcBef>
                <a:spcPct val="0"/>
              </a:spcBef>
              <a:spcAft>
                <a:spcPts val="600"/>
              </a:spcAft>
              <a:buFont typeface="Arial" charset="0"/>
              <a:buChar char="»"/>
            </a:pPr>
            <a:r>
              <a:rPr lang="en-US" sz="1400" dirty="0"/>
              <a:t>Campbell, J. and R. Shiller, Stock Prices, Earnings, and Expected Dividends, Journal of Finance, 43, </a:t>
            </a:r>
            <a:r>
              <a:rPr lang="en-US" sz="1400" dirty="0" smtClean="0"/>
              <a:t>1988</a:t>
            </a:r>
            <a:endParaRPr lang="en-US" sz="1400" dirty="0"/>
          </a:p>
          <a:p>
            <a:pPr marL="190500" lvl="1" indent="-188913">
              <a:lnSpc>
                <a:spcPct val="80000"/>
              </a:lnSpc>
              <a:spcBef>
                <a:spcPct val="0"/>
              </a:spcBef>
              <a:spcAft>
                <a:spcPts val="600"/>
              </a:spcAft>
              <a:buFont typeface="Arial" charset="0"/>
              <a:buChar char="»"/>
            </a:pPr>
            <a:r>
              <a:rPr lang="en-US" sz="1400" dirty="0"/>
              <a:t>Dickson, Henry Chip, and Charles L. </a:t>
            </a:r>
            <a:r>
              <a:rPr lang="en-US" sz="1400" dirty="0" err="1"/>
              <a:t>Reinhard</a:t>
            </a:r>
            <a:r>
              <a:rPr lang="en-US" sz="1400" dirty="0"/>
              <a:t>, Dividend Yield Screens, </a:t>
            </a:r>
            <a:r>
              <a:rPr lang="en-US" sz="1400" dirty="0" smtClean="0"/>
              <a:t>Portfolio Strategy</a:t>
            </a:r>
            <a:r>
              <a:rPr lang="en-US" sz="1400" dirty="0"/>
              <a:t>, Lehman Brothers Equity Research, September 26, </a:t>
            </a:r>
            <a:r>
              <a:rPr lang="en-US" sz="1400" dirty="0" smtClean="0"/>
              <a:t>2005</a:t>
            </a:r>
            <a:endParaRPr lang="en-US" sz="1400" dirty="0"/>
          </a:p>
          <a:p>
            <a:pPr marL="190500" lvl="1" indent="-188913">
              <a:lnSpc>
                <a:spcPct val="80000"/>
              </a:lnSpc>
              <a:spcBef>
                <a:spcPct val="0"/>
              </a:spcBef>
              <a:spcAft>
                <a:spcPts val="600"/>
              </a:spcAft>
              <a:buFont typeface="Arial" charset="0"/>
              <a:buChar char="»"/>
            </a:pPr>
            <a:r>
              <a:rPr lang="en-US" sz="1400" dirty="0" err="1"/>
              <a:t>Dimson</a:t>
            </a:r>
            <a:r>
              <a:rPr lang="en-US" sz="1400" dirty="0"/>
              <a:t>, Elroy, Paul Marsh, and Mike Staunton, Triumph of the </a:t>
            </a:r>
            <a:r>
              <a:rPr lang="en-US" sz="1400" dirty="0" smtClean="0"/>
              <a:t>Optimists, Princeton </a:t>
            </a:r>
            <a:r>
              <a:rPr lang="en-US" sz="1400" dirty="0"/>
              <a:t>University Press, </a:t>
            </a:r>
            <a:r>
              <a:rPr lang="en-US" sz="1400" dirty="0" smtClean="0"/>
              <a:t>2002</a:t>
            </a:r>
          </a:p>
          <a:p>
            <a:pPr marL="190500" lvl="1" indent="-188913">
              <a:lnSpc>
                <a:spcPct val="80000"/>
              </a:lnSpc>
              <a:spcBef>
                <a:spcPct val="0"/>
              </a:spcBef>
              <a:spcAft>
                <a:spcPts val="600"/>
              </a:spcAft>
              <a:buFont typeface="Arial" charset="0"/>
              <a:buChar char="»"/>
            </a:pPr>
            <a:r>
              <a:rPr lang="en-US" sz="1400" dirty="0" smtClean="0"/>
              <a:t>Graham</a:t>
            </a:r>
            <a:r>
              <a:rPr lang="en-US" sz="1400" dirty="0"/>
              <a:t>, Benjamin, The Intelligent Investor, Fourth Revised Edition, </a:t>
            </a:r>
            <a:r>
              <a:rPr lang="en-US" sz="1400" dirty="0" smtClean="0"/>
              <a:t>Harper Business</a:t>
            </a:r>
            <a:r>
              <a:rPr lang="en-US" sz="1400" dirty="0"/>
              <a:t>, </a:t>
            </a:r>
            <a:r>
              <a:rPr lang="en-US" sz="1400" dirty="0" smtClean="0"/>
              <a:t>1973</a:t>
            </a:r>
            <a:endParaRPr lang="en-US" sz="1400" dirty="0"/>
          </a:p>
          <a:p>
            <a:pPr marL="190500" lvl="1" indent="-188913">
              <a:lnSpc>
                <a:spcPct val="80000"/>
              </a:lnSpc>
              <a:spcBef>
                <a:spcPct val="0"/>
              </a:spcBef>
              <a:spcAft>
                <a:spcPts val="600"/>
              </a:spcAft>
              <a:buFont typeface="Arial" charset="0"/>
              <a:buChar char="»"/>
            </a:pPr>
            <a:r>
              <a:rPr lang="en-US" sz="1400" dirty="0" err="1"/>
              <a:t>Keppler</a:t>
            </a:r>
            <a:r>
              <a:rPr lang="en-US" sz="1400" dirty="0"/>
              <a:t>, A. Michael, The Importance of Dividend Yields in Country </a:t>
            </a:r>
            <a:r>
              <a:rPr lang="en-US" sz="1400" dirty="0" smtClean="0"/>
              <a:t>Selection, Journal </a:t>
            </a:r>
            <a:r>
              <a:rPr lang="en-US" sz="1400" dirty="0"/>
              <a:t>of Portfolio Management, Winter, </a:t>
            </a:r>
            <a:r>
              <a:rPr lang="en-US" sz="1400" dirty="0" smtClean="0"/>
              <a:t>1991</a:t>
            </a:r>
            <a:endParaRPr lang="en-US" sz="1400" dirty="0"/>
          </a:p>
          <a:p>
            <a:pPr marL="190500" lvl="1" indent="-188913">
              <a:lnSpc>
                <a:spcPct val="80000"/>
              </a:lnSpc>
              <a:spcBef>
                <a:spcPct val="0"/>
              </a:spcBef>
              <a:spcAft>
                <a:spcPts val="600"/>
              </a:spcAft>
              <a:buFont typeface="Arial" charset="0"/>
              <a:buChar char="»"/>
            </a:pPr>
            <a:r>
              <a:rPr lang="en-US" sz="1400" dirty="0"/>
              <a:t>Levis, Mario, Stock Market Anomalies: A Reassessment Based on the UK </a:t>
            </a:r>
            <a:r>
              <a:rPr lang="en-US" sz="1400" dirty="0" smtClean="0"/>
              <a:t>Evidence, Journal </a:t>
            </a:r>
            <a:r>
              <a:rPr lang="en-US" sz="1400" dirty="0"/>
              <a:t>of Banking and Finance, 13, </a:t>
            </a:r>
            <a:r>
              <a:rPr lang="en-US" sz="1400" dirty="0" smtClean="0"/>
              <a:t>1989</a:t>
            </a:r>
            <a:endParaRPr lang="en-US" sz="1400" dirty="0"/>
          </a:p>
          <a:p>
            <a:pPr marL="190500" lvl="1" indent="-188913">
              <a:lnSpc>
                <a:spcPct val="80000"/>
              </a:lnSpc>
              <a:spcBef>
                <a:spcPct val="0"/>
              </a:spcBef>
              <a:spcAft>
                <a:spcPts val="600"/>
              </a:spcAft>
              <a:buFont typeface="Arial" charset="0"/>
              <a:buChar char="»"/>
            </a:pPr>
            <a:r>
              <a:rPr lang="en-US" sz="1400" dirty="0" err="1"/>
              <a:t>Litzenberger</a:t>
            </a:r>
            <a:r>
              <a:rPr lang="en-US" sz="1400" dirty="0"/>
              <a:t>, Robert H., and Krishna </a:t>
            </a:r>
            <a:r>
              <a:rPr lang="en-US" sz="1400" dirty="0" err="1"/>
              <a:t>Ramaswamy</a:t>
            </a:r>
            <a:r>
              <a:rPr lang="en-US" sz="1400" dirty="0"/>
              <a:t>, The Effect of Personal Taxes </a:t>
            </a:r>
            <a:r>
              <a:rPr lang="en-US" sz="1400" dirty="0" smtClean="0"/>
              <a:t>and Dividends </a:t>
            </a:r>
            <a:r>
              <a:rPr lang="en-US" sz="1400" dirty="0"/>
              <a:t>on Capital Asset Prices, Journal of Financial Economics, </a:t>
            </a:r>
            <a:r>
              <a:rPr lang="en-US" sz="1400" dirty="0" smtClean="0"/>
              <a:t>1979</a:t>
            </a:r>
            <a:endParaRPr lang="en-US" sz="1400" dirty="0"/>
          </a:p>
          <a:p>
            <a:pPr marL="190500" lvl="1" indent="-188913">
              <a:lnSpc>
                <a:spcPct val="80000"/>
              </a:lnSpc>
              <a:spcBef>
                <a:spcPct val="0"/>
              </a:spcBef>
              <a:spcAft>
                <a:spcPts val="600"/>
              </a:spcAft>
              <a:buFont typeface="Arial" charset="0"/>
              <a:buChar char="»"/>
            </a:pPr>
            <a:r>
              <a:rPr lang="en-US" sz="1400" dirty="0" err="1"/>
              <a:t>Litzenberger</a:t>
            </a:r>
            <a:r>
              <a:rPr lang="en-US" sz="1400" dirty="0"/>
              <a:t>, Robert H. and Krishna </a:t>
            </a:r>
            <a:r>
              <a:rPr lang="en-US" sz="1400" dirty="0" err="1"/>
              <a:t>Ramaswamy</a:t>
            </a:r>
            <a:r>
              <a:rPr lang="en-US" sz="1400" dirty="0"/>
              <a:t>, The Effects of </a:t>
            </a:r>
            <a:r>
              <a:rPr lang="en-US" sz="1400" dirty="0" smtClean="0"/>
              <a:t>Dividends on </a:t>
            </a:r>
            <a:r>
              <a:rPr lang="en-US" sz="1400" dirty="0"/>
              <a:t>Common Stock Prices Tax Effects or Information Effects?, The Journal </a:t>
            </a:r>
            <a:r>
              <a:rPr lang="en-US" sz="1400" dirty="0" smtClean="0"/>
              <a:t>Of Finance</a:t>
            </a:r>
            <a:r>
              <a:rPr lang="en-US" sz="1400" dirty="0"/>
              <a:t>, Vol. XXXVII, No. 2, May </a:t>
            </a:r>
            <a:r>
              <a:rPr lang="en-US" sz="1400" dirty="0" smtClean="0"/>
              <a:t>1982</a:t>
            </a:r>
            <a:endParaRPr lang="en-US" sz="1400" dirty="0"/>
          </a:p>
          <a:p>
            <a:pPr marL="190500" lvl="1" indent="-188913">
              <a:lnSpc>
                <a:spcPct val="80000"/>
              </a:lnSpc>
              <a:spcBef>
                <a:spcPct val="0"/>
              </a:spcBef>
              <a:spcAft>
                <a:spcPts val="600"/>
              </a:spcAft>
              <a:buFont typeface="Arial" charset="0"/>
              <a:buChar char="»"/>
            </a:pPr>
            <a:r>
              <a:rPr lang="en-US" sz="1400" dirty="0"/>
              <a:t>O’Higgins, Michael B. and John </a:t>
            </a:r>
            <a:r>
              <a:rPr lang="en-US" sz="1400" dirty="0" err="1"/>
              <a:t>Downes</a:t>
            </a:r>
            <a:r>
              <a:rPr lang="en-US" sz="1400" dirty="0"/>
              <a:t>, Beating the Dow, HarperCollins </a:t>
            </a:r>
            <a:r>
              <a:rPr lang="en-US" sz="1400" dirty="0" smtClean="0"/>
              <a:t>2000</a:t>
            </a:r>
            <a:endParaRPr lang="en-US" sz="1400" dirty="0"/>
          </a:p>
          <a:p>
            <a:pPr marL="190500" lvl="1" indent="-188913" algn="l">
              <a:lnSpc>
                <a:spcPct val="80000"/>
              </a:lnSpc>
              <a:spcBef>
                <a:spcPct val="0"/>
              </a:spcBef>
              <a:spcAft>
                <a:spcPts val="600"/>
              </a:spcAft>
              <a:buFont typeface="Arial" charset="0"/>
              <a:buChar char="»"/>
            </a:pPr>
            <a:endParaRPr lang="en-US" sz="1400" b="0" dirty="0"/>
          </a:p>
          <a:p>
            <a:pPr marL="190500" lvl="1" indent="-188913" algn="l">
              <a:lnSpc>
                <a:spcPct val="80000"/>
              </a:lnSpc>
              <a:spcBef>
                <a:spcPct val="0"/>
              </a:spcBef>
              <a:spcAft>
                <a:spcPts val="600"/>
              </a:spcAft>
              <a:buFont typeface="Arial" charset="0"/>
              <a:buChar char="»"/>
            </a:pPr>
            <a:endParaRPr lang="en-US" sz="1400" b="0" dirty="0"/>
          </a:p>
        </p:txBody>
      </p:sp>
    </p:spTree>
    <p:extLst>
      <p:ext uri="{BB962C8B-B14F-4D97-AF65-F5344CB8AC3E}">
        <p14:creationId xmlns:p14="http://schemas.microsoft.com/office/powerpoint/2010/main" val="142596144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70030" y="1338362"/>
            <a:ext cx="9175608" cy="1800493"/>
          </a:xfrm>
          <a:prstGeom prst="rect">
            <a:avLst/>
          </a:prstGeom>
          <a:noFill/>
        </p:spPr>
        <p:txBody>
          <a:bodyPr wrap="square" lIns="0" tIns="0" rIns="0" bIns="0">
            <a:spAutoFit/>
          </a:bodyPr>
          <a:lstStyle/>
          <a:p>
            <a:pPr algn="l">
              <a:spcBef>
                <a:spcPct val="0"/>
              </a:spcBef>
              <a:defRPr/>
            </a:pPr>
            <a:r>
              <a:rPr lang="en-US" sz="1200" b="0" dirty="0">
                <a:solidFill>
                  <a:srgbClr val="000000"/>
                </a:solidFill>
                <a:cs typeface="Arial" charset="0"/>
              </a:rPr>
              <a:t>The indices in the presentation and the trademarks used in the index names are the intellectual property of STOXX </a:t>
            </a:r>
            <a:r>
              <a:rPr lang="en-US" sz="1200" b="0" dirty="0" smtClean="0">
                <a:solidFill>
                  <a:srgbClr val="000000"/>
                </a:solidFill>
                <a:cs typeface="Arial" charset="0"/>
              </a:rPr>
              <a:t>Ltd. or </a:t>
            </a:r>
            <a:r>
              <a:rPr lang="en-US" sz="1200" b="0" dirty="0">
                <a:solidFill>
                  <a:srgbClr val="000000"/>
                </a:solidFill>
                <a:cs typeface="Arial" charset="0"/>
              </a:rPr>
              <a:t>SIX </a:t>
            </a:r>
            <a:r>
              <a:rPr lang="en-US" sz="1200" b="0" dirty="0" smtClean="0">
                <a:solidFill>
                  <a:srgbClr val="000000"/>
                </a:solidFill>
                <a:cs typeface="Arial" charset="0"/>
              </a:rPr>
              <a:t>AG or </a:t>
            </a:r>
            <a:r>
              <a:rPr lang="en-US" sz="1200" b="0" dirty="0">
                <a:solidFill>
                  <a:srgbClr val="000000"/>
                </a:solidFill>
                <a:cs typeface="Arial" charset="0"/>
              </a:rPr>
              <a:t>Deutsche </a:t>
            </a:r>
            <a:r>
              <a:rPr lang="en-US" sz="1200" b="0" dirty="0" smtClean="0">
                <a:solidFill>
                  <a:srgbClr val="000000"/>
                </a:solidFill>
                <a:cs typeface="Arial" charset="0"/>
              </a:rPr>
              <a:t>Boerse </a:t>
            </a:r>
            <a:r>
              <a:rPr lang="en-US" sz="1200" b="0" dirty="0">
                <a:solidFill>
                  <a:srgbClr val="000000"/>
                </a:solidFill>
                <a:cs typeface="Arial" charset="0"/>
              </a:rPr>
              <a:t>AG. </a:t>
            </a:r>
            <a:endParaRPr lang="en-US" sz="1200" b="0" dirty="0">
              <a:solidFill>
                <a:srgbClr val="000000"/>
              </a:solidFill>
              <a:latin typeface="Arial"/>
              <a:cs typeface="Arial" charset="0"/>
            </a:endParaRPr>
          </a:p>
          <a:p>
            <a:pPr algn="l">
              <a:spcBef>
                <a:spcPct val="0"/>
              </a:spcBef>
              <a:defRPr/>
            </a:pPr>
            <a:r>
              <a:rPr lang="en-US" sz="1200" b="0" dirty="0">
                <a:solidFill>
                  <a:srgbClr val="000000"/>
                </a:solidFill>
                <a:latin typeface="Arial"/>
                <a:cs typeface="Arial" charset="0"/>
              </a:rPr>
              <a:t>The use of the </a:t>
            </a:r>
            <a:r>
              <a:rPr lang="en-US" sz="1200" b="0" dirty="0" smtClean="0">
                <a:solidFill>
                  <a:srgbClr val="000000"/>
                </a:solidFill>
                <a:latin typeface="Arial"/>
                <a:cs typeface="Arial" charset="0"/>
              </a:rPr>
              <a:t>STOXX</a:t>
            </a:r>
            <a:r>
              <a:rPr lang="en-US" sz="1200" b="0" baseline="30000" dirty="0" smtClean="0"/>
              <a:t>®</a:t>
            </a:r>
            <a:r>
              <a:rPr lang="en-US" sz="1200" b="0" dirty="0" smtClean="0">
                <a:solidFill>
                  <a:srgbClr val="000000"/>
                </a:solidFill>
                <a:latin typeface="Arial"/>
                <a:cs typeface="Arial" charset="0"/>
              </a:rPr>
              <a:t>, DAX</a:t>
            </a:r>
            <a:r>
              <a:rPr lang="en-US" sz="1200" b="0" baseline="30000" dirty="0"/>
              <a:t> </a:t>
            </a:r>
            <a:r>
              <a:rPr lang="en-US" sz="1200" b="0" baseline="30000" dirty="0" smtClean="0"/>
              <a:t>®</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and 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nd of the respective index data for financial products or for other purposes requires a license from STOXX, Deutsche </a:t>
            </a:r>
            <a:r>
              <a:rPr lang="en-US" sz="1200" b="0" dirty="0" smtClean="0">
                <a:solidFill>
                  <a:srgbClr val="000000"/>
                </a:solidFill>
                <a:latin typeface="Arial"/>
                <a:cs typeface="Arial" charset="0"/>
              </a:rPr>
              <a:t>Boerse</a:t>
            </a:r>
            <a:r>
              <a:rPr lang="en-US" sz="1200" dirty="0">
                <a:solidFill>
                  <a:srgbClr val="000000"/>
                </a:solidFill>
                <a:latin typeface="Arial"/>
                <a:cs typeface="Arial" charset="0"/>
              </a:rPr>
              <a:t> </a:t>
            </a:r>
            <a:r>
              <a:rPr lang="en-US" sz="1200" b="0" dirty="0" smtClean="0">
                <a:solidFill>
                  <a:srgbClr val="000000"/>
                </a:solidFill>
                <a:latin typeface="Arial"/>
                <a:cs typeface="Arial" charset="0"/>
              </a:rPr>
              <a:t>or SIX. </a:t>
            </a:r>
            <a:r>
              <a:rPr lang="en-US" sz="1200" b="0" dirty="0">
                <a:solidFill>
                  <a:srgbClr val="000000"/>
                </a:solidFill>
                <a:latin typeface="Arial"/>
                <a:cs typeface="Arial" charset="0"/>
              </a:rPr>
              <a:t>STOXX and its owners do not make any warranties or representations, express or implied, with respect to the timeliness, sequence, accuracy, completeness, currentness, </a:t>
            </a:r>
            <a:r>
              <a:rPr lang="en-US" sz="1200" b="0" dirty="0" smtClean="0">
                <a:solidFill>
                  <a:srgbClr val="000000"/>
                </a:solidFill>
                <a:latin typeface="Arial"/>
                <a:cs typeface="Arial" charset="0"/>
              </a:rPr>
              <a:t>merchantability</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quality or </a:t>
            </a:r>
            <a:r>
              <a:rPr lang="en-US" sz="1200" b="0" dirty="0">
                <a:solidFill>
                  <a:srgbClr val="000000"/>
                </a:solidFill>
                <a:latin typeface="Arial"/>
                <a:cs typeface="Arial" charset="0"/>
              </a:rPr>
              <a:t>fitness for any particular purpose of its index data. STOXX and its owners are not providing investment advice through the publication of indices or in connection therewith. In particular, the inclusion of a company in an index, its weighting, or the exclusion of a company from an index, does not in any way reflect an opinion of STOXX or its owners on the merits of that company. Financial instruments based on the </a:t>
            </a:r>
            <a:r>
              <a:rPr lang="en-US" sz="1200" b="0" dirty="0" smtClean="0">
                <a:solidFill>
                  <a:srgbClr val="000000"/>
                </a:solidFill>
                <a:latin typeface="Arial"/>
                <a:cs typeface="Arial" charset="0"/>
              </a:rPr>
              <a:t>STOXX</a:t>
            </a:r>
            <a:r>
              <a:rPr lang="en-US" sz="1200" b="0" baseline="30000" dirty="0" smtClean="0"/>
              <a:t>®</a:t>
            </a:r>
            <a:r>
              <a:rPr lang="en-US" sz="1200" b="0" dirty="0" smtClean="0">
                <a:solidFill>
                  <a:srgbClr val="000000"/>
                </a:solidFill>
                <a:latin typeface="Arial"/>
                <a:cs typeface="Arial" charset="0"/>
              </a:rPr>
              <a:t>, DAX</a:t>
            </a:r>
            <a:r>
              <a:rPr lang="en-US" sz="1200" b="0" baseline="30000" dirty="0" smtClean="0"/>
              <a:t>®</a:t>
            </a:r>
            <a:r>
              <a:rPr lang="en-US" sz="1200" dirty="0">
                <a:solidFill>
                  <a:srgbClr val="000000"/>
                </a:solidFill>
                <a:latin typeface="Arial"/>
                <a:cs typeface="Arial" charset="0"/>
              </a:rPr>
              <a:t> </a:t>
            </a:r>
            <a:r>
              <a:rPr lang="en-US" sz="1200" b="0" dirty="0" smtClean="0">
                <a:solidFill>
                  <a:srgbClr val="000000"/>
                </a:solidFill>
                <a:latin typeface="Arial"/>
                <a:cs typeface="Arial" charset="0"/>
              </a:rPr>
              <a:t>or 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re in no way sponsored, endorsed, </a:t>
            </a:r>
            <a:r>
              <a:rPr lang="en-US" sz="1200" b="0" dirty="0" smtClean="0">
                <a:solidFill>
                  <a:srgbClr val="000000"/>
                </a:solidFill>
                <a:latin typeface="Arial"/>
                <a:cs typeface="Arial" charset="0"/>
              </a:rPr>
              <a:t>sold or </a:t>
            </a:r>
            <a:r>
              <a:rPr lang="en-US" sz="1200" b="0" dirty="0">
                <a:solidFill>
                  <a:srgbClr val="000000"/>
                </a:solidFill>
                <a:latin typeface="Arial"/>
                <a:cs typeface="Arial" charset="0"/>
              </a:rPr>
              <a:t>promoted by STOXX or its owners</a:t>
            </a:r>
            <a:r>
              <a:rPr lang="en-US" sz="900" b="0" dirty="0">
                <a:solidFill>
                  <a:srgbClr val="000000"/>
                </a:solidFill>
                <a:cs typeface="Arial" charset="0"/>
              </a:rPr>
              <a:t>.</a:t>
            </a:r>
          </a:p>
          <a:p>
            <a:pPr algn="l">
              <a:spcBef>
                <a:spcPct val="0"/>
              </a:spcBef>
              <a:defRPr/>
            </a:pPr>
            <a:endParaRPr lang="en-US" sz="900" b="0" dirty="0">
              <a:solidFill>
                <a:srgbClr val="000000"/>
              </a:solidFill>
              <a:cs typeface="Arial" charset="0"/>
            </a:endParaRPr>
          </a:p>
        </p:txBody>
      </p:sp>
      <p:sp>
        <p:nvSpPr>
          <p:cNvPr id="30722" name="Title 1"/>
          <p:cNvSpPr>
            <a:spLocks noGrp="1"/>
          </p:cNvSpPr>
          <p:nvPr>
            <p:ph type="title"/>
          </p:nvPr>
        </p:nvSpPr>
        <p:spPr/>
        <p:txBody>
          <a:bodyPr anchor="t" anchorCtr="0"/>
          <a:lstStyle/>
          <a:p>
            <a:pPr eaLnBrk="1" hangingPunct="1"/>
            <a:r>
              <a:rPr lang="en-US" dirty="0" smtClean="0"/>
              <a:t>Disclaimer</a:t>
            </a:r>
          </a:p>
        </p:txBody>
      </p:sp>
      <p:sp>
        <p:nvSpPr>
          <p:cNvPr id="30723" name="Content Placeholder 2"/>
          <p:cNvSpPr>
            <a:spLocks noGrp="1"/>
          </p:cNvSpPr>
          <p:nvPr>
            <p:ph type="body" sz="quarter" idx="10"/>
          </p:nvPr>
        </p:nvSpPr>
        <p:spPr>
          <a:xfrm>
            <a:off x="368300" y="4124325"/>
            <a:ext cx="9158288" cy="1692771"/>
          </a:xfrm>
        </p:spPr>
        <p:txBody>
          <a:bodyPr wrap="square" lIns="0" tIns="0" rIns="0" bIns="0">
            <a:spAutoFit/>
          </a:bodyPr>
          <a:lstStyle/>
          <a:p>
            <a:pPr marL="0" indent="0" eaLnBrk="1" hangingPunct="1">
              <a:lnSpc>
                <a:spcPct val="100000"/>
              </a:lnSpc>
              <a:spcBef>
                <a:spcPts val="0"/>
              </a:spcBef>
              <a:buNone/>
            </a:pPr>
            <a:r>
              <a:rPr lang="en-US" sz="1400" b="1" dirty="0" smtClean="0"/>
              <a:t>About STOXX</a:t>
            </a:r>
          </a:p>
          <a:p>
            <a:pPr marL="0" indent="0" eaLnBrk="1" hangingPunct="1">
              <a:lnSpc>
                <a:spcPct val="100000"/>
              </a:lnSpc>
              <a:spcBef>
                <a:spcPts val="0"/>
              </a:spcBef>
              <a:buNone/>
            </a:pPr>
            <a:r>
              <a:rPr lang="en-US" sz="1200" b="0" dirty="0" smtClean="0"/>
              <a:t>STOXX Ltd. is an established and leading index specialist, which started in Europe. The launch of the first STOXX</a:t>
            </a:r>
            <a:r>
              <a:rPr lang="en-US" sz="1200" b="0" baseline="30000" dirty="0" smtClean="0"/>
              <a:t>®</a:t>
            </a:r>
            <a:r>
              <a:rPr lang="en-US" sz="1200" b="0" dirty="0" smtClean="0"/>
              <a:t> indices in 1998, including the EURO STOXX 50</a:t>
            </a:r>
            <a:r>
              <a:rPr lang="en-US" sz="1200" b="0" baseline="30000" dirty="0" smtClean="0"/>
              <a:t>®</a:t>
            </a:r>
            <a:r>
              <a:rPr lang="en-US" sz="1200" b="0" dirty="0" smtClean="0"/>
              <a:t> Index, marked the beginning of a unique success story, based on the company’s neutrality and independence. Since then, STOXX has been at the forefront of market developments and has continuously expanded its portfolio of innovative indices. STOXX now operates globally across all asset classes.</a:t>
            </a:r>
          </a:p>
          <a:p>
            <a:pPr marL="0" indent="0" eaLnBrk="1" hangingPunct="1">
              <a:lnSpc>
                <a:spcPct val="100000"/>
              </a:lnSpc>
              <a:spcBef>
                <a:spcPts val="0"/>
              </a:spcBef>
              <a:buNone/>
            </a:pPr>
            <a:r>
              <a:rPr lang="en-US" sz="1200" b="0" dirty="0" smtClean="0"/>
              <a:t>STOXX indices are licensed to more than 500 companies, which include the world’s largest financial products issuers, capital owners and asset managers. STOXX indices are used not only as underlyings for financial products, such as ETFs, futures and options and structured products but also for risk and performance measurement. In addition, STOXX Ltd. is the marketing agent for DAX</a:t>
            </a:r>
            <a:r>
              <a:rPr lang="en-US" sz="1200" b="0" baseline="30000" dirty="0" smtClean="0"/>
              <a:t>®</a:t>
            </a:r>
            <a:r>
              <a:rPr lang="en-US" sz="1200" b="0" dirty="0" smtClean="0"/>
              <a:t> and SMI</a:t>
            </a:r>
            <a:r>
              <a:rPr lang="en-US" sz="1200" b="0" baseline="30000" dirty="0" smtClean="0"/>
              <a:t>®</a:t>
            </a:r>
            <a:r>
              <a:rPr lang="en-US" sz="1200" b="0" dirty="0" smtClean="0"/>
              <a:t> indices.</a:t>
            </a:r>
          </a:p>
        </p:txBody>
      </p:sp>
    </p:spTree>
    <p:extLst>
      <p:ext uri="{BB962C8B-B14F-4D97-AF65-F5344CB8AC3E}">
        <p14:creationId xmlns:p14="http://schemas.microsoft.com/office/powerpoint/2010/main" val="38525919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9" name="Textplatzhalter 8"/>
          <p:cNvSpPr>
            <a:spLocks noGrp="1"/>
          </p:cNvSpPr>
          <p:nvPr>
            <p:ph type="body" sz="quarter" idx="10"/>
          </p:nvPr>
        </p:nvSpPr>
        <p:spPr/>
        <p:txBody>
          <a:bodyPr/>
          <a:lstStyle/>
          <a:p>
            <a:r>
              <a:rPr lang="en-US" dirty="0" smtClean="0"/>
              <a:t>Investment case	Page 3</a:t>
            </a:r>
          </a:p>
          <a:p>
            <a:r>
              <a:rPr lang="en-US" dirty="0" smtClean="0"/>
              <a:t>Methodology	Page </a:t>
            </a:r>
            <a:r>
              <a:rPr lang="en-US" dirty="0"/>
              <a:t>4</a:t>
            </a:r>
            <a:endParaRPr lang="en-US" dirty="0" smtClean="0"/>
          </a:p>
          <a:p>
            <a:r>
              <a:rPr lang="en-US" dirty="0" smtClean="0"/>
              <a:t>Risk and return overview	Page 5</a:t>
            </a:r>
            <a:endParaRPr lang="en-US" dirty="0"/>
          </a:p>
        </p:txBody>
      </p:sp>
    </p:spTree>
    <p:extLst>
      <p:ext uri="{BB962C8B-B14F-4D97-AF65-F5344CB8AC3E}">
        <p14:creationId xmlns:p14="http://schemas.microsoft.com/office/powerpoint/2010/main" val="13919250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r>
              <a:rPr lang="en-US" dirty="0" smtClean="0"/>
              <a:t>Investment case</a:t>
            </a:r>
          </a:p>
        </p:txBody>
      </p:sp>
      <p:sp>
        <p:nvSpPr>
          <p:cNvPr id="37891" name="Rectangle 3"/>
          <p:cNvSpPr>
            <a:spLocks noChangeArrowheads="1"/>
          </p:cNvSpPr>
          <p:nvPr/>
        </p:nvSpPr>
        <p:spPr bwMode="auto">
          <a:xfrm>
            <a:off x="368300" y="2217738"/>
            <a:ext cx="4357688" cy="70173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smtClean="0">
                <a:solidFill>
                  <a:prstClr val="black"/>
                </a:solidFill>
              </a:rPr>
              <a:t>In </a:t>
            </a:r>
            <a:r>
              <a:rPr lang="en-US" sz="1600" dirty="0">
                <a:solidFill>
                  <a:prstClr val="black"/>
                </a:solidFill>
              </a:rPr>
              <a:t>today’s </a:t>
            </a:r>
            <a:r>
              <a:rPr lang="en-US" sz="1600" b="1" dirty="0">
                <a:solidFill>
                  <a:prstClr val="black"/>
                </a:solidFill>
              </a:rPr>
              <a:t>low yield </a:t>
            </a:r>
            <a:r>
              <a:rPr lang="en-US" sz="1600" b="1" dirty="0" smtClean="0">
                <a:solidFill>
                  <a:prstClr val="black"/>
                </a:solidFill>
              </a:rPr>
              <a:t>environment </a:t>
            </a:r>
            <a:r>
              <a:rPr lang="en-US" sz="1600" dirty="0">
                <a:solidFill>
                  <a:prstClr val="black"/>
                </a:solidFill>
              </a:rPr>
              <a:t>investor preferences </a:t>
            </a:r>
            <a:r>
              <a:rPr lang="en-US" sz="1600" dirty="0" smtClean="0">
                <a:solidFill>
                  <a:prstClr val="black"/>
                </a:solidFill>
              </a:rPr>
              <a:t>are strongly </a:t>
            </a:r>
            <a:r>
              <a:rPr lang="en-US" sz="1600" dirty="0">
                <a:solidFill>
                  <a:prstClr val="black"/>
                </a:solidFill>
              </a:rPr>
              <a:t>tilt toward high dividend stocks which can boost </a:t>
            </a:r>
            <a:r>
              <a:rPr lang="en-US" sz="1600" dirty="0" smtClean="0">
                <a:solidFill>
                  <a:prstClr val="black"/>
                </a:solidFill>
              </a:rPr>
              <a:t>stock prices</a:t>
            </a:r>
            <a:endParaRPr lang="en-US" sz="1600" dirty="0" smtClean="0"/>
          </a:p>
        </p:txBody>
      </p:sp>
      <p:sp>
        <p:nvSpPr>
          <p:cNvPr id="37892" name="Rectangle 2"/>
          <p:cNvSpPr>
            <a:spLocks noChangeArrowheads="1"/>
          </p:cNvSpPr>
          <p:nvPr/>
        </p:nvSpPr>
        <p:spPr bwMode="auto">
          <a:xfrm>
            <a:off x="368300" y="1836738"/>
            <a:ext cx="4357688"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prstClr val="white"/>
                </a:solidFill>
              </a:rPr>
              <a:t>Considerations</a:t>
            </a:r>
            <a:endParaRPr lang="en-US" sz="1600" b="1" dirty="0">
              <a:solidFill>
                <a:prstClr val="white"/>
              </a:solidFill>
            </a:endParaRPr>
          </a:p>
        </p:txBody>
      </p:sp>
      <p:sp>
        <p:nvSpPr>
          <p:cNvPr id="37893" name="Rectangle 5"/>
          <p:cNvSpPr>
            <a:spLocks noChangeArrowheads="1"/>
          </p:cNvSpPr>
          <p:nvPr/>
        </p:nvSpPr>
        <p:spPr bwMode="auto">
          <a:xfrm>
            <a:off x="5167313" y="2217738"/>
            <a:ext cx="4359275" cy="93564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smtClean="0"/>
              <a:t>STOXX </a:t>
            </a:r>
            <a:r>
              <a:rPr lang="en-US" sz="1600" dirty="0"/>
              <a:t>ensures that component </a:t>
            </a:r>
            <a:r>
              <a:rPr lang="en-US" sz="1600" b="1" dirty="0"/>
              <a:t>selection and weighting </a:t>
            </a:r>
            <a:r>
              <a:rPr lang="en-US" sz="1600" dirty="0"/>
              <a:t>for Select Dividend Indices is </a:t>
            </a:r>
            <a:r>
              <a:rPr lang="en-US" sz="1600" dirty="0" smtClean="0"/>
              <a:t>based </a:t>
            </a:r>
            <a:r>
              <a:rPr lang="en-US" sz="1600" dirty="0"/>
              <a:t>on </a:t>
            </a:r>
            <a:r>
              <a:rPr lang="en-US" sz="1600" dirty="0" smtClean="0"/>
              <a:t>net </a:t>
            </a:r>
            <a:r>
              <a:rPr lang="en-US" sz="1600" dirty="0"/>
              <a:t>dividend </a:t>
            </a:r>
            <a:r>
              <a:rPr lang="en-US" sz="1600" dirty="0" smtClean="0"/>
              <a:t>yield relative to home market</a:t>
            </a:r>
            <a:endParaRPr lang="en-US" sz="1600" dirty="0" smtClean="0">
              <a:solidFill>
                <a:srgbClr val="000000"/>
              </a:solidFill>
            </a:endParaRPr>
          </a:p>
        </p:txBody>
      </p:sp>
      <p:sp>
        <p:nvSpPr>
          <p:cNvPr id="37894" name="Rectangle 2"/>
          <p:cNvSpPr>
            <a:spLocks noChangeArrowheads="1"/>
          </p:cNvSpPr>
          <p:nvPr/>
        </p:nvSpPr>
        <p:spPr bwMode="auto">
          <a:xfrm>
            <a:off x="5167313" y="1836738"/>
            <a:ext cx="4359275"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rgbClr val="FFFFFF"/>
                </a:solidFill>
              </a:rPr>
              <a:t>Approach</a:t>
            </a:r>
            <a:endParaRPr lang="en-US" sz="1600" b="1" dirty="0">
              <a:solidFill>
                <a:srgbClr val="FFFFFF"/>
              </a:solidFill>
            </a:endParaRPr>
          </a:p>
        </p:txBody>
      </p:sp>
      <p:grpSp>
        <p:nvGrpSpPr>
          <p:cNvPr id="6" name="Group 5"/>
          <p:cNvGrpSpPr/>
          <p:nvPr/>
        </p:nvGrpSpPr>
        <p:grpSpPr>
          <a:xfrm>
            <a:off x="4775200" y="1842229"/>
            <a:ext cx="341313" cy="3978276"/>
            <a:chOff x="4775200" y="1842229"/>
            <a:chExt cx="341313" cy="3978276"/>
          </a:xfrm>
        </p:grpSpPr>
        <p:cxnSp>
          <p:nvCxnSpPr>
            <p:cNvPr id="18" name="Straight Connector 17"/>
            <p:cNvCxnSpPr/>
            <p:nvPr/>
          </p:nvCxnSpPr>
          <p:spPr>
            <a:xfrm>
              <a:off x="4945856" y="1842229"/>
              <a:ext cx="0" cy="3978276"/>
            </a:xfrm>
            <a:prstGeom prst="line">
              <a:avLst/>
            </a:prstGeom>
            <a:ln w="19050">
              <a:solidFill>
                <a:srgbClr val="92B602"/>
              </a:solidFill>
            </a:ln>
          </p:spPr>
          <p:style>
            <a:lnRef idx="1">
              <a:schemeClr val="accent1"/>
            </a:lnRef>
            <a:fillRef idx="0">
              <a:schemeClr val="accent1"/>
            </a:fillRef>
            <a:effectRef idx="0">
              <a:schemeClr val="accent1"/>
            </a:effectRef>
            <a:fontRef idx="minor">
              <a:schemeClr val="tx1"/>
            </a:fontRef>
          </p:style>
        </p:cxnSp>
        <p:grpSp>
          <p:nvGrpSpPr>
            <p:cNvPr id="20" name="Group 10"/>
            <p:cNvGrpSpPr>
              <a:grpSpLocks/>
            </p:cNvGrpSpPr>
            <p:nvPr/>
          </p:nvGrpSpPr>
          <p:grpSpPr bwMode="auto">
            <a:xfrm>
              <a:off x="4775200" y="3634517"/>
              <a:ext cx="341313" cy="393700"/>
              <a:chOff x="3694" y="1437"/>
              <a:chExt cx="198" cy="248"/>
            </a:xfrm>
          </p:grpSpPr>
          <p:sp>
            <p:nvSpPr>
              <p:cNvPr id="21" name="Rectangle 11"/>
              <p:cNvSpPr>
                <a:spLocks noChangeArrowheads="1"/>
              </p:cNvSpPr>
              <p:nvPr/>
            </p:nvSpPr>
            <p:spPr bwMode="auto">
              <a:xfrm>
                <a:off x="3694" y="1437"/>
                <a:ext cx="198" cy="248"/>
              </a:xfrm>
              <a:prstGeom prst="rect">
                <a:avLst/>
              </a:prstGeom>
              <a:solidFill>
                <a:schemeClr val="bg1"/>
              </a:solidFill>
              <a:ln w="9525" algn="ctr">
                <a:solidFill>
                  <a:schemeClr val="bg1"/>
                </a:solidFill>
                <a:miter lim="800000"/>
                <a:headEnd/>
                <a:tailEnd/>
              </a:ln>
            </p:spPr>
            <p:txBody>
              <a:bodyPr lIns="0" tIns="0" rIns="0" bIns="0" anchor="ctr">
                <a:noAutofit/>
              </a:bodyPr>
              <a:lstStyle/>
              <a:p>
                <a:pPr>
                  <a:spcBef>
                    <a:spcPct val="0"/>
                  </a:spcBef>
                </a:pPr>
                <a:endParaRPr lang="en-US" dirty="0">
                  <a:solidFill>
                    <a:prstClr val="black"/>
                  </a:solidFill>
                </a:endParaRPr>
              </a:p>
            </p:txBody>
          </p:sp>
          <p:grpSp>
            <p:nvGrpSpPr>
              <p:cNvPr id="22" name="Group 12"/>
              <p:cNvGrpSpPr>
                <a:grpSpLocks/>
              </p:cNvGrpSpPr>
              <p:nvPr/>
            </p:nvGrpSpPr>
            <p:grpSpPr bwMode="auto">
              <a:xfrm>
                <a:off x="3694" y="1465"/>
                <a:ext cx="198" cy="194"/>
                <a:chOff x="1603" y="2418"/>
                <a:chExt cx="198" cy="194"/>
              </a:xfrm>
            </p:grpSpPr>
            <p:sp>
              <p:nvSpPr>
                <p:cNvPr id="23" name="Freeform 13"/>
                <p:cNvSpPr>
                  <a:spLocks/>
                </p:cNvSpPr>
                <p:nvPr/>
              </p:nvSpPr>
              <p:spPr bwMode="auto">
                <a:xfrm>
                  <a:off x="160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solidFill>
                      <a:prstClr val="black"/>
                    </a:solidFill>
                  </a:endParaRPr>
                </a:p>
              </p:txBody>
            </p:sp>
            <p:sp>
              <p:nvSpPr>
                <p:cNvPr id="24" name="Freeform 14"/>
                <p:cNvSpPr>
                  <a:spLocks/>
                </p:cNvSpPr>
                <p:nvPr/>
              </p:nvSpPr>
              <p:spPr bwMode="auto">
                <a:xfrm>
                  <a:off x="169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solidFill>
                      <a:prstClr val="black"/>
                    </a:solidFill>
                  </a:endParaRPr>
                </a:p>
              </p:txBody>
            </p:sp>
          </p:grpSp>
        </p:grpSp>
      </p:grpSp>
      <p:sp>
        <p:nvSpPr>
          <p:cNvPr id="2" name="Text Placeholder 1"/>
          <p:cNvSpPr>
            <a:spLocks noGrp="1"/>
          </p:cNvSpPr>
          <p:nvPr>
            <p:ph type="body" sz="quarter" idx="12"/>
          </p:nvPr>
        </p:nvSpPr>
        <p:spPr/>
        <p:txBody>
          <a:bodyPr/>
          <a:lstStyle/>
          <a:p>
            <a:r>
              <a:rPr lang="en-US" dirty="0" smtClean="0"/>
              <a:t>List of selected references are provided at the end of this presentation</a:t>
            </a:r>
            <a:endParaRPr lang="en-US" dirty="0"/>
          </a:p>
        </p:txBody>
      </p:sp>
      <p:sp>
        <p:nvSpPr>
          <p:cNvPr id="15" name="Rectangle 3"/>
          <p:cNvSpPr>
            <a:spLocks noChangeArrowheads="1"/>
          </p:cNvSpPr>
          <p:nvPr/>
        </p:nvSpPr>
        <p:spPr bwMode="auto">
          <a:xfrm>
            <a:off x="368300" y="3236317"/>
            <a:ext cx="4357688" cy="116955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smtClean="0"/>
              <a:t>Extensive research supports that </a:t>
            </a:r>
            <a:r>
              <a:rPr lang="en-US" sz="1600" dirty="0"/>
              <a:t>companies that </a:t>
            </a:r>
            <a:r>
              <a:rPr lang="en-US" sz="1600" b="1" dirty="0"/>
              <a:t>continuously pay dividends</a:t>
            </a:r>
            <a:r>
              <a:rPr lang="en-US" sz="1600" dirty="0"/>
              <a:t> during good times also do so during bear </a:t>
            </a:r>
            <a:r>
              <a:rPr lang="en-US" sz="1600" dirty="0" smtClean="0"/>
              <a:t>markets and tend to generate above market </a:t>
            </a:r>
            <a:r>
              <a:rPr lang="en-US" sz="1600" dirty="0">
                <a:solidFill>
                  <a:prstClr val="black"/>
                </a:solidFill>
              </a:rPr>
              <a:t>risk-adjusted </a:t>
            </a:r>
            <a:r>
              <a:rPr lang="en-US" sz="1600" dirty="0" smtClean="0">
                <a:solidFill>
                  <a:prstClr val="black"/>
                </a:solidFill>
              </a:rPr>
              <a:t>returns</a:t>
            </a:r>
            <a:r>
              <a:rPr lang="en-US" sz="1600" baseline="30000" dirty="0" smtClean="0">
                <a:solidFill>
                  <a:prstClr val="black"/>
                </a:solidFill>
              </a:rPr>
              <a:t>1</a:t>
            </a:r>
            <a:endParaRPr lang="en-US" sz="1600" dirty="0"/>
          </a:p>
        </p:txBody>
      </p:sp>
      <p:sp>
        <p:nvSpPr>
          <p:cNvPr id="17" name="Rectangle 5"/>
          <p:cNvSpPr>
            <a:spLocks noChangeArrowheads="1"/>
          </p:cNvSpPr>
          <p:nvPr/>
        </p:nvSpPr>
        <p:spPr bwMode="auto">
          <a:xfrm>
            <a:off x="5167313" y="3419017"/>
            <a:ext cx="4359275" cy="467820"/>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a:solidFill>
                  <a:srgbClr val="000000"/>
                </a:solidFill>
              </a:rPr>
              <a:t>Focus on </a:t>
            </a:r>
            <a:r>
              <a:rPr lang="en-US" sz="1600" b="1" dirty="0">
                <a:solidFill>
                  <a:srgbClr val="000000"/>
                </a:solidFill>
              </a:rPr>
              <a:t>consistent</a:t>
            </a:r>
            <a:r>
              <a:rPr lang="en-US" sz="1600" dirty="0">
                <a:solidFill>
                  <a:srgbClr val="000000"/>
                </a:solidFill>
              </a:rPr>
              <a:t> and long track record of dividend </a:t>
            </a:r>
            <a:r>
              <a:rPr lang="en-US" sz="1600" dirty="0" smtClean="0">
                <a:solidFill>
                  <a:srgbClr val="000000"/>
                </a:solidFill>
              </a:rPr>
              <a:t>payments</a:t>
            </a:r>
            <a:endParaRPr lang="en-US" sz="1600" dirty="0">
              <a:solidFill>
                <a:srgbClr val="000000"/>
              </a:solidFill>
            </a:endParaRPr>
          </a:p>
        </p:txBody>
      </p:sp>
      <p:sp>
        <p:nvSpPr>
          <p:cNvPr id="19" name="Rectangle 5"/>
          <p:cNvSpPr>
            <a:spLocks noChangeArrowheads="1"/>
          </p:cNvSpPr>
          <p:nvPr/>
        </p:nvSpPr>
        <p:spPr bwMode="auto">
          <a:xfrm>
            <a:off x="5167313" y="4206880"/>
            <a:ext cx="4359275" cy="70173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b="1" dirty="0">
                <a:solidFill>
                  <a:srgbClr val="000000"/>
                </a:solidFill>
              </a:rPr>
              <a:t>Tradability and diversification </a:t>
            </a:r>
            <a:r>
              <a:rPr lang="en-US" sz="1600" dirty="0">
                <a:solidFill>
                  <a:srgbClr val="000000"/>
                </a:solidFill>
              </a:rPr>
              <a:t>achieved through liquidity filters and maximum weight capping</a:t>
            </a:r>
          </a:p>
        </p:txBody>
      </p:sp>
      <p:sp>
        <p:nvSpPr>
          <p:cNvPr id="25" name="Rectangle 3"/>
          <p:cNvSpPr>
            <a:spLocks noChangeArrowheads="1"/>
          </p:cNvSpPr>
          <p:nvPr/>
        </p:nvSpPr>
        <p:spPr bwMode="auto">
          <a:xfrm>
            <a:off x="368300" y="4695071"/>
            <a:ext cx="4357688" cy="70173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a:solidFill>
                  <a:prstClr val="black"/>
                </a:solidFill>
              </a:rPr>
              <a:t>Very high dividends can indicate that companies lack profitable reinvestment ideas/opportunities</a:t>
            </a:r>
            <a:endParaRPr lang="en-US" sz="1600" dirty="0"/>
          </a:p>
        </p:txBody>
      </p:sp>
      <p:sp>
        <p:nvSpPr>
          <p:cNvPr id="26" name="Rectangle 5"/>
          <p:cNvSpPr>
            <a:spLocks noChangeArrowheads="1"/>
          </p:cNvSpPr>
          <p:nvPr/>
        </p:nvSpPr>
        <p:spPr bwMode="auto">
          <a:xfrm>
            <a:off x="5167312" y="5162892"/>
            <a:ext cx="4359275" cy="233910"/>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a:solidFill>
                  <a:srgbClr val="000000"/>
                </a:solidFill>
              </a:rPr>
              <a:t>Avoid companies with excessive payout ratios </a:t>
            </a:r>
          </a:p>
        </p:txBody>
      </p:sp>
    </p:spTree>
    <p:extLst>
      <p:ext uri="{BB962C8B-B14F-4D97-AF65-F5344CB8AC3E}">
        <p14:creationId xmlns:p14="http://schemas.microsoft.com/office/powerpoint/2010/main" val="311237894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17"/>
          <p:cNvSpPr>
            <a:spLocks noChangeArrowheads="1"/>
          </p:cNvSpPr>
          <p:nvPr/>
        </p:nvSpPr>
        <p:spPr bwMode="auto">
          <a:xfrm>
            <a:off x="6967062" y="2008233"/>
            <a:ext cx="2662713" cy="3663950"/>
          </a:xfrm>
          <a:prstGeom prst="rect">
            <a:avLst/>
          </a:prstGeom>
          <a:solidFill>
            <a:srgbClr val="D9D9D9"/>
          </a:solidFill>
          <a:ln w="9525" algn="ctr">
            <a:solidFill>
              <a:srgbClr val="D9D9D9"/>
            </a:solidFill>
            <a:round/>
            <a:headEnd/>
            <a:tailEnd/>
          </a:ln>
        </p:spPr>
        <p:txBody>
          <a:bodyPr wrap="none" lIns="72000" tIns="72000" rIns="72000" bIns="72000" anchor="t" anchorCtr="0"/>
          <a:lstStyle/>
          <a:p>
            <a:pPr>
              <a:lnSpc>
                <a:spcPct val="95000"/>
              </a:lnSpc>
              <a:spcBef>
                <a:spcPct val="0"/>
              </a:spcBef>
            </a:pPr>
            <a:r>
              <a:rPr lang="en-US" sz="1600" b="1" dirty="0"/>
              <a:t>Additional features</a:t>
            </a:r>
          </a:p>
          <a:p>
            <a:pPr>
              <a:lnSpc>
                <a:spcPct val="95000"/>
              </a:lnSpc>
              <a:spcBef>
                <a:spcPct val="0"/>
              </a:spcBef>
            </a:pPr>
            <a:endParaRPr lang="en-US" sz="1600" b="1" dirty="0"/>
          </a:p>
          <a:p>
            <a:pPr marL="190500" lvl="1" indent="-188913">
              <a:lnSpc>
                <a:spcPct val="95000"/>
              </a:lnSpc>
              <a:spcBef>
                <a:spcPct val="0"/>
              </a:spcBef>
              <a:buFont typeface="Arial" charset="0"/>
              <a:buChar char="»"/>
            </a:pPr>
            <a:r>
              <a:rPr lang="en-US" sz="1600" dirty="0"/>
              <a:t>Weighting</a:t>
            </a:r>
            <a:r>
              <a:rPr lang="en-US" sz="1600" dirty="0" smtClean="0"/>
              <a:t>: based on </a:t>
            </a:r>
          </a:p>
          <a:p>
            <a:pPr marL="1587" lvl="1">
              <a:lnSpc>
                <a:spcPct val="95000"/>
              </a:lnSpc>
              <a:spcBef>
                <a:spcPct val="0"/>
              </a:spcBef>
            </a:pPr>
            <a:r>
              <a:rPr lang="en-US" sz="1600" dirty="0" smtClean="0"/>
              <a:t>Annual net dividend yield.</a:t>
            </a:r>
          </a:p>
          <a:p>
            <a:pPr marL="1587" lvl="1">
              <a:lnSpc>
                <a:spcPct val="95000"/>
              </a:lnSpc>
              <a:spcBef>
                <a:spcPct val="0"/>
              </a:spcBef>
            </a:pPr>
            <a:r>
              <a:rPr lang="en-US" sz="1600" dirty="0" smtClean="0"/>
              <a:t>Capping at 10% applied </a:t>
            </a:r>
          </a:p>
          <a:p>
            <a:pPr marL="1587" lvl="1">
              <a:lnSpc>
                <a:spcPct val="95000"/>
              </a:lnSpc>
              <a:spcBef>
                <a:spcPct val="0"/>
              </a:spcBef>
            </a:pPr>
            <a:r>
              <a:rPr lang="en-US" sz="1600" dirty="0" smtClean="0"/>
              <a:t>quarterly</a:t>
            </a:r>
          </a:p>
          <a:p>
            <a:pPr marL="1587" lvl="1">
              <a:lnSpc>
                <a:spcPct val="95000"/>
              </a:lnSpc>
              <a:spcBef>
                <a:spcPct val="0"/>
              </a:spcBef>
            </a:pPr>
            <a:endParaRPr lang="en-US" sz="1600" dirty="0"/>
          </a:p>
          <a:p>
            <a:pPr marL="190500" lvl="1" indent="-188913">
              <a:lnSpc>
                <a:spcPct val="95000"/>
              </a:lnSpc>
              <a:spcBef>
                <a:spcPct val="0"/>
              </a:spcBef>
              <a:buFont typeface="Arial" charset="0"/>
              <a:buChar char="»"/>
            </a:pPr>
            <a:r>
              <a:rPr lang="en-US" sz="1600" dirty="0"/>
              <a:t>Review</a:t>
            </a:r>
            <a:r>
              <a:rPr lang="en-US" sz="1600" dirty="0" smtClean="0"/>
              <a:t>: annually in </a:t>
            </a:r>
          </a:p>
          <a:p>
            <a:pPr marL="1587" lvl="1">
              <a:lnSpc>
                <a:spcPct val="95000"/>
              </a:lnSpc>
              <a:spcBef>
                <a:spcPct val="0"/>
              </a:spcBef>
            </a:pPr>
            <a:r>
              <a:rPr lang="en-US" sz="1600" dirty="0" smtClean="0"/>
              <a:t>March.</a:t>
            </a:r>
          </a:p>
          <a:p>
            <a:pPr marL="1587" lvl="1">
              <a:lnSpc>
                <a:spcPct val="95000"/>
              </a:lnSpc>
              <a:spcBef>
                <a:spcPct val="0"/>
              </a:spcBef>
            </a:pPr>
            <a:endParaRPr lang="en-US" sz="1600" dirty="0" smtClean="0"/>
          </a:p>
          <a:p>
            <a:pPr marL="190500" lvl="1" indent="-188913">
              <a:lnSpc>
                <a:spcPct val="95000"/>
              </a:lnSpc>
              <a:spcBef>
                <a:spcPct val="0"/>
              </a:spcBef>
              <a:buFont typeface="Arial" charset="0"/>
              <a:buChar char="»"/>
            </a:pPr>
            <a:r>
              <a:rPr lang="en-US" sz="1600" dirty="0" smtClean="0"/>
              <a:t>Only the higher dividend</a:t>
            </a:r>
          </a:p>
          <a:p>
            <a:pPr marL="1587" lvl="1">
              <a:lnSpc>
                <a:spcPct val="95000"/>
              </a:lnSpc>
              <a:spcBef>
                <a:spcPct val="0"/>
              </a:spcBef>
            </a:pPr>
            <a:r>
              <a:rPr lang="en-US" sz="1600" dirty="0"/>
              <a:t>y</a:t>
            </a:r>
            <a:r>
              <a:rPr lang="en-US" sz="1600" dirty="0" smtClean="0"/>
              <a:t>ielding share line is chosen</a:t>
            </a:r>
            <a:endParaRPr lang="en-US" sz="1600" dirty="0"/>
          </a:p>
          <a:p>
            <a:pPr marL="1587" lvl="1">
              <a:lnSpc>
                <a:spcPct val="95000"/>
              </a:lnSpc>
              <a:spcBef>
                <a:spcPct val="0"/>
              </a:spcBef>
            </a:pPr>
            <a:r>
              <a:rPr lang="en-US" sz="1600" dirty="0"/>
              <a:t>f</a:t>
            </a:r>
            <a:r>
              <a:rPr lang="en-US" sz="1600" dirty="0" smtClean="0"/>
              <a:t>or a company</a:t>
            </a:r>
            <a:endParaRPr lang="en-US" sz="1600" dirty="0"/>
          </a:p>
          <a:p>
            <a:pPr marL="1587" lvl="1">
              <a:lnSpc>
                <a:spcPct val="95000"/>
              </a:lnSpc>
              <a:spcBef>
                <a:spcPct val="0"/>
              </a:spcBef>
            </a:pPr>
            <a:endParaRPr lang="en-US" sz="1600" dirty="0" smtClean="0"/>
          </a:p>
        </p:txBody>
      </p:sp>
      <p:sp>
        <p:nvSpPr>
          <p:cNvPr id="82946" name="Rectangle 2"/>
          <p:cNvSpPr>
            <a:spLocks noGrp="1" noChangeArrowheads="1"/>
          </p:cNvSpPr>
          <p:nvPr>
            <p:ph type="title"/>
          </p:nvPr>
        </p:nvSpPr>
        <p:spPr/>
        <p:txBody>
          <a:bodyPr/>
          <a:lstStyle/>
          <a:p>
            <a:r>
              <a:rPr lang="de-CH" dirty="0" err="1" smtClean="0"/>
              <a:t>Methodology</a:t>
            </a:r>
            <a:r>
              <a:rPr lang="de-CH" dirty="0" smtClean="0"/>
              <a:t>: STOXX Global Select Dividend Index </a:t>
            </a:r>
            <a:r>
              <a:rPr lang="de-CH" dirty="0" err="1" smtClean="0"/>
              <a:t>combines</a:t>
            </a:r>
            <a:r>
              <a:rPr lang="de-CH" dirty="0" smtClean="0"/>
              <a:t> </a:t>
            </a:r>
            <a:r>
              <a:rPr lang="de-CH" dirty="0" err="1" smtClean="0"/>
              <a:t>the</a:t>
            </a:r>
            <a:r>
              <a:rPr lang="de-CH" dirty="0" smtClean="0"/>
              <a:t> </a:t>
            </a:r>
            <a:r>
              <a:rPr lang="de-CH" dirty="0" err="1" smtClean="0"/>
              <a:t>three</a:t>
            </a:r>
            <a:r>
              <a:rPr lang="de-CH" dirty="0" smtClean="0"/>
              <a:t> regional STOXX Select Dividend </a:t>
            </a:r>
            <a:r>
              <a:rPr lang="de-CH" dirty="0" err="1" smtClean="0"/>
              <a:t>indices</a:t>
            </a:r>
            <a:r>
              <a:rPr lang="de-CH" dirty="0" smtClean="0"/>
              <a:t> </a:t>
            </a:r>
            <a:r>
              <a:rPr lang="de-CH" dirty="0" err="1" smtClean="0"/>
              <a:t>for</a:t>
            </a:r>
            <a:r>
              <a:rPr lang="de-CH" dirty="0" smtClean="0"/>
              <a:t> </a:t>
            </a:r>
            <a:r>
              <a:rPr lang="de-CH" dirty="0" err="1" smtClean="0"/>
              <a:t>the</a:t>
            </a:r>
            <a:r>
              <a:rPr lang="de-CH" dirty="0" smtClean="0"/>
              <a:t> </a:t>
            </a:r>
            <a:r>
              <a:rPr lang="de-CH" dirty="0" err="1" smtClean="0"/>
              <a:t>regions</a:t>
            </a:r>
            <a:r>
              <a:rPr lang="de-CH" dirty="0" smtClean="0"/>
              <a:t> North </a:t>
            </a:r>
            <a:r>
              <a:rPr lang="de-CH" dirty="0" err="1" smtClean="0"/>
              <a:t>America</a:t>
            </a:r>
            <a:r>
              <a:rPr lang="de-CH" dirty="0" smtClean="0"/>
              <a:t>, Europe and </a:t>
            </a:r>
            <a:r>
              <a:rPr lang="de-CH" dirty="0" err="1" smtClean="0"/>
              <a:t>Asia</a:t>
            </a:r>
            <a:r>
              <a:rPr lang="de-CH" dirty="0" smtClean="0"/>
              <a:t>/Pacific</a:t>
            </a:r>
            <a:endParaRPr lang="en-US" dirty="0" smtClean="0"/>
          </a:p>
        </p:txBody>
      </p:sp>
      <p:sp>
        <p:nvSpPr>
          <p:cNvPr id="21" name="Rectangle 10"/>
          <p:cNvSpPr>
            <a:spLocks noChangeArrowheads="1"/>
          </p:cNvSpPr>
          <p:nvPr/>
        </p:nvSpPr>
        <p:spPr bwMode="auto">
          <a:xfrm>
            <a:off x="1897070" y="5209380"/>
            <a:ext cx="574526" cy="204671"/>
          </a:xfrm>
          <a:prstGeom prst="rect">
            <a:avLst/>
          </a:prstGeom>
          <a:noFill/>
          <a:ln w="9525" algn="ctr">
            <a:noFill/>
            <a:miter lim="800000"/>
            <a:headEnd/>
            <a:tailEnd/>
          </a:ln>
        </p:spPr>
        <p:txBody>
          <a:bodyPr wrap="square"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2" name="Rectangle 11"/>
          <p:cNvSpPr>
            <a:spLocks noChangeArrowheads="1"/>
          </p:cNvSpPr>
          <p:nvPr/>
        </p:nvSpPr>
        <p:spPr bwMode="auto">
          <a:xfrm>
            <a:off x="1799364" y="4492591"/>
            <a:ext cx="771525"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3" name="Rectangle 12"/>
          <p:cNvSpPr>
            <a:spLocks noChangeArrowheads="1"/>
          </p:cNvSpPr>
          <p:nvPr/>
        </p:nvSpPr>
        <p:spPr bwMode="auto">
          <a:xfrm>
            <a:off x="899252" y="2333355"/>
            <a:ext cx="2570162"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5" name="Rectangle 18"/>
          <p:cNvSpPr>
            <a:spLocks noChangeArrowheads="1"/>
          </p:cNvSpPr>
          <p:nvPr/>
        </p:nvSpPr>
        <p:spPr bwMode="auto">
          <a:xfrm>
            <a:off x="1492977" y="3775801"/>
            <a:ext cx="1384300"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31" name="Rectangle 6"/>
          <p:cNvSpPr>
            <a:spLocks noChangeArrowheads="1"/>
          </p:cNvSpPr>
          <p:nvPr/>
        </p:nvSpPr>
        <p:spPr bwMode="auto">
          <a:xfrm>
            <a:off x="3111515" y="2538026"/>
            <a:ext cx="3756009" cy="2105192"/>
          </a:xfrm>
          <a:prstGeom prst="rect">
            <a:avLst/>
          </a:prstGeom>
          <a:noFill/>
          <a:ln w="9525" algn="ctr">
            <a:noFill/>
            <a:miter lim="800000"/>
            <a:headEnd/>
            <a:tailEnd/>
          </a:ln>
        </p:spPr>
        <p:txBody>
          <a:bodyPr wrap="square" lIns="0" tIns="0" rIns="0" bIns="0" anchor="ctr">
            <a:spAutoFit/>
          </a:bodyPr>
          <a:lstStyle/>
          <a:p>
            <a:pPr marL="196850" lvl="1" indent="-195263" defTabSz="736600">
              <a:lnSpc>
                <a:spcPct val="95000"/>
              </a:lnSpc>
              <a:spcBef>
                <a:spcPct val="0"/>
              </a:spcBef>
              <a:buFont typeface="Arial" charset="0"/>
              <a:buChar char="»"/>
            </a:pPr>
            <a:r>
              <a:rPr lang="en-US" sz="1600" dirty="0" smtClean="0"/>
              <a:t>Companies that announced dividends payments</a:t>
            </a:r>
          </a:p>
          <a:p>
            <a:pPr marL="196850" lvl="1" indent="-195263" defTabSz="736600">
              <a:lnSpc>
                <a:spcPct val="95000"/>
              </a:lnSpc>
              <a:spcBef>
                <a:spcPct val="0"/>
              </a:spcBef>
              <a:buFont typeface="Arial" charset="0"/>
              <a:buChar char="»"/>
            </a:pPr>
            <a:r>
              <a:rPr lang="en-US" sz="1600" dirty="0" smtClean="0"/>
              <a:t>Have a non-negative dividend growth rate over the past 5 years</a:t>
            </a:r>
          </a:p>
          <a:p>
            <a:pPr marL="196850" lvl="1" indent="-195263" defTabSz="736600">
              <a:lnSpc>
                <a:spcPct val="95000"/>
              </a:lnSpc>
              <a:spcBef>
                <a:spcPct val="0"/>
              </a:spcBef>
              <a:buFont typeface="Arial" charset="0"/>
              <a:buChar char="»"/>
            </a:pPr>
            <a:r>
              <a:rPr lang="en-US" sz="1600" dirty="0" smtClean="0"/>
              <a:t>Dividend payment in 4 out of last 5 calendar years</a:t>
            </a:r>
          </a:p>
          <a:p>
            <a:pPr marL="196850" lvl="1" indent="-195263" defTabSz="736600">
              <a:lnSpc>
                <a:spcPct val="95000"/>
              </a:lnSpc>
              <a:spcBef>
                <a:spcPct val="0"/>
              </a:spcBef>
              <a:buFont typeface="Arial" charset="0"/>
              <a:buChar char="»"/>
            </a:pPr>
            <a:r>
              <a:rPr lang="en-US" sz="1600" dirty="0" smtClean="0"/>
              <a:t>Non-negative payout </a:t>
            </a:r>
            <a:r>
              <a:rPr lang="en-US" sz="1600" dirty="0"/>
              <a:t>ratio </a:t>
            </a:r>
            <a:r>
              <a:rPr lang="en-US" sz="1600" dirty="0" smtClean="0"/>
              <a:t>maximum threshold</a:t>
            </a:r>
            <a:r>
              <a:rPr lang="en-US" sz="1600" baseline="30000" dirty="0">
                <a:solidFill>
                  <a:prstClr val="black"/>
                </a:solidFill>
              </a:rPr>
              <a:t>1</a:t>
            </a:r>
            <a:r>
              <a:rPr lang="en-US" sz="1600" dirty="0" smtClean="0"/>
              <a:t> applies</a:t>
            </a:r>
          </a:p>
          <a:p>
            <a:pPr marL="196850" lvl="1" indent="-195263" defTabSz="736600">
              <a:lnSpc>
                <a:spcPct val="95000"/>
              </a:lnSpc>
              <a:spcBef>
                <a:spcPct val="0"/>
              </a:spcBef>
              <a:buFont typeface="Arial" charset="0"/>
              <a:buChar char="»"/>
            </a:pPr>
            <a:r>
              <a:rPr lang="en-US" sz="1600" dirty="0" smtClean="0"/>
              <a:t>Minimum liquidity level</a:t>
            </a:r>
          </a:p>
        </p:txBody>
      </p:sp>
      <p:sp>
        <p:nvSpPr>
          <p:cNvPr id="32" name="Rectangle 6"/>
          <p:cNvSpPr>
            <a:spLocks noChangeArrowheads="1"/>
          </p:cNvSpPr>
          <p:nvPr/>
        </p:nvSpPr>
        <p:spPr bwMode="auto">
          <a:xfrm>
            <a:off x="3111516" y="1975414"/>
            <a:ext cx="3657600" cy="46782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smtClean="0"/>
              <a:t>Regional benchmark index + secondary lines</a:t>
            </a:r>
            <a:endParaRPr lang="en-US" sz="1600" b="0" dirty="0"/>
          </a:p>
        </p:txBody>
      </p:sp>
      <p:sp>
        <p:nvSpPr>
          <p:cNvPr id="19" name="Flowchart: Merge 18"/>
          <p:cNvSpPr/>
          <p:nvPr/>
        </p:nvSpPr>
        <p:spPr bwMode="auto">
          <a:xfrm>
            <a:off x="295275" y="2008233"/>
            <a:ext cx="2816241" cy="3663950"/>
          </a:xfrm>
          <a:prstGeom prst="flowChartMerge">
            <a:avLst/>
          </a:prstGeom>
          <a:gradFill flip="none" rotWithShape="1">
            <a:gsLst>
              <a:gs pos="43000">
                <a:schemeClr val="accent3"/>
              </a:gs>
              <a:gs pos="84000">
                <a:schemeClr val="accent4"/>
              </a:gs>
              <a:gs pos="63000">
                <a:schemeClr val="accent4"/>
              </a:gs>
              <a:gs pos="22000">
                <a:schemeClr val="accent2"/>
              </a:gs>
            </a:gsLst>
            <a:lin ang="5400000" scaled="1"/>
            <a:tileRect/>
          </a:gradFill>
          <a:ln w="6350" algn="ctr">
            <a:noFill/>
            <a:miter lim="800000"/>
            <a:headEnd/>
            <a:tailEnd/>
          </a:ln>
        </p:spPr>
        <p:txBody>
          <a:bodyPr wrap="none" anchor="t"/>
          <a:lstStyle/>
          <a:p>
            <a:pPr>
              <a:spcBef>
                <a:spcPts val="0"/>
              </a:spcBef>
              <a:spcAft>
                <a:spcPts val="600"/>
              </a:spcAft>
            </a:pPr>
            <a:endParaRPr lang="en-US" sz="800" dirty="0" smtClean="0">
              <a:solidFill>
                <a:prstClr val="white"/>
              </a:solidFill>
            </a:endParaRPr>
          </a:p>
          <a:p>
            <a:pPr>
              <a:spcBef>
                <a:spcPts val="0"/>
              </a:spcBef>
              <a:spcAft>
                <a:spcPts val="0"/>
              </a:spcAft>
            </a:pPr>
            <a:endParaRPr lang="en-US" sz="1400" dirty="0">
              <a:solidFill>
                <a:prstClr val="white"/>
              </a:solidFill>
            </a:endParaRPr>
          </a:p>
        </p:txBody>
      </p:sp>
      <p:sp>
        <p:nvSpPr>
          <p:cNvPr id="20" name="TextBox 19"/>
          <p:cNvSpPr txBox="1"/>
          <p:nvPr/>
        </p:nvSpPr>
        <p:spPr>
          <a:xfrm>
            <a:off x="975762" y="2092369"/>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Universe</a:t>
            </a:r>
          </a:p>
        </p:txBody>
      </p:sp>
      <p:sp>
        <p:nvSpPr>
          <p:cNvPr id="24" name="TextBox 23"/>
          <p:cNvSpPr txBox="1"/>
          <p:nvPr/>
        </p:nvSpPr>
        <p:spPr>
          <a:xfrm>
            <a:off x="967671" y="3370675"/>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Filter</a:t>
            </a:r>
          </a:p>
        </p:txBody>
      </p:sp>
      <p:sp>
        <p:nvSpPr>
          <p:cNvPr id="26" name="TextBox 25"/>
          <p:cNvSpPr txBox="1"/>
          <p:nvPr/>
        </p:nvSpPr>
        <p:spPr>
          <a:xfrm>
            <a:off x="951343" y="4746719"/>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Select</a:t>
            </a:r>
          </a:p>
        </p:txBody>
      </p:sp>
      <p:sp>
        <p:nvSpPr>
          <p:cNvPr id="16" name="Rectangle 6"/>
          <p:cNvSpPr>
            <a:spLocks noChangeArrowheads="1"/>
          </p:cNvSpPr>
          <p:nvPr/>
        </p:nvSpPr>
        <p:spPr bwMode="auto">
          <a:xfrm>
            <a:off x="3065417" y="4746719"/>
            <a:ext cx="3657600" cy="935641"/>
          </a:xfrm>
          <a:prstGeom prst="rect">
            <a:avLst/>
          </a:prstGeom>
          <a:noFill/>
          <a:ln w="9525" algn="ctr">
            <a:noFill/>
            <a:miter lim="800000"/>
            <a:headEnd/>
            <a:tailEnd/>
          </a:ln>
        </p:spPr>
        <p:txBody>
          <a:bodyPr wrap="square" lIns="0" tIns="0" rIns="0" bIns="0" anchor="ctr">
            <a:spAutoFit/>
          </a:bodyPr>
          <a:lstStyle/>
          <a:p>
            <a:pPr marL="196850" lvl="1" indent="-195263" defTabSz="736600">
              <a:lnSpc>
                <a:spcPct val="95000"/>
              </a:lnSpc>
              <a:spcBef>
                <a:spcPct val="0"/>
              </a:spcBef>
              <a:buFont typeface="Arial" charset="0"/>
              <a:buChar char="»"/>
            </a:pPr>
            <a:r>
              <a:rPr lang="en-US" sz="1600" dirty="0" smtClean="0"/>
              <a:t>Highest-yielding</a:t>
            </a:r>
            <a:r>
              <a:rPr lang="en-US" sz="1600" baseline="30000" dirty="0" smtClean="0">
                <a:solidFill>
                  <a:prstClr val="black"/>
                </a:solidFill>
              </a:rPr>
              <a:t>2</a:t>
            </a:r>
            <a:r>
              <a:rPr lang="en-US" sz="1600" dirty="0" smtClean="0"/>
              <a:t> </a:t>
            </a:r>
            <a:r>
              <a:rPr lang="en-US" sz="1600" dirty="0"/>
              <a:t>companies relative to their home market. Current components </a:t>
            </a:r>
            <a:r>
              <a:rPr lang="en-US" sz="1600" dirty="0" smtClean="0"/>
              <a:t>ranked from </a:t>
            </a:r>
            <a:r>
              <a:rPr lang="en-US" sz="1600" dirty="0"/>
              <a:t>1 to 60 </a:t>
            </a:r>
            <a:r>
              <a:rPr lang="en-US" sz="1600" dirty="0" smtClean="0"/>
              <a:t>remain in </a:t>
            </a:r>
            <a:r>
              <a:rPr lang="en-US" sz="1600" dirty="0"/>
              <a:t>the index</a:t>
            </a:r>
            <a:endParaRPr lang="en-US" sz="1600" b="0" dirty="0"/>
          </a:p>
        </p:txBody>
      </p:sp>
      <p:sp>
        <p:nvSpPr>
          <p:cNvPr id="17" name="Text Placeholder 1"/>
          <p:cNvSpPr>
            <a:spLocks noGrp="1"/>
          </p:cNvSpPr>
          <p:nvPr>
            <p:ph type="body" sz="quarter" idx="12"/>
          </p:nvPr>
        </p:nvSpPr>
        <p:spPr>
          <a:xfrm>
            <a:off x="1704043" y="6444503"/>
            <a:ext cx="7410620" cy="339756"/>
          </a:xfrm>
        </p:spPr>
        <p:txBody>
          <a:bodyPr/>
          <a:lstStyle/>
          <a:p>
            <a:r>
              <a:rPr lang="en-US" dirty="0" smtClean="0"/>
              <a:t>60% for Europe index; 80</a:t>
            </a:r>
            <a:r>
              <a:rPr lang="en-US" dirty="0"/>
              <a:t>% for </a:t>
            </a:r>
            <a:r>
              <a:rPr lang="en-US" dirty="0" smtClean="0"/>
              <a:t>Asia/Pacific and North America indices</a:t>
            </a:r>
          </a:p>
          <a:p>
            <a:r>
              <a:rPr lang="en-US" dirty="0"/>
              <a:t>30 stocks selected for the Asia/Pacific and Europe indices; 40 stock selected for the North America index</a:t>
            </a:r>
          </a:p>
          <a:p>
            <a:endParaRPr lang="en-US" dirty="0"/>
          </a:p>
        </p:txBody>
      </p:sp>
    </p:spTree>
    <p:extLst>
      <p:ext uri="{BB962C8B-B14F-4D97-AF65-F5344CB8AC3E}">
        <p14:creationId xmlns:p14="http://schemas.microsoft.com/office/powerpoint/2010/main" val="8348368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9"/>
          <p:cNvGraphicFramePr>
            <a:graphicFrameLocks/>
          </p:cNvGraphicFramePr>
          <p:nvPr>
            <p:extLst>
              <p:ext uri="{D42A27DB-BD31-4B8C-83A1-F6EECF244321}">
                <p14:modId xmlns:p14="http://schemas.microsoft.com/office/powerpoint/2010/main" val="2304749061"/>
              </p:ext>
            </p:extLst>
          </p:nvPr>
        </p:nvGraphicFramePr>
        <p:xfrm>
          <a:off x="364300" y="2225820"/>
          <a:ext cx="4361688" cy="3200400"/>
        </p:xfrm>
        <a:graphic>
          <a:graphicData uri="http://schemas.openxmlformats.org/drawingml/2006/chart">
            <c:chart xmlns:c="http://schemas.openxmlformats.org/drawingml/2006/chart" xmlns:r="http://schemas.openxmlformats.org/officeDocument/2006/relationships" r:id="rId3"/>
          </a:graphicData>
        </a:graphic>
      </p:graphicFrame>
      <p:sp>
        <p:nvSpPr>
          <p:cNvPr id="17411" name="Rectangle 2"/>
          <p:cNvSpPr>
            <a:spLocks noGrp="1" noChangeArrowheads="1"/>
          </p:cNvSpPr>
          <p:nvPr>
            <p:ph type="title"/>
          </p:nvPr>
        </p:nvSpPr>
        <p:spPr/>
        <p:txBody>
          <a:bodyPr>
            <a:normAutofit/>
          </a:bodyPr>
          <a:lstStyle/>
          <a:p>
            <a:r>
              <a:rPr lang="en-US" dirty="0" smtClean="0">
                <a:solidFill>
                  <a:schemeClr val="tx1"/>
                </a:solidFill>
              </a:rPr>
              <a:t>Risk and return overview</a:t>
            </a:r>
          </a:p>
        </p:txBody>
      </p:sp>
      <p:graphicFrame>
        <p:nvGraphicFramePr>
          <p:cNvPr id="23" name="Group 62"/>
          <p:cNvGraphicFramePr>
            <a:graphicFrameLocks noGrp="1"/>
          </p:cNvGraphicFramePr>
          <p:nvPr>
            <p:custDataLst>
              <p:tags r:id="rId1"/>
            </p:custDataLst>
            <p:extLst>
              <p:ext uri="{D42A27DB-BD31-4B8C-83A1-F6EECF244321}">
                <p14:modId xmlns:p14="http://schemas.microsoft.com/office/powerpoint/2010/main" val="1923979930"/>
              </p:ext>
            </p:extLst>
          </p:nvPr>
        </p:nvGraphicFramePr>
        <p:xfrm>
          <a:off x="5167313" y="2225823"/>
          <a:ext cx="4357687" cy="3092377"/>
        </p:xfrm>
        <a:graphic>
          <a:graphicData uri="http://schemas.openxmlformats.org/drawingml/2006/table">
            <a:tbl>
              <a:tblPr>
                <a:tableStyleId>{616DA210-FB5B-4158-B5E0-FEB733F419BA}</a:tableStyleId>
              </a:tblPr>
              <a:tblGrid>
                <a:gridCol w="1957387"/>
                <a:gridCol w="1232719"/>
                <a:gridCol w="1167581"/>
              </a:tblGrid>
              <a:tr h="45962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1"/>
                          </a:solidFill>
                          <a:effectLst/>
                          <a:latin typeface="Arial"/>
                          <a:ea typeface=""/>
                          <a:cs typeface=""/>
                        </a:rPr>
                        <a:t>STOXX Global Select </a:t>
                      </a:r>
                      <a:r>
                        <a:rPr kumimoji="0" lang="en-US" sz="1000" b="1" i="0" u="none" strike="noStrike" kern="1200" cap="none" normalizeH="0" baseline="0" noProof="0" dirty="0" smtClean="0">
                          <a:ln>
                            <a:noFill/>
                          </a:ln>
                          <a:solidFill>
                            <a:schemeClr val="accent1"/>
                          </a:solidFill>
                          <a:effectLst/>
                          <a:latin typeface="Arial"/>
                          <a:ea typeface=""/>
                          <a:cs typeface=""/>
                        </a:rPr>
                        <a:t>Dividend </a:t>
                      </a:r>
                      <a:r>
                        <a:rPr kumimoji="0" lang="en-US" sz="1000" b="1" i="0" u="none" strike="noStrike" kern="1200" cap="none" normalizeH="0" baseline="0" noProof="0" dirty="0" smtClean="0">
                          <a:ln>
                            <a:noFill/>
                          </a:ln>
                          <a:solidFill>
                            <a:schemeClr val="accent1"/>
                          </a:solidFill>
                          <a:effectLst/>
                          <a:latin typeface="Arial"/>
                          <a:ea typeface=""/>
                          <a:cs typeface=""/>
                        </a:rPr>
                        <a:t>100</a:t>
                      </a:r>
                      <a:endParaRPr kumimoji="0" lang="en-US" sz="1000" b="1" i="0" u="none" strike="noStrike" kern="1200" cap="none" normalizeH="0" baseline="0" noProof="0" dirty="0">
                        <a:ln>
                          <a:noFill/>
                        </a:ln>
                        <a:solidFill>
                          <a:schemeClr val="accent1"/>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2"/>
                          </a:solidFill>
                          <a:effectLst/>
                          <a:latin typeface="Arial" charset="0"/>
                          <a:ea typeface=""/>
                          <a:cs typeface=""/>
                        </a:rPr>
                        <a:t>STOXX Global 1800</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YTD retur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21.4%</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8.9%</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y retur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21.4%</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8.9%</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3y return</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3.9%</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7.8%</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5y return</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3.1%</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3.5%</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1y 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8.9%</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0.9%</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3y 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8.4%</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0.1%</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5y </a:t>
                      </a: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0.0%</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2.2%</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Maximum drawdown</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2)</a:t>
                      </a:r>
                      <a:endParaRPr kumimoji="0" lang="en-US" sz="1000" b="0" i="0" u="none" strike="noStrike" kern="1200" cap="none" normalizeH="0" baseline="30000" noProof="0" dirty="0">
                        <a:ln>
                          <a:noFill/>
                        </a:ln>
                        <a:solidFill>
                          <a:schemeClr val="accent5"/>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3.0%</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20.5%</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3y Sharpe ratio</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3)</a:t>
                      </a:r>
                      <a:endParaRPr kumimoji="0" lang="en-US" sz="10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6</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6</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85" name="Rectangle 2"/>
          <p:cNvSpPr>
            <a:spLocks noChangeArrowheads="1"/>
          </p:cNvSpPr>
          <p:nvPr/>
        </p:nvSpPr>
        <p:spPr bwMode="auto">
          <a:xfrm>
            <a:off x="368301"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chemeClr val="bg1"/>
                </a:solidFill>
              </a:rPr>
              <a:t>Index</a:t>
            </a:r>
            <a:r>
              <a:rPr lang="en-US" sz="1600" baseline="30000" dirty="0" smtClean="0">
                <a:solidFill>
                  <a:schemeClr val="bg1"/>
                </a:solidFill>
              </a:rPr>
              <a:t>1)</a:t>
            </a:r>
            <a:r>
              <a:rPr lang="en-US" sz="1600" dirty="0" smtClean="0">
                <a:solidFill>
                  <a:schemeClr val="bg1"/>
                </a:solidFill>
              </a:rPr>
              <a:t> </a:t>
            </a:r>
            <a:r>
              <a:rPr lang="en-US" sz="1600" b="1" dirty="0">
                <a:solidFill>
                  <a:schemeClr val="bg1"/>
                </a:solidFill>
              </a:rPr>
              <a:t>5</a:t>
            </a:r>
            <a:r>
              <a:rPr lang="en-US" sz="1600" b="1" dirty="0" smtClean="0">
                <a:solidFill>
                  <a:schemeClr val="bg1"/>
                </a:solidFill>
              </a:rPr>
              <a:t>y</a:t>
            </a:r>
            <a:endParaRPr lang="en-US" sz="1600" b="1" dirty="0">
              <a:solidFill>
                <a:schemeClr val="bg1"/>
              </a:solidFill>
            </a:endParaRPr>
          </a:p>
        </p:txBody>
      </p:sp>
      <p:sp>
        <p:nvSpPr>
          <p:cNvPr id="86" name="Rectangle 2"/>
          <p:cNvSpPr>
            <a:spLocks noChangeArrowheads="1"/>
          </p:cNvSpPr>
          <p:nvPr/>
        </p:nvSpPr>
        <p:spPr bwMode="auto">
          <a:xfrm>
            <a:off x="5167313"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Risk and return characteristics</a:t>
            </a:r>
            <a:r>
              <a:rPr lang="en-US" sz="1600" baseline="30000" dirty="0" smtClean="0">
                <a:solidFill>
                  <a:schemeClr val="bg1"/>
                </a:solidFill>
              </a:rPr>
              <a:t>1)</a:t>
            </a:r>
            <a:endParaRPr lang="en-US" sz="1600" baseline="30000" dirty="0">
              <a:solidFill>
                <a:schemeClr val="bg1"/>
              </a:solidFill>
            </a:endParaRPr>
          </a:p>
        </p:txBody>
      </p:sp>
      <p:sp>
        <p:nvSpPr>
          <p:cNvPr id="36" name="Text Box 150"/>
          <p:cNvSpPr txBox="1">
            <a:spLocks noChangeArrowheads="1"/>
          </p:cNvSpPr>
          <p:nvPr/>
        </p:nvSpPr>
        <p:spPr bwMode="auto">
          <a:xfrm>
            <a:off x="1737360" y="6400800"/>
            <a:ext cx="7680960" cy="438582"/>
          </a:xfrm>
          <a:prstGeom prst="rect">
            <a:avLst/>
          </a:prstGeom>
          <a:noFill/>
          <a:ln w="9525">
            <a:noFill/>
            <a:miter lim="800000"/>
            <a:headEnd/>
            <a:tailEnd/>
          </a:ln>
        </p:spPr>
        <p:txBody>
          <a:bodyPr lIns="0" tIns="0" rIns="0" bIns="0" anchor="t" anchorCtr="0">
            <a:spAutoFit/>
          </a:bodyPr>
          <a:lstStyle/>
          <a:p>
            <a:pPr marL="164592" lvl="0" indent="-164592">
              <a:lnSpc>
                <a:spcPct val="95000"/>
              </a:lnSpc>
              <a:spcBef>
                <a:spcPct val="0"/>
              </a:spcBef>
              <a:buFont typeface="+mj-lt"/>
              <a:buAutoNum type="arabicParenR"/>
            </a:pPr>
            <a:r>
              <a:rPr lang="en-US" sz="1000" dirty="0" smtClean="0">
                <a:solidFill>
                  <a:schemeClr val="tx2"/>
                </a:solidFill>
              </a:rPr>
              <a:t>STOXX</a:t>
            </a:r>
            <a:r>
              <a:rPr lang="en-US" sz="1000" dirty="0" smtClean="0">
                <a:solidFill>
                  <a:srgbClr val="AFAFAF"/>
                </a:solidFill>
              </a:rPr>
              <a:t> data</a:t>
            </a:r>
            <a:r>
              <a:rPr lang="en-US" sz="1000" dirty="0" smtClean="0">
                <a:solidFill>
                  <a:schemeClr val="accent5"/>
                </a:solidFill>
              </a:rPr>
              <a:t> </a:t>
            </a:r>
            <a:r>
              <a:rPr lang="en-US" sz="1000" dirty="0" smtClean="0">
                <a:solidFill>
                  <a:srgbClr val="AFAFAF"/>
                </a:solidFill>
              </a:rPr>
              <a:t>as of </a:t>
            </a:r>
            <a:r>
              <a:rPr lang="en-US" sz="1000" dirty="0" smtClean="0">
                <a:solidFill>
                  <a:srgbClr val="AFAFAF"/>
                </a:solidFill>
              </a:rPr>
              <a:t>Dec. 31, </a:t>
            </a:r>
            <a:r>
              <a:rPr lang="en-US" sz="1000" dirty="0" smtClean="0">
                <a:solidFill>
                  <a:srgbClr val="AFAFAF"/>
                </a:solidFill>
              </a:rPr>
              <a:t>2014. Annualized returns and annualized volatility (standard deviation) figures are used</a:t>
            </a:r>
          </a:p>
          <a:p>
            <a:pPr marL="164592" indent="-164592">
              <a:lnSpc>
                <a:spcPct val="95000"/>
              </a:lnSpc>
              <a:spcBef>
                <a:spcPct val="0"/>
              </a:spcBef>
              <a:buFont typeface="+mj-lt"/>
              <a:buAutoNum type="arabicParenR"/>
            </a:pPr>
            <a:r>
              <a:rPr lang="en-US" sz="1000" dirty="0">
                <a:solidFill>
                  <a:srgbClr val="AFAFAF"/>
                </a:solidFill>
              </a:rPr>
              <a:t>Computed for the period </a:t>
            </a:r>
            <a:r>
              <a:rPr lang="en-US" sz="1000" dirty="0" smtClean="0">
                <a:solidFill>
                  <a:srgbClr val="AFAFAF"/>
                </a:solidFill>
              </a:rPr>
              <a:t>Jan. </a:t>
            </a:r>
            <a:r>
              <a:rPr lang="en-US" sz="1000" dirty="0" smtClean="0">
                <a:solidFill>
                  <a:srgbClr val="AFAFAF"/>
                </a:solidFill>
              </a:rPr>
              <a:t>1, </a:t>
            </a:r>
            <a:r>
              <a:rPr lang="en-US" sz="1000" dirty="0" smtClean="0">
                <a:solidFill>
                  <a:srgbClr val="AFAFAF"/>
                </a:solidFill>
              </a:rPr>
              <a:t>2010 </a:t>
            </a:r>
            <a:r>
              <a:rPr lang="en-US" sz="1000" dirty="0" smtClean="0">
                <a:solidFill>
                  <a:srgbClr val="AFAFAF"/>
                </a:solidFill>
              </a:rPr>
              <a:t>to </a:t>
            </a:r>
            <a:r>
              <a:rPr lang="en-US" sz="1000" dirty="0" smtClean="0">
                <a:solidFill>
                  <a:srgbClr val="AFAFAF"/>
                </a:solidFill>
              </a:rPr>
              <a:t>Dec. 31, </a:t>
            </a:r>
            <a:r>
              <a:rPr lang="en-US" sz="1000" dirty="0" smtClean="0">
                <a:solidFill>
                  <a:srgbClr val="AFAFAF"/>
                </a:solidFill>
              </a:rPr>
              <a:t>2014</a:t>
            </a:r>
          </a:p>
          <a:p>
            <a:pPr marL="164592" lvl="0" indent="-164592">
              <a:lnSpc>
                <a:spcPct val="95000"/>
              </a:lnSpc>
              <a:spcBef>
                <a:spcPct val="0"/>
              </a:spcBef>
              <a:buFont typeface="+mj-lt"/>
              <a:buAutoNum type="arabicParenR"/>
            </a:pPr>
            <a:r>
              <a:rPr lang="en-US" sz="1000" dirty="0" smtClean="0">
                <a:solidFill>
                  <a:srgbClr val="AFAFAF"/>
                </a:solidFill>
              </a:rPr>
              <a:t>EONIA rate used as riskless asset to calculate Sharpe ratio</a:t>
            </a:r>
            <a:endParaRPr lang="en-US" sz="1000" b="1" dirty="0" smtClean="0">
              <a:solidFill>
                <a:schemeClr val="accent5"/>
              </a:solidFill>
            </a:endParaRPr>
          </a:p>
        </p:txBody>
      </p:sp>
      <p:sp>
        <p:nvSpPr>
          <p:cNvPr id="8" name="Rectangle 6"/>
          <p:cNvSpPr>
            <a:spLocks noChangeArrowheads="1"/>
          </p:cNvSpPr>
          <p:nvPr/>
        </p:nvSpPr>
        <p:spPr bwMode="auto">
          <a:xfrm>
            <a:off x="7046762" y="5695340"/>
            <a:ext cx="233850" cy="144463"/>
          </a:xfrm>
          <a:prstGeom prst="rect">
            <a:avLst/>
          </a:prstGeom>
          <a:solidFill>
            <a:schemeClr val="accent2"/>
          </a:solidFill>
          <a:ln w="9525" algn="ctr">
            <a:noFill/>
            <a:miter lim="800000"/>
            <a:headEnd/>
            <a:tailEnd/>
          </a:ln>
        </p:spPr>
        <p:txBody>
          <a:bodyPr wrap="none" lIns="365760" tIns="0" rIns="0" bIns="0" anchor="ctr"/>
          <a:lstStyle/>
          <a:p>
            <a:pPr>
              <a:spcBef>
                <a:spcPct val="0"/>
              </a:spcBef>
            </a:pPr>
            <a:r>
              <a:rPr lang="en-US" sz="1000" dirty="0" smtClean="0"/>
              <a:t>STOXX Global 1800 (EUR Net Return</a:t>
            </a:r>
            <a:r>
              <a:rPr lang="en-US" sz="1000" dirty="0" smtClean="0"/>
              <a:t>)</a:t>
            </a:r>
            <a:endParaRPr lang="en-US" sz="1000" dirty="0"/>
          </a:p>
        </p:txBody>
      </p:sp>
      <p:sp>
        <p:nvSpPr>
          <p:cNvPr id="9" name="Rectangle 6"/>
          <p:cNvSpPr>
            <a:spLocks noChangeArrowheads="1"/>
          </p:cNvSpPr>
          <p:nvPr/>
        </p:nvSpPr>
        <p:spPr bwMode="auto">
          <a:xfrm>
            <a:off x="373173" y="5680359"/>
            <a:ext cx="233850" cy="144463"/>
          </a:xfrm>
          <a:prstGeom prst="rect">
            <a:avLst/>
          </a:prstGeom>
          <a:solidFill>
            <a:schemeClr val="accent1"/>
          </a:solidFill>
          <a:ln w="9525" algn="ctr">
            <a:noFill/>
            <a:miter lim="800000"/>
            <a:headEnd/>
            <a:tailEnd/>
          </a:ln>
        </p:spPr>
        <p:txBody>
          <a:bodyPr wrap="none" lIns="365760" tIns="0" rIns="0" bIns="0" anchor="ctr"/>
          <a:lstStyle/>
          <a:p>
            <a:pPr>
              <a:spcBef>
                <a:spcPct val="0"/>
              </a:spcBef>
            </a:pPr>
            <a:r>
              <a:rPr lang="en-US" sz="1000" dirty="0" smtClean="0"/>
              <a:t>STOXX Global Select </a:t>
            </a:r>
            <a:r>
              <a:rPr lang="en-US" sz="1000" dirty="0" smtClean="0"/>
              <a:t>Dividend </a:t>
            </a:r>
            <a:r>
              <a:rPr lang="en-US" sz="1000" dirty="0" smtClean="0"/>
              <a:t>100</a:t>
            </a:r>
            <a:r>
              <a:rPr lang="en-US" sz="1000" dirty="0" smtClean="0"/>
              <a:t> </a:t>
            </a:r>
            <a:r>
              <a:rPr lang="en-US" sz="1000" dirty="0" smtClean="0"/>
              <a:t>(EUR </a:t>
            </a:r>
            <a:r>
              <a:rPr lang="en-US" sz="1000" dirty="0" smtClean="0"/>
              <a:t>Net Return</a:t>
            </a:r>
            <a:r>
              <a:rPr lang="en-US" sz="1000" dirty="0" smtClean="0"/>
              <a:t>)</a:t>
            </a:r>
            <a:endParaRPr lang="en-US" sz="1000" dirty="0"/>
          </a:p>
        </p:txBody>
      </p:sp>
    </p:spTree>
    <p:extLst>
      <p:ext uri="{BB962C8B-B14F-4D97-AF65-F5344CB8AC3E}">
        <p14:creationId xmlns:p14="http://schemas.microsoft.com/office/powerpoint/2010/main" val="28494563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ndex fundamental characteristics and key figures</a:t>
            </a:r>
            <a:endParaRPr lang="en-GB" dirty="0">
              <a:solidFill>
                <a:schemeClr val="accent5"/>
              </a:solidFill>
            </a:endParaRPr>
          </a:p>
        </p:txBody>
      </p:sp>
      <p:sp>
        <p:nvSpPr>
          <p:cNvPr id="4" name="Text Placeholder 3"/>
          <p:cNvSpPr>
            <a:spLocks noGrp="1"/>
          </p:cNvSpPr>
          <p:nvPr>
            <p:ph type="body" sz="quarter" idx="12"/>
          </p:nvPr>
        </p:nvSpPr>
        <p:spPr>
          <a:xfrm>
            <a:off x="1742557" y="6396877"/>
            <a:ext cx="7382045" cy="318247"/>
          </a:xfrm>
        </p:spPr>
        <p:txBody>
          <a:bodyPr/>
          <a:lstStyle/>
          <a:p>
            <a:pPr lvl="0"/>
            <a:r>
              <a:rPr lang="en-US" dirty="0"/>
              <a:t>STOXX</a:t>
            </a:r>
            <a:r>
              <a:rPr lang="en-US" dirty="0">
                <a:solidFill>
                  <a:srgbClr val="AFAFAF"/>
                </a:solidFill>
              </a:rPr>
              <a:t> data as of </a:t>
            </a:r>
            <a:r>
              <a:rPr lang="en-US" dirty="0" smtClean="0">
                <a:solidFill>
                  <a:srgbClr val="AFAFAF"/>
                </a:solidFill>
              </a:rPr>
              <a:t>Dec. 31, </a:t>
            </a:r>
            <a:r>
              <a:rPr lang="en-US" dirty="0" smtClean="0">
                <a:solidFill>
                  <a:srgbClr val="AFAFAF"/>
                </a:solidFill>
              </a:rPr>
              <a:t>2014 (2) </a:t>
            </a:r>
            <a:r>
              <a:rPr lang="en-US" dirty="0">
                <a:solidFill>
                  <a:srgbClr val="AFAFAF"/>
                </a:solidFill>
              </a:rPr>
              <a:t>N</a:t>
            </a:r>
            <a:r>
              <a:rPr lang="en-US" dirty="0" smtClean="0">
                <a:solidFill>
                  <a:srgbClr val="AFAFAF"/>
                </a:solidFill>
              </a:rPr>
              <a:t>et dividend </a:t>
            </a:r>
            <a:r>
              <a:rPr lang="en-US" dirty="0">
                <a:solidFill>
                  <a:srgbClr val="AFAFAF"/>
                </a:solidFill>
              </a:rPr>
              <a:t>yield is </a:t>
            </a:r>
            <a:r>
              <a:rPr lang="en-US" dirty="0" smtClean="0">
                <a:solidFill>
                  <a:srgbClr val="AFAFAF"/>
                </a:solidFill>
              </a:rPr>
              <a:t>calculated as </a:t>
            </a:r>
            <a:r>
              <a:rPr lang="en-US" dirty="0" smtClean="0">
                <a:solidFill>
                  <a:srgbClr val="AFAFAF"/>
                </a:solidFill>
              </a:rPr>
              <a:t>Net Return </a:t>
            </a:r>
            <a:r>
              <a:rPr lang="en-US" dirty="0" smtClean="0">
                <a:solidFill>
                  <a:srgbClr val="AFAFAF"/>
                </a:solidFill>
              </a:rPr>
              <a:t>index return minus Price index return over 1 year period</a:t>
            </a:r>
            <a:r>
              <a:rPr lang="en-US" dirty="0">
                <a:solidFill>
                  <a:srgbClr val="AFAFAF"/>
                </a:solidFill>
              </a:rPr>
              <a:t> </a:t>
            </a:r>
            <a:r>
              <a:rPr lang="en-US" dirty="0" smtClean="0">
                <a:solidFill>
                  <a:srgbClr val="AFAFAF"/>
                </a:solidFill>
              </a:rPr>
              <a:t>(3) Including negative values. Trailing and projection period are 1 year. (4) Turnover over 1 year period </a:t>
            </a:r>
          </a:p>
          <a:p>
            <a:endParaRPr lang="en-GB" dirty="0"/>
          </a:p>
        </p:txBody>
      </p:sp>
      <p:graphicFrame>
        <p:nvGraphicFramePr>
          <p:cNvPr id="7" name="Group 62"/>
          <p:cNvGraphicFramePr>
            <a:graphicFrameLocks noGrp="1"/>
          </p:cNvGraphicFramePr>
          <p:nvPr>
            <p:custDataLst>
              <p:tags r:id="rId1"/>
            </p:custDataLst>
            <p:extLst>
              <p:ext uri="{D42A27DB-BD31-4B8C-83A1-F6EECF244321}">
                <p14:modId xmlns:p14="http://schemas.microsoft.com/office/powerpoint/2010/main" val="2828939020"/>
              </p:ext>
            </p:extLst>
          </p:nvPr>
        </p:nvGraphicFramePr>
        <p:xfrm>
          <a:off x="5156834" y="2225820"/>
          <a:ext cx="4357687" cy="1135131"/>
        </p:xfrm>
        <a:graphic>
          <a:graphicData uri="http://schemas.openxmlformats.org/drawingml/2006/table">
            <a:tbl>
              <a:tblPr>
                <a:tableStyleId>{616DA210-FB5B-4158-B5E0-FEB733F419BA}</a:tableStyleId>
              </a:tblPr>
              <a:tblGrid>
                <a:gridCol w="1967866"/>
                <a:gridCol w="1219200"/>
                <a:gridCol w="1170621"/>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1"/>
                          </a:solidFill>
                          <a:effectLst/>
                          <a:latin typeface="Arial"/>
                          <a:ea typeface=""/>
                          <a:cs typeface=""/>
                        </a:rPr>
                        <a:t>STOXX Global Select Dividend 100</a:t>
                      </a:r>
                      <a:endParaRPr kumimoji="0" lang="en-US" sz="1000" b="1" i="0" u="none" strike="noStrike" kern="1200" cap="none" normalizeH="0" baseline="0" noProof="0" dirty="0">
                        <a:ln>
                          <a:noFill/>
                        </a:ln>
                        <a:solidFill>
                          <a:schemeClr val="accent1"/>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2"/>
                          </a:solidFill>
                          <a:effectLst/>
                          <a:latin typeface="Arial" charset="0"/>
                          <a:ea typeface=""/>
                          <a:cs typeface=""/>
                        </a:rPr>
                        <a:t>STOXX Global 1800</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Number of components</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0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80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Turnover</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4)</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22.28%</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3.14%</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1" name="Rectangle 2"/>
          <p:cNvSpPr>
            <a:spLocks noChangeArrowheads="1"/>
          </p:cNvSpPr>
          <p:nvPr/>
        </p:nvSpPr>
        <p:spPr bwMode="auto">
          <a:xfrm>
            <a:off x="5166360"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chemeClr val="bg1"/>
                </a:solidFill>
              </a:rPr>
              <a:t>Key figures</a:t>
            </a:r>
            <a:r>
              <a:rPr lang="en-US" sz="1600" baseline="30000" dirty="0" smtClean="0">
                <a:solidFill>
                  <a:schemeClr val="bg1"/>
                </a:solidFill>
              </a:rPr>
              <a:t>1)</a:t>
            </a:r>
            <a:endParaRPr lang="en-US" sz="1600" b="1" dirty="0">
              <a:solidFill>
                <a:schemeClr val="bg1"/>
              </a:solidFill>
            </a:endParaRPr>
          </a:p>
        </p:txBody>
      </p:sp>
      <p:graphicFrame>
        <p:nvGraphicFramePr>
          <p:cNvPr id="17" name="Group 62"/>
          <p:cNvGraphicFramePr>
            <a:graphicFrameLocks noGrp="1"/>
          </p:cNvGraphicFramePr>
          <p:nvPr>
            <p:custDataLst>
              <p:tags r:id="rId2"/>
            </p:custDataLst>
            <p:extLst>
              <p:ext uri="{D42A27DB-BD31-4B8C-83A1-F6EECF244321}">
                <p14:modId xmlns:p14="http://schemas.microsoft.com/office/powerpoint/2010/main" val="2133965809"/>
              </p:ext>
            </p:extLst>
          </p:nvPr>
        </p:nvGraphicFramePr>
        <p:xfrm>
          <a:off x="5171997" y="3597205"/>
          <a:ext cx="4331954" cy="1477695"/>
        </p:xfrm>
        <a:graphic>
          <a:graphicData uri="http://schemas.openxmlformats.org/drawingml/2006/table">
            <a:tbl>
              <a:tblPr>
                <a:tableStyleId>{616DA210-FB5B-4158-B5E0-FEB733F419BA}</a:tableStyleId>
              </a:tblPr>
              <a:tblGrid>
                <a:gridCol w="3174273"/>
                <a:gridCol w="1157681"/>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u="none" strike="noStrike" kern="1200" cap="none" normalizeH="0" baseline="0" noProof="0" dirty="0" smtClean="0">
                          <a:ln>
                            <a:noFill/>
                          </a:ln>
                          <a:solidFill>
                            <a:schemeClr val="accent2"/>
                          </a:solidFill>
                          <a:effectLst/>
                        </a:rPr>
                        <a:t>vs </a:t>
                      </a:r>
                    </a:p>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2"/>
                          </a:solidFill>
                          <a:effectLst/>
                          <a:latin typeface="Arial" charset="0"/>
                          <a:ea typeface=""/>
                          <a:cs typeface=""/>
                        </a:rPr>
                        <a:t>STOXX Global 1800</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solidFill>
                            <a:schemeClr val="tx1"/>
                          </a:solidFill>
                          <a:effectLst/>
                          <a:latin typeface="Arial" panose="020B0604020202020204" pitchFamily="34" charset="0"/>
                          <a:cs typeface="Arial" panose="020B0604020202020204" pitchFamily="34" charset="0"/>
                        </a:rPr>
                        <a:t>Correlation (3y)</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0.89</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Tracking error (3y)</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4.65%</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Beta (3y)</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0.74</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4" name="Rectangle 2"/>
          <p:cNvSpPr>
            <a:spLocks noChangeArrowheads="1"/>
          </p:cNvSpPr>
          <p:nvPr/>
        </p:nvSpPr>
        <p:spPr bwMode="auto">
          <a:xfrm>
            <a:off x="365760"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Index fundamentals</a:t>
            </a:r>
            <a:r>
              <a:rPr lang="en-US" sz="1600" baseline="30000" dirty="0" smtClean="0">
                <a:solidFill>
                  <a:schemeClr val="bg1"/>
                </a:solidFill>
              </a:rPr>
              <a:t>1)</a:t>
            </a:r>
            <a:endParaRPr lang="en-US" sz="1600" baseline="30000" dirty="0">
              <a:solidFill>
                <a:schemeClr val="bg1"/>
              </a:solidFill>
            </a:endParaRPr>
          </a:p>
        </p:txBody>
      </p:sp>
      <p:graphicFrame>
        <p:nvGraphicFramePr>
          <p:cNvPr id="16" name="Group 62"/>
          <p:cNvGraphicFramePr>
            <a:graphicFrameLocks noGrp="1"/>
          </p:cNvGraphicFramePr>
          <p:nvPr>
            <p:custDataLst>
              <p:tags r:id="rId3"/>
            </p:custDataLst>
            <p:extLst>
              <p:ext uri="{D42A27DB-BD31-4B8C-83A1-F6EECF244321}">
                <p14:modId xmlns:p14="http://schemas.microsoft.com/office/powerpoint/2010/main" val="385213101"/>
              </p:ext>
            </p:extLst>
          </p:nvPr>
        </p:nvGraphicFramePr>
        <p:xfrm>
          <a:off x="365760" y="2225820"/>
          <a:ext cx="4358640" cy="2505387"/>
        </p:xfrm>
        <a:graphic>
          <a:graphicData uri="http://schemas.openxmlformats.org/drawingml/2006/table">
            <a:tbl>
              <a:tblPr>
                <a:tableStyleId>{616DA210-FB5B-4158-B5E0-FEB733F419BA}</a:tableStyleId>
              </a:tblPr>
              <a:tblGrid>
                <a:gridCol w="1863090"/>
                <a:gridCol w="1228725"/>
                <a:gridCol w="1266825"/>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1"/>
                          </a:solidFill>
                          <a:effectLst/>
                          <a:latin typeface="Arial"/>
                          <a:ea typeface=""/>
                          <a:cs typeface=""/>
                        </a:rPr>
                        <a:t>STOXX Global Select Dividend 100</a:t>
                      </a:r>
                      <a:endParaRPr kumimoji="0" lang="en-US" sz="1000" b="1" i="0" u="none" strike="noStrike" kern="1200" cap="none" normalizeH="0" baseline="0" noProof="0" dirty="0">
                        <a:ln>
                          <a:noFill/>
                        </a:ln>
                        <a:solidFill>
                          <a:schemeClr val="accent1"/>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2"/>
                          </a:solidFill>
                          <a:effectLst/>
                          <a:latin typeface="Arial" charset="0"/>
                          <a:ea typeface=""/>
                          <a:cs typeface=""/>
                        </a:rPr>
                        <a:t>STOXX Global 1800</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solidFill>
                            <a:schemeClr val="tx1"/>
                          </a:solidFill>
                          <a:effectLst/>
                          <a:latin typeface="Arial" panose="020B0604020202020204" pitchFamily="34" charset="0"/>
                          <a:cs typeface="Arial" panose="020B0604020202020204" pitchFamily="34" charset="0"/>
                        </a:rPr>
                        <a:t>Net </a:t>
                      </a: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dividend </a:t>
                      </a: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yield</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2)</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4.92%</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2.22%</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earnings (trailing)</a:t>
                      </a:r>
                      <a:r>
                        <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rPr>
                        <a:t>3)</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1.96</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7.73</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earnings (projected)</a:t>
                      </a:r>
                      <a:r>
                        <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rPr>
                        <a:t>3)</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1.89</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6.32</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book</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5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0.58</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sales</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03</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34</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cash flow</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0.43</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0.94</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2" name="Rectangle 6"/>
          <p:cNvSpPr>
            <a:spLocks noChangeArrowheads="1"/>
          </p:cNvSpPr>
          <p:nvPr/>
        </p:nvSpPr>
        <p:spPr bwMode="auto">
          <a:xfrm>
            <a:off x="7046762" y="5695340"/>
            <a:ext cx="233850" cy="144463"/>
          </a:xfrm>
          <a:prstGeom prst="rect">
            <a:avLst/>
          </a:prstGeom>
          <a:solidFill>
            <a:schemeClr val="accent2"/>
          </a:solidFill>
          <a:ln w="9525" algn="ctr">
            <a:noFill/>
            <a:miter lim="800000"/>
            <a:headEnd/>
            <a:tailEnd/>
          </a:ln>
        </p:spPr>
        <p:txBody>
          <a:bodyPr wrap="none" lIns="365760" tIns="0" rIns="0" bIns="0" anchor="ctr"/>
          <a:lstStyle/>
          <a:p>
            <a:pPr>
              <a:spcBef>
                <a:spcPct val="0"/>
              </a:spcBef>
            </a:pPr>
            <a:r>
              <a:rPr lang="en-US" sz="1000" dirty="0" smtClean="0"/>
              <a:t>STOXX Global 1800 (EUR Net Return</a:t>
            </a:r>
            <a:r>
              <a:rPr lang="en-US" sz="1000" dirty="0" smtClean="0"/>
              <a:t>)</a:t>
            </a:r>
            <a:endParaRPr lang="en-US" sz="1000" dirty="0"/>
          </a:p>
        </p:txBody>
      </p:sp>
      <p:sp>
        <p:nvSpPr>
          <p:cNvPr id="13" name="Rectangle 6"/>
          <p:cNvSpPr>
            <a:spLocks noChangeArrowheads="1"/>
          </p:cNvSpPr>
          <p:nvPr/>
        </p:nvSpPr>
        <p:spPr bwMode="auto">
          <a:xfrm>
            <a:off x="373173" y="5680359"/>
            <a:ext cx="233850" cy="144463"/>
          </a:xfrm>
          <a:prstGeom prst="rect">
            <a:avLst/>
          </a:prstGeom>
          <a:solidFill>
            <a:schemeClr val="accent1"/>
          </a:solidFill>
          <a:ln w="9525" algn="ctr">
            <a:noFill/>
            <a:miter lim="800000"/>
            <a:headEnd/>
            <a:tailEnd/>
          </a:ln>
        </p:spPr>
        <p:txBody>
          <a:bodyPr wrap="none" lIns="365760" tIns="0" rIns="0" bIns="0" anchor="ctr"/>
          <a:lstStyle/>
          <a:p>
            <a:pPr>
              <a:spcBef>
                <a:spcPct val="0"/>
              </a:spcBef>
            </a:pPr>
            <a:r>
              <a:rPr lang="en-US" sz="1000" dirty="0" smtClean="0"/>
              <a:t>STOXX Global Select </a:t>
            </a:r>
            <a:r>
              <a:rPr lang="en-US" sz="1000" dirty="0" smtClean="0"/>
              <a:t>Dividend </a:t>
            </a:r>
            <a:r>
              <a:rPr lang="en-US" sz="1000" dirty="0" smtClean="0"/>
              <a:t>100</a:t>
            </a:r>
            <a:r>
              <a:rPr lang="en-US" sz="1000" dirty="0" smtClean="0"/>
              <a:t> </a:t>
            </a:r>
            <a:r>
              <a:rPr lang="en-US" sz="1000" dirty="0" smtClean="0"/>
              <a:t>(EUR </a:t>
            </a:r>
            <a:r>
              <a:rPr lang="en-US" sz="1000" dirty="0" smtClean="0"/>
              <a:t>Net Return</a:t>
            </a:r>
            <a:r>
              <a:rPr lang="en-US" sz="1000" dirty="0" smtClean="0"/>
              <a:t>)</a:t>
            </a:r>
            <a:endParaRPr lang="en-US" sz="1000" dirty="0"/>
          </a:p>
        </p:txBody>
      </p:sp>
    </p:spTree>
    <p:extLst>
      <p:ext uri="{BB962C8B-B14F-4D97-AF65-F5344CB8AC3E}">
        <p14:creationId xmlns:p14="http://schemas.microsoft.com/office/powerpoint/2010/main" val="14682421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150"/>
          <p:cNvSpPr txBox="1">
            <a:spLocks noChangeArrowheads="1"/>
          </p:cNvSpPr>
          <p:nvPr/>
        </p:nvSpPr>
        <p:spPr bwMode="auto">
          <a:xfrm>
            <a:off x="1737360" y="6400800"/>
            <a:ext cx="7680960" cy="146194"/>
          </a:xfrm>
          <a:prstGeom prst="rect">
            <a:avLst/>
          </a:prstGeom>
          <a:noFill/>
          <a:ln w="9525">
            <a:noFill/>
            <a:miter lim="800000"/>
            <a:headEnd/>
            <a:tailEnd/>
          </a:ln>
        </p:spPr>
        <p:txBody>
          <a:bodyPr lIns="0" tIns="0" rIns="0" bIns="0" anchor="t" anchorCtr="0">
            <a:spAutoFit/>
          </a:bodyPr>
          <a:lstStyle/>
          <a:p>
            <a:pPr marL="164592" indent="-164592">
              <a:lnSpc>
                <a:spcPct val="95000"/>
              </a:lnSpc>
              <a:spcBef>
                <a:spcPct val="0"/>
              </a:spcBef>
              <a:buFont typeface="+mj-lt"/>
              <a:buAutoNum type="arabicParenR"/>
            </a:pPr>
            <a:r>
              <a:rPr lang="en-US" sz="1000" dirty="0" smtClean="0">
                <a:solidFill>
                  <a:schemeClr val="tx2"/>
                </a:solidFill>
              </a:rPr>
              <a:t>STOXX</a:t>
            </a:r>
            <a:r>
              <a:rPr lang="en-US" sz="1000" dirty="0" smtClean="0">
                <a:solidFill>
                  <a:srgbClr val="AFAFAF"/>
                </a:solidFill>
              </a:rPr>
              <a:t> data as of </a:t>
            </a:r>
            <a:r>
              <a:rPr lang="en-US" sz="1000" dirty="0" smtClean="0">
                <a:solidFill>
                  <a:srgbClr val="AFAFAF"/>
                </a:solidFill>
              </a:rPr>
              <a:t>Dec. 31, </a:t>
            </a:r>
            <a:r>
              <a:rPr lang="en-US" sz="1000" dirty="0">
                <a:solidFill>
                  <a:srgbClr val="AFAFAF"/>
                </a:solidFill>
              </a:rPr>
              <a:t>2014 </a:t>
            </a:r>
            <a:endParaRPr lang="en-US" sz="1000" dirty="0" smtClean="0">
              <a:solidFill>
                <a:srgbClr val="AFAFAF"/>
              </a:solidFill>
            </a:endParaRPr>
          </a:p>
        </p:txBody>
      </p:sp>
      <p:sp>
        <p:nvSpPr>
          <p:cNvPr id="10" name="Title 1"/>
          <p:cNvSpPr>
            <a:spLocks noGrp="1"/>
          </p:cNvSpPr>
          <p:nvPr>
            <p:ph type="title"/>
          </p:nvPr>
        </p:nvSpPr>
        <p:spPr/>
        <p:txBody>
          <a:bodyPr/>
          <a:lstStyle/>
          <a:p>
            <a:r>
              <a:rPr lang="en-US" dirty="0" smtClean="0"/>
              <a:t>Industry and country allocation</a:t>
            </a:r>
            <a:endParaRPr lang="en-GB" dirty="0"/>
          </a:p>
        </p:txBody>
      </p:sp>
      <p:sp>
        <p:nvSpPr>
          <p:cNvPr id="11" name="Rectangle 2"/>
          <p:cNvSpPr>
            <a:spLocks noChangeArrowheads="1"/>
          </p:cNvSpPr>
          <p:nvPr/>
        </p:nvSpPr>
        <p:spPr bwMode="auto">
          <a:xfrm>
            <a:off x="365760" y="1836000"/>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Industry allocation</a:t>
            </a:r>
            <a:r>
              <a:rPr lang="en-US" sz="1600" baseline="30000" dirty="0">
                <a:solidFill>
                  <a:schemeClr val="bg1"/>
                </a:solidFill>
              </a:rPr>
              <a:t>1)</a:t>
            </a:r>
            <a:endParaRPr lang="en-US" sz="1600" b="1" dirty="0">
              <a:solidFill>
                <a:srgbClr val="FFFFFF"/>
              </a:solidFill>
            </a:endParaRPr>
          </a:p>
        </p:txBody>
      </p:sp>
      <p:sp>
        <p:nvSpPr>
          <p:cNvPr id="12" name="Rectangle 2"/>
          <p:cNvSpPr>
            <a:spLocks noChangeArrowheads="1"/>
          </p:cNvSpPr>
          <p:nvPr/>
        </p:nvSpPr>
        <p:spPr bwMode="auto">
          <a:xfrm>
            <a:off x="5166359" y="1836000"/>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Country allocation</a:t>
            </a:r>
            <a:r>
              <a:rPr lang="en-US" sz="1600" baseline="30000" dirty="0" smtClean="0">
                <a:solidFill>
                  <a:schemeClr val="bg1"/>
                </a:solidFill>
              </a:rPr>
              <a:t>1</a:t>
            </a:r>
            <a:r>
              <a:rPr lang="en-US" sz="1600" baseline="30000" dirty="0">
                <a:solidFill>
                  <a:schemeClr val="bg1"/>
                </a:solidFill>
              </a:rPr>
              <a:t>)</a:t>
            </a:r>
            <a:endParaRPr lang="en-US" sz="1600" b="1" dirty="0">
              <a:solidFill>
                <a:srgbClr val="FFFFFF"/>
              </a:solidFill>
            </a:endParaRPr>
          </a:p>
        </p:txBody>
      </p:sp>
      <p:graphicFrame>
        <p:nvGraphicFramePr>
          <p:cNvPr id="18" name="Chart 17"/>
          <p:cNvGraphicFramePr/>
          <p:nvPr>
            <p:extLst>
              <p:ext uri="{D42A27DB-BD31-4B8C-83A1-F6EECF244321}">
                <p14:modId xmlns:p14="http://schemas.microsoft.com/office/powerpoint/2010/main" val="1967650129"/>
              </p:ext>
            </p:extLst>
          </p:nvPr>
        </p:nvGraphicFramePr>
        <p:xfrm>
          <a:off x="29776" y="2189373"/>
          <a:ext cx="4924018" cy="384178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p:cNvGraphicFramePr/>
          <p:nvPr>
            <p:extLst>
              <p:ext uri="{D42A27DB-BD31-4B8C-83A1-F6EECF244321}">
                <p14:modId xmlns:p14="http://schemas.microsoft.com/office/powerpoint/2010/main" val="1111511301"/>
              </p:ext>
            </p:extLst>
          </p:nvPr>
        </p:nvGraphicFramePr>
        <p:xfrm>
          <a:off x="4953794" y="2222778"/>
          <a:ext cx="4526107" cy="384178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9241971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ChangeArrowheads="1"/>
          </p:cNvSpPr>
          <p:nvPr>
            <p:ph type="title"/>
          </p:nvPr>
        </p:nvSpPr>
        <p:spPr/>
        <p:txBody>
          <a:bodyPr/>
          <a:lstStyle/>
          <a:p>
            <a:pPr eaLnBrk="1" hangingPunct="1"/>
            <a:r>
              <a:rPr lang="en-US" dirty="0" smtClean="0"/>
              <a:t>Top 10 components by weight</a:t>
            </a:r>
          </a:p>
        </p:txBody>
      </p:sp>
      <p:graphicFrame>
        <p:nvGraphicFramePr>
          <p:cNvPr id="7" name="Group 62"/>
          <p:cNvGraphicFramePr>
            <a:graphicFrameLocks noGrp="1"/>
          </p:cNvGraphicFramePr>
          <p:nvPr>
            <p:custDataLst>
              <p:tags r:id="rId1"/>
            </p:custDataLst>
            <p:extLst>
              <p:ext uri="{D42A27DB-BD31-4B8C-83A1-F6EECF244321}">
                <p14:modId xmlns:p14="http://schemas.microsoft.com/office/powerpoint/2010/main" val="3282347303"/>
              </p:ext>
            </p:extLst>
          </p:nvPr>
        </p:nvGraphicFramePr>
        <p:xfrm>
          <a:off x="542611" y="1876839"/>
          <a:ext cx="8784269" cy="3996311"/>
        </p:xfrm>
        <a:graphic>
          <a:graphicData uri="http://schemas.openxmlformats.org/drawingml/2006/table">
            <a:tbl>
              <a:tblPr>
                <a:tableStyleId>{616DA210-FB5B-4158-B5E0-FEB733F419BA}</a:tableStyleId>
              </a:tblPr>
              <a:tblGrid>
                <a:gridCol w="2761067"/>
                <a:gridCol w="2279674"/>
                <a:gridCol w="1735792"/>
                <a:gridCol w="2007736"/>
              </a:tblGrid>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Name</a:t>
                      </a:r>
                      <a:r>
                        <a:rPr kumimoji="0" lang="en-US" sz="1400" b="0" i="0" u="none" strike="noStrike" kern="1200" cap="none" normalizeH="0" baseline="30000" noProof="0" dirty="0" smtClean="0">
                          <a:ln>
                            <a:noFill/>
                          </a:ln>
                          <a:solidFill>
                            <a:schemeClr val="bg1"/>
                          </a:solidFill>
                          <a:effectLst/>
                          <a:latin typeface="Arial" panose="020B0604020202020204" pitchFamily="34" charset="0"/>
                          <a:ea typeface=""/>
                          <a:cs typeface="Arial" panose="020B0604020202020204" pitchFamily="34" charset="0"/>
                        </a:rPr>
                        <a:t>1)</a:t>
                      </a:r>
                      <a:endParaRPr kumimoji="0" lang="en-US" sz="1400" b="0" i="0" u="none" strike="noStrike" cap="none" normalizeH="0" baseline="30000" noProof="0" dirty="0" smtClean="0">
                        <a:ln>
                          <a:noFill/>
                        </a:ln>
                        <a:solidFill>
                          <a:schemeClr val="tx1"/>
                        </a:solidFill>
                        <a:effectLst/>
                        <a:latin typeface="Arial" charset="0"/>
                      </a:endParaRPr>
                    </a:p>
                  </a:txBody>
                  <a:tcPr marR="0" marT="0" marB="0" anchor="ctr" horzOverflow="overflow">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mn-ea"/>
                          <a:cs typeface="Arial" panose="020B0604020202020204" pitchFamily="34" charset="0"/>
                        </a:rPr>
                        <a:t>Industry</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mn-ea"/>
                          <a:cs typeface="Arial" panose="020B0604020202020204" pitchFamily="34" charset="0"/>
                        </a:rPr>
                        <a:t>Country</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Weight</a:t>
                      </a:r>
                      <a:endParaRPr kumimoji="0" lang="en-US" sz="1400" b="1" i="0" u="none" strike="noStrike" kern="1200" cap="none" normalizeH="0" baseline="0" noProof="0" dirty="0">
                        <a:ln>
                          <a:noFill/>
                        </a:ln>
                        <a:solidFill>
                          <a:schemeClr val="bg1"/>
                        </a:solidFill>
                        <a:effectLst/>
                        <a:latin typeface="Arial" charset="0"/>
                        <a:ea typeface=""/>
                        <a:cs typeface=""/>
                      </a:endParaRPr>
                    </a:p>
                  </a:txBody>
                  <a:tcPr marR="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err="1" smtClean="0">
                          <a:ln>
                            <a:noFill/>
                          </a:ln>
                          <a:effectLst/>
                          <a:latin typeface="Arial" panose="020B0604020202020204" pitchFamily="34" charset="0"/>
                          <a:cs typeface="Arial" panose="020B0604020202020204" pitchFamily="34" charset="0"/>
                        </a:rPr>
                        <a:t>Belgacom</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Telecommunications</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BE</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smtClean="0">
                          <a:ln>
                            <a:noFill/>
                          </a:ln>
                          <a:solidFill>
                            <a:schemeClr val="tx1"/>
                          </a:solidFill>
                          <a:effectLst/>
                          <a:latin typeface="Arial" panose="020B0604020202020204" pitchFamily="34" charset="0"/>
                          <a:ea typeface="+mn-ea"/>
                          <a:cs typeface="Arial" panose="020B0604020202020204" pitchFamily="34" charset="0"/>
                        </a:rPr>
                        <a:t>2.18%</a:t>
                      </a:r>
                      <a:endPar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CCW</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Telecommunication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HK</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1.84%</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Insurance Australia Group</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Financial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U</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1.76%</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400" b="0" i="0" u="none" strike="noStrike" kern="1200" cap="none" normalizeH="0" baseline="0" noProof="0" dirty="0" err="1" smtClean="0">
                          <a:ln>
                            <a:noFill/>
                          </a:ln>
                          <a:solidFill>
                            <a:schemeClr val="tx1"/>
                          </a:solidFill>
                          <a:effectLst/>
                          <a:latin typeface="Arial" panose="020B0604020202020204" pitchFamily="34" charset="0"/>
                          <a:ea typeface="+mn-ea"/>
                          <a:cs typeface="Arial" panose="020B0604020202020204" pitchFamily="34" charset="0"/>
                        </a:rPr>
                        <a:t>Annaly</a:t>
                      </a: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 Capital Management</a:t>
                      </a:r>
                      <a:endPar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Financial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U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1.74%</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Catlin Group</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Financial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GB</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1.69%</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Banco Santander</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Financial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E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1.67%</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Zurich Insurance Group</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Financial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CH</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1.58%</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Scottish &amp; Southern Energy</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Utilitie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GB</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1.58%</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Orange</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Telecommunication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FR</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1.57%</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err="1" smtClean="0">
                          <a:ln>
                            <a:noFill/>
                          </a:ln>
                          <a:solidFill>
                            <a:schemeClr val="tx1"/>
                          </a:solidFill>
                          <a:effectLst/>
                          <a:latin typeface="Arial" panose="020B0604020202020204" pitchFamily="34" charset="0"/>
                          <a:ea typeface="+mn-ea"/>
                          <a:cs typeface="Arial" panose="020B0604020202020204" pitchFamily="34" charset="0"/>
                        </a:rPr>
                        <a:t>Suntec</a:t>
                      </a: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 Real Estate Investment</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Financial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SG</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1.40%</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5" name="Text Box 150"/>
          <p:cNvSpPr txBox="1">
            <a:spLocks noChangeArrowheads="1"/>
          </p:cNvSpPr>
          <p:nvPr/>
        </p:nvSpPr>
        <p:spPr bwMode="auto">
          <a:xfrm>
            <a:off x="1737360" y="6400800"/>
            <a:ext cx="7680960" cy="146194"/>
          </a:xfrm>
          <a:prstGeom prst="rect">
            <a:avLst/>
          </a:prstGeom>
          <a:noFill/>
          <a:ln w="9525">
            <a:noFill/>
            <a:miter lim="800000"/>
            <a:headEnd/>
            <a:tailEnd/>
          </a:ln>
        </p:spPr>
        <p:txBody>
          <a:bodyPr lIns="0" tIns="0" rIns="0" bIns="0" anchor="t" anchorCtr="0">
            <a:spAutoFit/>
          </a:bodyPr>
          <a:lstStyle/>
          <a:p>
            <a:pPr marL="164592" indent="-164592">
              <a:lnSpc>
                <a:spcPct val="95000"/>
              </a:lnSpc>
              <a:spcBef>
                <a:spcPct val="0"/>
              </a:spcBef>
              <a:buFont typeface="+mj-lt"/>
              <a:buAutoNum type="arabicParenR"/>
            </a:pPr>
            <a:r>
              <a:rPr lang="en-US" sz="1000" dirty="0" smtClean="0">
                <a:solidFill>
                  <a:schemeClr val="tx2"/>
                </a:solidFill>
              </a:rPr>
              <a:t>STOXX</a:t>
            </a:r>
            <a:r>
              <a:rPr lang="en-US" sz="1000" dirty="0" smtClean="0">
                <a:solidFill>
                  <a:srgbClr val="AFAFAF"/>
                </a:solidFill>
              </a:rPr>
              <a:t> data as of </a:t>
            </a:r>
            <a:r>
              <a:rPr lang="en-US" sz="1000" dirty="0" smtClean="0">
                <a:solidFill>
                  <a:srgbClr val="AFAFAF"/>
                </a:solidFill>
              </a:rPr>
              <a:t>Dec. 31, </a:t>
            </a:r>
            <a:r>
              <a:rPr lang="en-US" sz="1000" dirty="0">
                <a:solidFill>
                  <a:srgbClr val="AFAFAF"/>
                </a:solidFill>
              </a:rPr>
              <a:t>2014 </a:t>
            </a:r>
            <a:endParaRPr lang="en-US" sz="1000" dirty="0" smtClean="0">
              <a:solidFill>
                <a:srgbClr val="AFAFAF"/>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69"/>
          <p:cNvGrpSpPr>
            <a:grpSpLocks/>
          </p:cNvGrpSpPr>
          <p:nvPr/>
        </p:nvGrpSpPr>
        <p:grpSpPr bwMode="auto">
          <a:xfrm>
            <a:off x="735016" y="1548286"/>
            <a:ext cx="8124868" cy="4260869"/>
            <a:chOff x="463" y="754"/>
            <a:chExt cx="5118" cy="2684"/>
          </a:xfrm>
          <a:solidFill>
            <a:schemeClr val="bg2"/>
          </a:solidFill>
        </p:grpSpPr>
        <p:sp>
          <p:nvSpPr>
            <p:cNvPr id="18453" name="Freeform 570"/>
            <p:cNvSpPr>
              <a:spLocks/>
            </p:cNvSpPr>
            <p:nvPr>
              <p:custDataLst>
                <p:tags r:id="rId1"/>
              </p:custDataLst>
            </p:nvPr>
          </p:nvSpPr>
          <p:spPr bwMode="auto">
            <a:xfrm>
              <a:off x="1719" y="3398"/>
              <a:ext cx="23" cy="36"/>
            </a:xfrm>
            <a:custGeom>
              <a:avLst/>
              <a:gdLst>
                <a:gd name="T0" fmla="*/ 0 w 73"/>
                <a:gd name="T1" fmla="*/ 0 h 20"/>
                <a:gd name="T2" fmla="*/ 0 w 73"/>
                <a:gd name="T3" fmla="*/ 632963 h 20"/>
                <a:gd name="T4" fmla="*/ 0 w 73"/>
                <a:gd name="T5" fmla="*/ 1264306 h 20"/>
                <a:gd name="T6" fmla="*/ 0 w 73"/>
                <a:gd name="T7" fmla="*/ 1772300 h 20"/>
                <a:gd name="T8" fmla="*/ 0 w 73"/>
                <a:gd name="T9" fmla="*/ 2563537 h 20"/>
                <a:gd name="T10" fmla="*/ 0 w 73"/>
                <a:gd name="T11" fmla="*/ 2212252 h 20"/>
                <a:gd name="T12" fmla="*/ 0 w 73"/>
                <a:gd name="T13" fmla="*/ 1611236 h 20"/>
                <a:gd name="T14" fmla="*/ 0 w 73"/>
                <a:gd name="T15" fmla="*/ 1424187 h 20"/>
                <a:gd name="T16" fmla="*/ 0 w 73"/>
                <a:gd name="T17" fmla="*/ 1264306 h 20"/>
                <a:gd name="T18" fmla="*/ 0 w 73"/>
                <a:gd name="T19" fmla="*/ 984611 h 20"/>
                <a:gd name="T20" fmla="*/ 0 w 73"/>
                <a:gd name="T21" fmla="*/ 895131 h 20"/>
                <a:gd name="T22" fmla="*/ 0 w 73"/>
                <a:gd name="T23" fmla="*/ 895131 h 20"/>
                <a:gd name="T24" fmla="*/ 0 w 73"/>
                <a:gd name="T25" fmla="*/ 791215 h 20"/>
                <a:gd name="T26" fmla="*/ 0 w 73"/>
                <a:gd name="T27" fmla="*/ 632963 h 20"/>
                <a:gd name="T28" fmla="*/ 0 w 73"/>
                <a:gd name="T29" fmla="*/ 497295 h 20"/>
                <a:gd name="T30" fmla="*/ 0 w 73"/>
                <a:gd name="T31" fmla="*/ 276275 h 20"/>
                <a:gd name="T32" fmla="*/ 0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4" name="Freeform 571"/>
            <p:cNvSpPr>
              <a:spLocks/>
            </p:cNvSpPr>
            <p:nvPr>
              <p:custDataLst>
                <p:tags r:id="rId2"/>
              </p:custDataLst>
            </p:nvPr>
          </p:nvSpPr>
          <p:spPr bwMode="auto">
            <a:xfrm>
              <a:off x="463" y="942"/>
              <a:ext cx="535" cy="281"/>
            </a:xfrm>
            <a:custGeom>
              <a:avLst/>
              <a:gdLst>
                <a:gd name="T0" fmla="*/ 0 w 1808"/>
                <a:gd name="T1" fmla="*/ 0 h 850"/>
                <a:gd name="T2" fmla="*/ 0 w 1808"/>
                <a:gd name="T3" fmla="*/ 0 h 850"/>
                <a:gd name="T4" fmla="*/ 0 w 1808"/>
                <a:gd name="T5" fmla="*/ 0 h 850"/>
                <a:gd name="T6" fmla="*/ 0 w 1808"/>
                <a:gd name="T7" fmla="*/ 0 h 850"/>
                <a:gd name="T8" fmla="*/ 0 w 1808"/>
                <a:gd name="T9" fmla="*/ 0 h 850"/>
                <a:gd name="T10" fmla="*/ 0 w 1808"/>
                <a:gd name="T11" fmla="*/ 0 h 850"/>
                <a:gd name="T12" fmla="*/ 0 w 1808"/>
                <a:gd name="T13" fmla="*/ 0 h 850"/>
                <a:gd name="T14" fmla="*/ 0 w 1808"/>
                <a:gd name="T15" fmla="*/ 0 h 850"/>
                <a:gd name="T16" fmla="*/ 0 w 1808"/>
                <a:gd name="T17" fmla="*/ 0 h 850"/>
                <a:gd name="T18" fmla="*/ 0 w 1808"/>
                <a:gd name="T19" fmla="*/ 0 h 850"/>
                <a:gd name="T20" fmla="*/ 0 w 1808"/>
                <a:gd name="T21" fmla="*/ 0 h 850"/>
                <a:gd name="T22" fmla="*/ 0 w 1808"/>
                <a:gd name="T23" fmla="*/ 0 h 850"/>
                <a:gd name="T24" fmla="*/ 0 w 1808"/>
                <a:gd name="T25" fmla="*/ 0 h 850"/>
                <a:gd name="T26" fmla="*/ 0 w 1808"/>
                <a:gd name="T27" fmla="*/ 0 h 850"/>
                <a:gd name="T28" fmla="*/ 0 w 1808"/>
                <a:gd name="T29" fmla="*/ 0 h 850"/>
                <a:gd name="T30" fmla="*/ 0 w 1808"/>
                <a:gd name="T31" fmla="*/ 0 h 850"/>
                <a:gd name="T32" fmla="*/ 0 w 1808"/>
                <a:gd name="T33" fmla="*/ 0 h 850"/>
                <a:gd name="T34" fmla="*/ 0 w 1808"/>
                <a:gd name="T35" fmla="*/ 0 h 850"/>
                <a:gd name="T36" fmla="*/ 0 w 1808"/>
                <a:gd name="T37" fmla="*/ 0 h 850"/>
                <a:gd name="T38" fmla="*/ 0 w 1808"/>
                <a:gd name="T39" fmla="*/ 0 h 850"/>
                <a:gd name="T40" fmla="*/ 0 w 1808"/>
                <a:gd name="T41" fmla="*/ 0 h 850"/>
                <a:gd name="T42" fmla="*/ 0 w 1808"/>
                <a:gd name="T43" fmla="*/ 0 h 850"/>
                <a:gd name="T44" fmla="*/ 0 w 1808"/>
                <a:gd name="T45" fmla="*/ 0 h 850"/>
                <a:gd name="T46" fmla="*/ 0 w 1808"/>
                <a:gd name="T47" fmla="*/ 0 h 850"/>
                <a:gd name="T48" fmla="*/ 0 w 1808"/>
                <a:gd name="T49" fmla="*/ 0 h 850"/>
                <a:gd name="T50" fmla="*/ 0 w 1808"/>
                <a:gd name="T51" fmla="*/ 0 h 850"/>
                <a:gd name="T52" fmla="*/ 0 w 1808"/>
                <a:gd name="T53" fmla="*/ 0 h 850"/>
                <a:gd name="T54" fmla="*/ 0 w 1808"/>
                <a:gd name="T55" fmla="*/ 0 h 850"/>
                <a:gd name="T56" fmla="*/ 0 w 1808"/>
                <a:gd name="T57" fmla="*/ 0 h 850"/>
                <a:gd name="T58" fmla="*/ 0 w 1808"/>
                <a:gd name="T59" fmla="*/ 0 h 850"/>
                <a:gd name="T60" fmla="*/ 0 w 1808"/>
                <a:gd name="T61" fmla="*/ 0 h 850"/>
                <a:gd name="T62" fmla="*/ 0 w 1808"/>
                <a:gd name="T63" fmla="*/ 0 h 850"/>
                <a:gd name="T64" fmla="*/ 0 w 1808"/>
                <a:gd name="T65" fmla="*/ 0 h 850"/>
                <a:gd name="T66" fmla="*/ 0 w 1808"/>
                <a:gd name="T67" fmla="*/ 0 h 850"/>
                <a:gd name="T68" fmla="*/ 0 w 1808"/>
                <a:gd name="T69" fmla="*/ 0 h 850"/>
                <a:gd name="T70" fmla="*/ 0 w 1808"/>
                <a:gd name="T71" fmla="*/ 0 h 850"/>
                <a:gd name="T72" fmla="*/ 0 w 1808"/>
                <a:gd name="T73" fmla="*/ 0 h 850"/>
                <a:gd name="T74" fmla="*/ 0 w 1808"/>
                <a:gd name="T75" fmla="*/ 0 h 850"/>
                <a:gd name="T76" fmla="*/ 0 w 1808"/>
                <a:gd name="T77" fmla="*/ 0 h 850"/>
                <a:gd name="T78" fmla="*/ 0 w 1808"/>
                <a:gd name="T79" fmla="*/ 0 h 850"/>
                <a:gd name="T80" fmla="*/ 0 w 1808"/>
                <a:gd name="T81" fmla="*/ 0 h 850"/>
                <a:gd name="T82" fmla="*/ 0 w 1808"/>
                <a:gd name="T83" fmla="*/ 0 h 850"/>
                <a:gd name="T84" fmla="*/ 0 w 1808"/>
                <a:gd name="T85" fmla="*/ 0 h 850"/>
                <a:gd name="T86" fmla="*/ 0 w 1808"/>
                <a:gd name="T87" fmla="*/ 0 h 850"/>
                <a:gd name="T88" fmla="*/ 0 w 1808"/>
                <a:gd name="T89" fmla="*/ 0 h 850"/>
                <a:gd name="T90" fmla="*/ 0 w 1808"/>
                <a:gd name="T91" fmla="*/ 0 h 850"/>
                <a:gd name="T92" fmla="*/ 0 w 1808"/>
                <a:gd name="T93" fmla="*/ 0 h 850"/>
                <a:gd name="T94" fmla="*/ 0 w 1808"/>
                <a:gd name="T95" fmla="*/ 0 h 850"/>
                <a:gd name="T96" fmla="*/ 0 w 1808"/>
                <a:gd name="T97" fmla="*/ 0 h 850"/>
                <a:gd name="T98" fmla="*/ 0 w 1808"/>
                <a:gd name="T99" fmla="*/ 0 h 850"/>
                <a:gd name="T100" fmla="*/ 0 w 1808"/>
                <a:gd name="T101" fmla="*/ 0 h 850"/>
                <a:gd name="T102" fmla="*/ 0 w 1808"/>
                <a:gd name="T103" fmla="*/ 0 h 850"/>
                <a:gd name="T104" fmla="*/ 0 w 1808"/>
                <a:gd name="T105" fmla="*/ 0 h 850"/>
                <a:gd name="T106" fmla="*/ 0 w 1808"/>
                <a:gd name="T107" fmla="*/ 0 h 850"/>
                <a:gd name="T108" fmla="*/ 0 w 1808"/>
                <a:gd name="T109" fmla="*/ 0 h 850"/>
                <a:gd name="T110" fmla="*/ 0 w 1808"/>
                <a:gd name="T111" fmla="*/ 0 h 850"/>
                <a:gd name="T112" fmla="*/ 0 w 1808"/>
                <a:gd name="T113" fmla="*/ 0 h 850"/>
                <a:gd name="T114" fmla="*/ 0 w 1808"/>
                <a:gd name="T115" fmla="*/ 0 h 850"/>
                <a:gd name="T116" fmla="*/ 0 w 1808"/>
                <a:gd name="T117" fmla="*/ 0 h 850"/>
                <a:gd name="T118" fmla="*/ 0 w 1808"/>
                <a:gd name="T119" fmla="*/ 0 h 850"/>
                <a:gd name="T120" fmla="*/ 0 w 1808"/>
                <a:gd name="T121" fmla="*/ 0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5" name="Freeform 572"/>
            <p:cNvSpPr>
              <a:spLocks/>
            </p:cNvSpPr>
            <p:nvPr>
              <p:custDataLst>
                <p:tags r:id="rId3"/>
              </p:custDataLst>
            </p:nvPr>
          </p:nvSpPr>
          <p:spPr bwMode="auto">
            <a:xfrm>
              <a:off x="777" y="1330"/>
              <a:ext cx="942" cy="485"/>
            </a:xfrm>
            <a:custGeom>
              <a:avLst/>
              <a:gdLst>
                <a:gd name="T0" fmla="*/ 0 w 3175"/>
                <a:gd name="T1" fmla="*/ 0 h 1472"/>
                <a:gd name="T2" fmla="*/ 0 w 3175"/>
                <a:gd name="T3" fmla="*/ 0 h 1472"/>
                <a:gd name="T4" fmla="*/ 0 w 3175"/>
                <a:gd name="T5" fmla="*/ 0 h 1472"/>
                <a:gd name="T6" fmla="*/ 0 w 3175"/>
                <a:gd name="T7" fmla="*/ 0 h 1472"/>
                <a:gd name="T8" fmla="*/ 0 w 3175"/>
                <a:gd name="T9" fmla="*/ 0 h 1472"/>
                <a:gd name="T10" fmla="*/ 0 w 3175"/>
                <a:gd name="T11" fmla="*/ 0 h 1472"/>
                <a:gd name="T12" fmla="*/ 0 w 3175"/>
                <a:gd name="T13" fmla="*/ 0 h 1472"/>
                <a:gd name="T14" fmla="*/ 0 w 3175"/>
                <a:gd name="T15" fmla="*/ 0 h 1472"/>
                <a:gd name="T16" fmla="*/ 0 w 3175"/>
                <a:gd name="T17" fmla="*/ 0 h 1472"/>
                <a:gd name="T18" fmla="*/ 0 w 3175"/>
                <a:gd name="T19" fmla="*/ 0 h 1472"/>
                <a:gd name="T20" fmla="*/ 0 w 3175"/>
                <a:gd name="T21" fmla="*/ 0 h 1472"/>
                <a:gd name="T22" fmla="*/ 0 w 3175"/>
                <a:gd name="T23" fmla="*/ 0 h 1472"/>
                <a:gd name="T24" fmla="*/ 0 w 3175"/>
                <a:gd name="T25" fmla="*/ 0 h 1472"/>
                <a:gd name="T26" fmla="*/ 0 w 3175"/>
                <a:gd name="T27" fmla="*/ 0 h 1472"/>
                <a:gd name="T28" fmla="*/ 0 w 3175"/>
                <a:gd name="T29" fmla="*/ 0 h 1472"/>
                <a:gd name="T30" fmla="*/ 0 w 3175"/>
                <a:gd name="T31" fmla="*/ 0 h 1472"/>
                <a:gd name="T32" fmla="*/ 0 w 3175"/>
                <a:gd name="T33" fmla="*/ 0 h 1472"/>
                <a:gd name="T34" fmla="*/ 0 w 3175"/>
                <a:gd name="T35" fmla="*/ 0 h 1472"/>
                <a:gd name="T36" fmla="*/ 0 w 3175"/>
                <a:gd name="T37" fmla="*/ 0 h 1472"/>
                <a:gd name="T38" fmla="*/ 0 w 3175"/>
                <a:gd name="T39" fmla="*/ 0 h 1472"/>
                <a:gd name="T40" fmla="*/ 0 w 3175"/>
                <a:gd name="T41" fmla="*/ 0 h 1472"/>
                <a:gd name="T42" fmla="*/ 0 w 3175"/>
                <a:gd name="T43" fmla="*/ 0 h 1472"/>
                <a:gd name="T44" fmla="*/ 0 w 3175"/>
                <a:gd name="T45" fmla="*/ 0 h 1472"/>
                <a:gd name="T46" fmla="*/ 0 w 3175"/>
                <a:gd name="T47" fmla="*/ 0 h 1472"/>
                <a:gd name="T48" fmla="*/ 0 w 3175"/>
                <a:gd name="T49" fmla="*/ 0 h 1472"/>
                <a:gd name="T50" fmla="*/ 0 w 3175"/>
                <a:gd name="T51" fmla="*/ 0 h 1472"/>
                <a:gd name="T52" fmla="*/ 0 w 3175"/>
                <a:gd name="T53" fmla="*/ 0 h 1472"/>
                <a:gd name="T54" fmla="*/ 0 w 3175"/>
                <a:gd name="T55" fmla="*/ 0 h 1472"/>
                <a:gd name="T56" fmla="*/ 0 w 3175"/>
                <a:gd name="T57" fmla="*/ 0 h 1472"/>
                <a:gd name="T58" fmla="*/ 0 w 3175"/>
                <a:gd name="T59" fmla="*/ 0 h 1472"/>
                <a:gd name="T60" fmla="*/ 0 w 3175"/>
                <a:gd name="T61" fmla="*/ 0 h 1472"/>
                <a:gd name="T62" fmla="*/ 0 w 3175"/>
                <a:gd name="T63" fmla="*/ 0 h 1472"/>
                <a:gd name="T64" fmla="*/ 0 w 3175"/>
                <a:gd name="T65" fmla="*/ 0 h 1472"/>
                <a:gd name="T66" fmla="*/ 0 w 3175"/>
                <a:gd name="T67" fmla="*/ 0 h 1472"/>
                <a:gd name="T68" fmla="*/ 0 w 3175"/>
                <a:gd name="T69" fmla="*/ 0 h 1472"/>
                <a:gd name="T70" fmla="*/ 0 w 3175"/>
                <a:gd name="T71" fmla="*/ 0 h 1472"/>
                <a:gd name="T72" fmla="*/ 0 w 3175"/>
                <a:gd name="T73" fmla="*/ 0 h 1472"/>
                <a:gd name="T74" fmla="*/ 0 w 3175"/>
                <a:gd name="T75" fmla="*/ 0 h 1472"/>
                <a:gd name="T76" fmla="*/ 0 w 3175"/>
                <a:gd name="T77" fmla="*/ 0 h 1472"/>
                <a:gd name="T78" fmla="*/ 0 w 3175"/>
                <a:gd name="T79" fmla="*/ 0 h 1472"/>
                <a:gd name="T80" fmla="*/ 0 w 3175"/>
                <a:gd name="T81" fmla="*/ 0 h 1472"/>
                <a:gd name="T82" fmla="*/ 0 w 3175"/>
                <a:gd name="T83" fmla="*/ 0 h 1472"/>
                <a:gd name="T84" fmla="*/ 0 w 3175"/>
                <a:gd name="T85" fmla="*/ 0 h 1472"/>
                <a:gd name="T86" fmla="*/ 0 w 3175"/>
                <a:gd name="T87" fmla="*/ 0 h 1472"/>
                <a:gd name="T88" fmla="*/ 0 w 3175"/>
                <a:gd name="T89" fmla="*/ 0 h 1472"/>
                <a:gd name="T90" fmla="*/ 0 w 3175"/>
                <a:gd name="T91" fmla="*/ 0 h 1472"/>
                <a:gd name="T92" fmla="*/ 0 w 3175"/>
                <a:gd name="T93" fmla="*/ 0 h 1472"/>
                <a:gd name="T94" fmla="*/ 0 w 3175"/>
                <a:gd name="T95" fmla="*/ 0 h 1472"/>
                <a:gd name="T96" fmla="*/ 0 w 3175"/>
                <a:gd name="T97" fmla="*/ 0 h 1472"/>
                <a:gd name="T98" fmla="*/ 0 w 3175"/>
                <a:gd name="T99" fmla="*/ 0 h 1472"/>
                <a:gd name="T100" fmla="*/ 0 w 3175"/>
                <a:gd name="T101" fmla="*/ 0 h 1472"/>
                <a:gd name="T102" fmla="*/ 0 w 3175"/>
                <a:gd name="T103" fmla="*/ 0 h 1472"/>
                <a:gd name="T104" fmla="*/ 0 w 3175"/>
                <a:gd name="T105" fmla="*/ 0 h 1472"/>
                <a:gd name="T106" fmla="*/ 0 w 3175"/>
                <a:gd name="T107" fmla="*/ 0 h 1472"/>
                <a:gd name="T108" fmla="*/ 0 w 3175"/>
                <a:gd name="T109" fmla="*/ 0 h 1472"/>
                <a:gd name="T110" fmla="*/ 0 w 3175"/>
                <a:gd name="T111" fmla="*/ 0 h 1472"/>
                <a:gd name="T112" fmla="*/ 0 w 3175"/>
                <a:gd name="T113" fmla="*/ 0 h 1472"/>
                <a:gd name="T114" fmla="*/ 0 w 3175"/>
                <a:gd name="T115" fmla="*/ 0 h 1472"/>
                <a:gd name="T116" fmla="*/ 0 w 3175"/>
                <a:gd name="T117" fmla="*/ 0 h 1472"/>
                <a:gd name="T118" fmla="*/ 0 w 3175"/>
                <a:gd name="T119" fmla="*/ 0 h 1472"/>
                <a:gd name="T120" fmla="*/ 0 w 3175"/>
                <a:gd name="T121" fmla="*/ 0 h 1472"/>
                <a:gd name="T122" fmla="*/ 0 w 3175"/>
                <a:gd name="T123" fmla="*/ 0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6" name="Freeform 573"/>
            <p:cNvSpPr>
              <a:spLocks/>
            </p:cNvSpPr>
            <p:nvPr>
              <p:custDataLst>
                <p:tags r:id="rId4"/>
              </p:custDataLst>
            </p:nvPr>
          </p:nvSpPr>
          <p:spPr bwMode="auto">
            <a:xfrm>
              <a:off x="1346" y="2307"/>
              <a:ext cx="231" cy="372"/>
            </a:xfrm>
            <a:custGeom>
              <a:avLst/>
              <a:gdLst>
                <a:gd name="T0" fmla="*/ 0 w 784"/>
                <a:gd name="T1" fmla="*/ 0 h 1128"/>
                <a:gd name="T2" fmla="*/ 0 w 784"/>
                <a:gd name="T3" fmla="*/ 0 h 1128"/>
                <a:gd name="T4" fmla="*/ 0 w 784"/>
                <a:gd name="T5" fmla="*/ 0 h 1128"/>
                <a:gd name="T6" fmla="*/ 0 w 784"/>
                <a:gd name="T7" fmla="*/ 0 h 1128"/>
                <a:gd name="T8" fmla="*/ 0 w 784"/>
                <a:gd name="T9" fmla="*/ 0 h 1128"/>
                <a:gd name="T10" fmla="*/ 0 w 784"/>
                <a:gd name="T11" fmla="*/ 0 h 1128"/>
                <a:gd name="T12" fmla="*/ 0 w 784"/>
                <a:gd name="T13" fmla="*/ 0 h 1128"/>
                <a:gd name="T14" fmla="*/ 0 w 784"/>
                <a:gd name="T15" fmla="*/ 0 h 1128"/>
                <a:gd name="T16" fmla="*/ 0 w 784"/>
                <a:gd name="T17" fmla="*/ 0 h 1128"/>
                <a:gd name="T18" fmla="*/ 0 w 784"/>
                <a:gd name="T19" fmla="*/ 0 h 1128"/>
                <a:gd name="T20" fmla="*/ 0 w 784"/>
                <a:gd name="T21" fmla="*/ 0 h 1128"/>
                <a:gd name="T22" fmla="*/ 0 w 784"/>
                <a:gd name="T23" fmla="*/ 0 h 1128"/>
                <a:gd name="T24" fmla="*/ 0 w 784"/>
                <a:gd name="T25" fmla="*/ 0 h 1128"/>
                <a:gd name="T26" fmla="*/ 0 w 784"/>
                <a:gd name="T27" fmla="*/ 0 h 1128"/>
                <a:gd name="T28" fmla="*/ 0 w 784"/>
                <a:gd name="T29" fmla="*/ 0 h 1128"/>
                <a:gd name="T30" fmla="*/ 0 w 784"/>
                <a:gd name="T31" fmla="*/ 0 h 1128"/>
                <a:gd name="T32" fmla="*/ 0 w 784"/>
                <a:gd name="T33" fmla="*/ 0 h 1128"/>
                <a:gd name="T34" fmla="*/ 0 w 784"/>
                <a:gd name="T35" fmla="*/ 0 h 1128"/>
                <a:gd name="T36" fmla="*/ 0 w 784"/>
                <a:gd name="T37" fmla="*/ 0 h 1128"/>
                <a:gd name="T38" fmla="*/ 0 w 784"/>
                <a:gd name="T39" fmla="*/ 0 h 1128"/>
                <a:gd name="T40" fmla="*/ 0 w 784"/>
                <a:gd name="T41" fmla="*/ 0 h 1128"/>
                <a:gd name="T42" fmla="*/ 0 w 784"/>
                <a:gd name="T43" fmla="*/ 0 h 1128"/>
                <a:gd name="T44" fmla="*/ 0 w 784"/>
                <a:gd name="T45" fmla="*/ 0 h 1128"/>
                <a:gd name="T46" fmla="*/ 0 w 784"/>
                <a:gd name="T47" fmla="*/ 0 h 1128"/>
                <a:gd name="T48" fmla="*/ 0 w 784"/>
                <a:gd name="T49" fmla="*/ 0 h 1128"/>
                <a:gd name="T50" fmla="*/ 0 w 784"/>
                <a:gd name="T51" fmla="*/ 0 h 1128"/>
                <a:gd name="T52" fmla="*/ 0 w 784"/>
                <a:gd name="T53" fmla="*/ 0 h 1128"/>
                <a:gd name="T54" fmla="*/ 0 w 784"/>
                <a:gd name="T55" fmla="*/ 0 h 1128"/>
                <a:gd name="T56" fmla="*/ 0 w 784"/>
                <a:gd name="T57" fmla="*/ 0 h 1128"/>
                <a:gd name="T58" fmla="*/ 0 w 784"/>
                <a:gd name="T59" fmla="*/ 0 h 1128"/>
                <a:gd name="T60" fmla="*/ 0 w 784"/>
                <a:gd name="T61" fmla="*/ 0 h 1128"/>
                <a:gd name="T62" fmla="*/ 0 w 784"/>
                <a:gd name="T63" fmla="*/ 0 h 1128"/>
                <a:gd name="T64" fmla="*/ 0 w 784"/>
                <a:gd name="T65" fmla="*/ 0 h 1128"/>
                <a:gd name="T66" fmla="*/ 0 w 784"/>
                <a:gd name="T67" fmla="*/ 0 h 1128"/>
                <a:gd name="T68" fmla="*/ 0 w 784"/>
                <a:gd name="T69" fmla="*/ 0 h 1128"/>
                <a:gd name="T70" fmla="*/ 0 w 784"/>
                <a:gd name="T71" fmla="*/ 0 h 1128"/>
                <a:gd name="T72" fmla="*/ 0 w 784"/>
                <a:gd name="T73" fmla="*/ 0 h 1128"/>
                <a:gd name="T74" fmla="*/ 0 w 784"/>
                <a:gd name="T75" fmla="*/ 0 h 1128"/>
                <a:gd name="T76" fmla="*/ 0 w 784"/>
                <a:gd name="T77" fmla="*/ 0 h 1128"/>
                <a:gd name="T78" fmla="*/ 0 w 784"/>
                <a:gd name="T79" fmla="*/ 0 h 1128"/>
                <a:gd name="T80" fmla="*/ 0 w 784"/>
                <a:gd name="T81" fmla="*/ 0 h 1128"/>
                <a:gd name="T82" fmla="*/ 0 w 784"/>
                <a:gd name="T83" fmla="*/ 0 h 1128"/>
                <a:gd name="T84" fmla="*/ 0 w 784"/>
                <a:gd name="T85" fmla="*/ 0 h 1128"/>
                <a:gd name="T86" fmla="*/ 0 w 784"/>
                <a:gd name="T87" fmla="*/ 0 h 1128"/>
                <a:gd name="T88" fmla="*/ 0 w 784"/>
                <a:gd name="T89" fmla="*/ 0 h 1128"/>
                <a:gd name="T90" fmla="*/ 0 w 784"/>
                <a:gd name="T91" fmla="*/ 0 h 1128"/>
                <a:gd name="T92" fmla="*/ 0 w 784"/>
                <a:gd name="T93" fmla="*/ 0 h 1128"/>
                <a:gd name="T94" fmla="*/ 0 w 784"/>
                <a:gd name="T95" fmla="*/ 0 h 1128"/>
                <a:gd name="T96" fmla="*/ 0 w 784"/>
                <a:gd name="T97" fmla="*/ 0 h 1128"/>
                <a:gd name="T98" fmla="*/ 0 w 784"/>
                <a:gd name="T99" fmla="*/ 0 h 1128"/>
                <a:gd name="T100" fmla="*/ 0 w 784"/>
                <a:gd name="T101" fmla="*/ 0 h 1128"/>
                <a:gd name="T102" fmla="*/ 0 w 784"/>
                <a:gd name="T103" fmla="*/ 0 h 1128"/>
                <a:gd name="T104" fmla="*/ 0 w 784"/>
                <a:gd name="T105" fmla="*/ 0 h 1128"/>
                <a:gd name="T106" fmla="*/ 0 w 784"/>
                <a:gd name="T107" fmla="*/ 0 h 1128"/>
                <a:gd name="T108" fmla="*/ 0 w 784"/>
                <a:gd name="T109" fmla="*/ 0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7" name="Freeform 574"/>
            <p:cNvSpPr>
              <a:spLocks/>
            </p:cNvSpPr>
            <p:nvPr>
              <p:custDataLst>
                <p:tags r:id="rId5"/>
              </p:custDataLst>
            </p:nvPr>
          </p:nvSpPr>
          <p:spPr bwMode="auto">
            <a:xfrm>
              <a:off x="1550" y="2662"/>
              <a:ext cx="179" cy="712"/>
            </a:xfrm>
            <a:custGeom>
              <a:avLst/>
              <a:gdLst>
                <a:gd name="T0" fmla="*/ 0 w 598"/>
                <a:gd name="T1" fmla="*/ 0 h 2158"/>
                <a:gd name="T2" fmla="*/ 0 w 598"/>
                <a:gd name="T3" fmla="*/ 0 h 2158"/>
                <a:gd name="T4" fmla="*/ 0 w 598"/>
                <a:gd name="T5" fmla="*/ 0 h 2158"/>
                <a:gd name="T6" fmla="*/ 0 w 598"/>
                <a:gd name="T7" fmla="*/ 0 h 2158"/>
                <a:gd name="T8" fmla="*/ 0 w 598"/>
                <a:gd name="T9" fmla="*/ 0 h 2158"/>
                <a:gd name="T10" fmla="*/ 0 w 598"/>
                <a:gd name="T11" fmla="*/ 0 h 2158"/>
                <a:gd name="T12" fmla="*/ 0 w 598"/>
                <a:gd name="T13" fmla="*/ 0 h 2158"/>
                <a:gd name="T14" fmla="*/ 0 w 598"/>
                <a:gd name="T15" fmla="*/ 0 h 2158"/>
                <a:gd name="T16" fmla="*/ 0 w 598"/>
                <a:gd name="T17" fmla="*/ 0 h 2158"/>
                <a:gd name="T18" fmla="*/ 0 w 598"/>
                <a:gd name="T19" fmla="*/ 0 h 2158"/>
                <a:gd name="T20" fmla="*/ 0 w 598"/>
                <a:gd name="T21" fmla="*/ 0 h 2158"/>
                <a:gd name="T22" fmla="*/ 0 w 598"/>
                <a:gd name="T23" fmla="*/ 0 h 2158"/>
                <a:gd name="T24" fmla="*/ 0 w 598"/>
                <a:gd name="T25" fmla="*/ 0 h 2158"/>
                <a:gd name="T26" fmla="*/ 0 w 598"/>
                <a:gd name="T27" fmla="*/ 0 h 2158"/>
                <a:gd name="T28" fmla="*/ 0 w 598"/>
                <a:gd name="T29" fmla="*/ 0 h 2158"/>
                <a:gd name="T30" fmla="*/ 0 w 598"/>
                <a:gd name="T31" fmla="*/ 0 h 2158"/>
                <a:gd name="T32" fmla="*/ 0 w 598"/>
                <a:gd name="T33" fmla="*/ 0 h 2158"/>
                <a:gd name="T34" fmla="*/ 0 w 598"/>
                <a:gd name="T35" fmla="*/ 0 h 2158"/>
                <a:gd name="T36" fmla="*/ 0 w 598"/>
                <a:gd name="T37" fmla="*/ 0 h 2158"/>
                <a:gd name="T38" fmla="*/ 0 w 598"/>
                <a:gd name="T39" fmla="*/ 0 h 2158"/>
                <a:gd name="T40" fmla="*/ 0 w 598"/>
                <a:gd name="T41" fmla="*/ 0 h 2158"/>
                <a:gd name="T42" fmla="*/ 0 w 598"/>
                <a:gd name="T43" fmla="*/ 0 h 2158"/>
                <a:gd name="T44" fmla="*/ 0 w 598"/>
                <a:gd name="T45" fmla="*/ 0 h 2158"/>
                <a:gd name="T46" fmla="*/ 0 w 598"/>
                <a:gd name="T47" fmla="*/ 0 h 2158"/>
                <a:gd name="T48" fmla="*/ 0 w 598"/>
                <a:gd name="T49" fmla="*/ 0 h 2158"/>
                <a:gd name="T50" fmla="*/ 0 w 598"/>
                <a:gd name="T51" fmla="*/ 0 h 2158"/>
                <a:gd name="T52" fmla="*/ 0 w 598"/>
                <a:gd name="T53" fmla="*/ 0 h 2158"/>
                <a:gd name="T54" fmla="*/ 0 w 598"/>
                <a:gd name="T55" fmla="*/ 0 h 2158"/>
                <a:gd name="T56" fmla="*/ 0 w 598"/>
                <a:gd name="T57" fmla="*/ 0 h 2158"/>
                <a:gd name="T58" fmla="*/ 0 w 598"/>
                <a:gd name="T59" fmla="*/ 0 h 2158"/>
                <a:gd name="T60" fmla="*/ 0 w 598"/>
                <a:gd name="T61" fmla="*/ 0 h 2158"/>
                <a:gd name="T62" fmla="*/ 0 w 598"/>
                <a:gd name="T63" fmla="*/ 0 h 2158"/>
                <a:gd name="T64" fmla="*/ 0 w 598"/>
                <a:gd name="T65" fmla="*/ 0 h 2158"/>
                <a:gd name="T66" fmla="*/ 0 w 598"/>
                <a:gd name="T67" fmla="*/ 0 h 2158"/>
                <a:gd name="T68" fmla="*/ 0 w 598"/>
                <a:gd name="T69" fmla="*/ 0 h 2158"/>
                <a:gd name="T70" fmla="*/ 0 w 598"/>
                <a:gd name="T71" fmla="*/ 0 h 2158"/>
                <a:gd name="T72" fmla="*/ 0 w 598"/>
                <a:gd name="T73" fmla="*/ 0 h 2158"/>
                <a:gd name="T74" fmla="*/ 0 w 598"/>
                <a:gd name="T75" fmla="*/ 0 h 2158"/>
                <a:gd name="T76" fmla="*/ 0 w 598"/>
                <a:gd name="T77" fmla="*/ 0 h 2158"/>
                <a:gd name="T78" fmla="*/ 0 w 598"/>
                <a:gd name="T79" fmla="*/ 0 h 2158"/>
                <a:gd name="T80" fmla="*/ 0 w 598"/>
                <a:gd name="T81" fmla="*/ 0 h 2158"/>
                <a:gd name="T82" fmla="*/ 0 w 598"/>
                <a:gd name="T83" fmla="*/ 0 h 2158"/>
                <a:gd name="T84" fmla="*/ 0 w 598"/>
                <a:gd name="T85" fmla="*/ 0 h 2158"/>
                <a:gd name="T86" fmla="*/ 0 w 598"/>
                <a:gd name="T87" fmla="*/ 0 h 2158"/>
                <a:gd name="T88" fmla="*/ 0 w 598"/>
                <a:gd name="T89" fmla="*/ 0 h 2158"/>
                <a:gd name="T90" fmla="*/ 0 w 598"/>
                <a:gd name="T91" fmla="*/ 0 h 2158"/>
                <a:gd name="T92" fmla="*/ 0 w 598"/>
                <a:gd name="T93" fmla="*/ 0 h 2158"/>
                <a:gd name="T94" fmla="*/ 0 w 598"/>
                <a:gd name="T95" fmla="*/ 0 h 2158"/>
                <a:gd name="T96" fmla="*/ 0 w 598"/>
                <a:gd name="T97" fmla="*/ 0 h 2158"/>
                <a:gd name="T98" fmla="*/ 0 w 598"/>
                <a:gd name="T99" fmla="*/ 0 h 2158"/>
                <a:gd name="T100" fmla="*/ 0 w 598"/>
                <a:gd name="T101" fmla="*/ 0 h 2158"/>
                <a:gd name="T102" fmla="*/ 0 w 598"/>
                <a:gd name="T103" fmla="*/ 0 h 2158"/>
                <a:gd name="T104" fmla="*/ 0 w 598"/>
                <a:gd name="T105" fmla="*/ 0 h 2158"/>
                <a:gd name="T106" fmla="*/ 0 w 598"/>
                <a:gd name="T107" fmla="*/ 0 h 2158"/>
                <a:gd name="T108" fmla="*/ 0 w 598"/>
                <a:gd name="T109" fmla="*/ 0 h 2158"/>
                <a:gd name="T110" fmla="*/ 0 w 598"/>
                <a:gd name="T111" fmla="*/ 0 h 2158"/>
                <a:gd name="T112" fmla="*/ 0 w 598"/>
                <a:gd name="T113" fmla="*/ 0 h 2158"/>
                <a:gd name="T114" fmla="*/ 0 w 598"/>
                <a:gd name="T115" fmla="*/ 0 h 2158"/>
                <a:gd name="T116" fmla="*/ 0 w 598"/>
                <a:gd name="T117" fmla="*/ 0 h 2158"/>
                <a:gd name="T118" fmla="*/ 0 w 598"/>
                <a:gd name="T119" fmla="*/ 0 h 2158"/>
                <a:gd name="T120" fmla="*/ 0 w 598"/>
                <a:gd name="T121" fmla="*/ 0 h 2158"/>
                <a:gd name="T122" fmla="*/ 0 w 598"/>
                <a:gd name="T123" fmla="*/ 0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8" name="Freeform 575"/>
            <p:cNvSpPr>
              <a:spLocks/>
            </p:cNvSpPr>
            <p:nvPr>
              <p:custDataLst>
                <p:tags r:id="rId6"/>
              </p:custDataLst>
            </p:nvPr>
          </p:nvSpPr>
          <p:spPr bwMode="auto">
            <a:xfrm>
              <a:off x="1485" y="2210"/>
              <a:ext cx="660" cy="758"/>
            </a:xfrm>
            <a:custGeom>
              <a:avLst/>
              <a:gdLst>
                <a:gd name="T0" fmla="*/ 0 w 2226"/>
                <a:gd name="T1" fmla="*/ 0 h 2292"/>
                <a:gd name="T2" fmla="*/ 0 w 2226"/>
                <a:gd name="T3" fmla="*/ 0 h 2292"/>
                <a:gd name="T4" fmla="*/ 0 w 2226"/>
                <a:gd name="T5" fmla="*/ 0 h 2292"/>
                <a:gd name="T6" fmla="*/ 0 w 2226"/>
                <a:gd name="T7" fmla="*/ 0 h 2292"/>
                <a:gd name="T8" fmla="*/ 0 w 2226"/>
                <a:gd name="T9" fmla="*/ 0 h 2292"/>
                <a:gd name="T10" fmla="*/ 0 w 2226"/>
                <a:gd name="T11" fmla="*/ 0 h 2292"/>
                <a:gd name="T12" fmla="*/ 0 w 2226"/>
                <a:gd name="T13" fmla="*/ 0 h 2292"/>
                <a:gd name="T14" fmla="*/ 0 w 2226"/>
                <a:gd name="T15" fmla="*/ 0 h 2292"/>
                <a:gd name="T16" fmla="*/ 0 w 2226"/>
                <a:gd name="T17" fmla="*/ 0 h 2292"/>
                <a:gd name="T18" fmla="*/ 0 w 2226"/>
                <a:gd name="T19" fmla="*/ 0 h 2292"/>
                <a:gd name="T20" fmla="*/ 0 w 2226"/>
                <a:gd name="T21" fmla="*/ 0 h 2292"/>
                <a:gd name="T22" fmla="*/ 0 w 2226"/>
                <a:gd name="T23" fmla="*/ 0 h 2292"/>
                <a:gd name="T24" fmla="*/ 0 w 2226"/>
                <a:gd name="T25" fmla="*/ 0 h 2292"/>
                <a:gd name="T26" fmla="*/ 0 w 2226"/>
                <a:gd name="T27" fmla="*/ 0 h 2292"/>
                <a:gd name="T28" fmla="*/ 0 w 2226"/>
                <a:gd name="T29" fmla="*/ 0 h 2292"/>
                <a:gd name="T30" fmla="*/ 0 w 2226"/>
                <a:gd name="T31" fmla="*/ 0 h 2292"/>
                <a:gd name="T32" fmla="*/ 0 w 2226"/>
                <a:gd name="T33" fmla="*/ 0 h 2292"/>
                <a:gd name="T34" fmla="*/ 0 w 2226"/>
                <a:gd name="T35" fmla="*/ 0 h 2292"/>
                <a:gd name="T36" fmla="*/ 0 w 2226"/>
                <a:gd name="T37" fmla="*/ 0 h 2292"/>
                <a:gd name="T38" fmla="*/ 0 w 2226"/>
                <a:gd name="T39" fmla="*/ 0 h 2292"/>
                <a:gd name="T40" fmla="*/ 0 w 2226"/>
                <a:gd name="T41" fmla="*/ 0 h 2292"/>
                <a:gd name="T42" fmla="*/ 0 w 2226"/>
                <a:gd name="T43" fmla="*/ 0 h 2292"/>
                <a:gd name="T44" fmla="*/ 0 w 2226"/>
                <a:gd name="T45" fmla="*/ 0 h 2292"/>
                <a:gd name="T46" fmla="*/ 0 w 2226"/>
                <a:gd name="T47" fmla="*/ 0 h 2292"/>
                <a:gd name="T48" fmla="*/ 0 w 2226"/>
                <a:gd name="T49" fmla="*/ 0 h 2292"/>
                <a:gd name="T50" fmla="*/ 0 w 2226"/>
                <a:gd name="T51" fmla="*/ 0 h 2292"/>
                <a:gd name="T52" fmla="*/ 0 w 2226"/>
                <a:gd name="T53" fmla="*/ 0 h 2292"/>
                <a:gd name="T54" fmla="*/ 0 w 2226"/>
                <a:gd name="T55" fmla="*/ 0 h 2292"/>
                <a:gd name="T56" fmla="*/ 0 w 2226"/>
                <a:gd name="T57" fmla="*/ 0 h 2292"/>
                <a:gd name="T58" fmla="*/ 0 w 2226"/>
                <a:gd name="T59" fmla="*/ 0 h 2292"/>
                <a:gd name="T60" fmla="*/ 0 w 2226"/>
                <a:gd name="T61" fmla="*/ 0 h 2292"/>
                <a:gd name="T62" fmla="*/ 0 w 2226"/>
                <a:gd name="T63" fmla="*/ 0 h 2292"/>
                <a:gd name="T64" fmla="*/ 0 w 2226"/>
                <a:gd name="T65" fmla="*/ 0 h 2292"/>
                <a:gd name="T66" fmla="*/ 0 w 2226"/>
                <a:gd name="T67" fmla="*/ 0 h 2292"/>
                <a:gd name="T68" fmla="*/ 0 w 2226"/>
                <a:gd name="T69" fmla="*/ 0 h 2292"/>
                <a:gd name="T70" fmla="*/ 0 w 2226"/>
                <a:gd name="T71" fmla="*/ 0 h 2292"/>
                <a:gd name="T72" fmla="*/ 0 w 2226"/>
                <a:gd name="T73" fmla="*/ 0 h 2292"/>
                <a:gd name="T74" fmla="*/ 0 w 2226"/>
                <a:gd name="T75" fmla="*/ 0 h 2292"/>
                <a:gd name="T76" fmla="*/ 0 w 2226"/>
                <a:gd name="T77" fmla="*/ 0 h 2292"/>
                <a:gd name="T78" fmla="*/ 0 w 2226"/>
                <a:gd name="T79" fmla="*/ 0 h 2292"/>
                <a:gd name="T80" fmla="*/ 0 w 2226"/>
                <a:gd name="T81" fmla="*/ 0 h 2292"/>
                <a:gd name="T82" fmla="*/ 0 w 2226"/>
                <a:gd name="T83" fmla="*/ 0 h 2292"/>
                <a:gd name="T84" fmla="*/ 0 w 2226"/>
                <a:gd name="T85" fmla="*/ 0 h 2292"/>
                <a:gd name="T86" fmla="*/ 0 w 2226"/>
                <a:gd name="T87" fmla="*/ 0 h 2292"/>
                <a:gd name="T88" fmla="*/ 0 w 2226"/>
                <a:gd name="T89" fmla="*/ 0 h 2292"/>
                <a:gd name="T90" fmla="*/ 0 w 2226"/>
                <a:gd name="T91" fmla="*/ 0 h 2292"/>
                <a:gd name="T92" fmla="*/ 0 w 2226"/>
                <a:gd name="T93" fmla="*/ 0 h 2292"/>
                <a:gd name="T94" fmla="*/ 0 w 2226"/>
                <a:gd name="T95" fmla="*/ 0 h 2292"/>
                <a:gd name="T96" fmla="*/ 0 w 2226"/>
                <a:gd name="T97" fmla="*/ 0 h 2292"/>
                <a:gd name="T98" fmla="*/ 0 w 2226"/>
                <a:gd name="T99" fmla="*/ 0 h 2292"/>
                <a:gd name="T100" fmla="*/ 0 w 2226"/>
                <a:gd name="T101" fmla="*/ 0 h 2292"/>
                <a:gd name="T102" fmla="*/ 0 w 2226"/>
                <a:gd name="T103" fmla="*/ 0 h 2292"/>
                <a:gd name="T104" fmla="*/ 0 w 2226"/>
                <a:gd name="T105" fmla="*/ 0 h 2292"/>
                <a:gd name="T106" fmla="*/ 0 w 2226"/>
                <a:gd name="T107" fmla="*/ 0 h 2292"/>
                <a:gd name="T108" fmla="*/ 0 w 2226"/>
                <a:gd name="T109" fmla="*/ 0 h 2292"/>
                <a:gd name="T110" fmla="*/ 0 w 2226"/>
                <a:gd name="T111" fmla="*/ 0 h 2292"/>
                <a:gd name="T112" fmla="*/ 0 w 2226"/>
                <a:gd name="T113" fmla="*/ 0 h 2292"/>
                <a:gd name="T114" fmla="*/ 0 w 2226"/>
                <a:gd name="T115" fmla="*/ 0 h 2292"/>
                <a:gd name="T116" fmla="*/ 0 w 2226"/>
                <a:gd name="T117" fmla="*/ 0 h 2292"/>
                <a:gd name="T118" fmla="*/ 0 w 2226"/>
                <a:gd name="T119" fmla="*/ 0 h 2292"/>
                <a:gd name="T120" fmla="*/ 0 w 2226"/>
                <a:gd name="T121" fmla="*/ 0 h 2292"/>
                <a:gd name="T122" fmla="*/ 0 w 2226"/>
                <a:gd name="T123" fmla="*/ 0 h 2292"/>
                <a:gd name="T124" fmla="*/ 0 w 2226"/>
                <a:gd name="T125" fmla="*/ 0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9" name="Freeform 576"/>
            <p:cNvSpPr>
              <a:spLocks/>
            </p:cNvSpPr>
            <p:nvPr>
              <p:custDataLst>
                <p:tags r:id="rId7"/>
              </p:custDataLst>
            </p:nvPr>
          </p:nvSpPr>
          <p:spPr bwMode="auto">
            <a:xfrm>
              <a:off x="2927" y="1546"/>
              <a:ext cx="48" cy="31"/>
            </a:xfrm>
            <a:custGeom>
              <a:avLst/>
              <a:gdLst>
                <a:gd name="T0" fmla="*/ 0 w 161"/>
                <a:gd name="T1" fmla="*/ 0 h 93"/>
                <a:gd name="T2" fmla="*/ 0 w 161"/>
                <a:gd name="T3" fmla="*/ 0 h 93"/>
                <a:gd name="T4" fmla="*/ 0 w 161"/>
                <a:gd name="T5" fmla="*/ 0 h 93"/>
                <a:gd name="T6" fmla="*/ 0 w 161"/>
                <a:gd name="T7" fmla="*/ 0 h 93"/>
                <a:gd name="T8" fmla="*/ 0 w 161"/>
                <a:gd name="T9" fmla="*/ 0 h 93"/>
                <a:gd name="T10" fmla="*/ 0 w 161"/>
                <a:gd name="T11" fmla="*/ 0 h 93"/>
                <a:gd name="T12" fmla="*/ 0 w 161"/>
                <a:gd name="T13" fmla="*/ 0 h 93"/>
                <a:gd name="T14" fmla="*/ 0 w 161"/>
                <a:gd name="T15" fmla="*/ 0 h 93"/>
                <a:gd name="T16" fmla="*/ 0 w 161"/>
                <a:gd name="T17" fmla="*/ 0 h 93"/>
                <a:gd name="T18" fmla="*/ 0 w 161"/>
                <a:gd name="T19" fmla="*/ 0 h 93"/>
                <a:gd name="T20" fmla="*/ 0 w 161"/>
                <a:gd name="T21" fmla="*/ 0 h 93"/>
                <a:gd name="T22" fmla="*/ 0 w 161"/>
                <a:gd name="T23" fmla="*/ 0 h 93"/>
                <a:gd name="T24" fmla="*/ 0 w 161"/>
                <a:gd name="T25" fmla="*/ 0 h 93"/>
                <a:gd name="T26" fmla="*/ 0 w 161"/>
                <a:gd name="T27" fmla="*/ 0 h 93"/>
                <a:gd name="T28" fmla="*/ 0 w 161"/>
                <a:gd name="T29" fmla="*/ 0 h 93"/>
                <a:gd name="T30" fmla="*/ 0 w 161"/>
                <a:gd name="T31" fmla="*/ 0 h 93"/>
                <a:gd name="T32" fmla="*/ 0 w 161"/>
                <a:gd name="T33" fmla="*/ 0 h 93"/>
                <a:gd name="T34" fmla="*/ 0 w 161"/>
                <a:gd name="T35" fmla="*/ 0 h 93"/>
                <a:gd name="T36" fmla="*/ 0 w 161"/>
                <a:gd name="T37" fmla="*/ 0 h 93"/>
                <a:gd name="T38" fmla="*/ 0 w 161"/>
                <a:gd name="T39" fmla="*/ 0 h 93"/>
                <a:gd name="T40" fmla="*/ 0 w 161"/>
                <a:gd name="T41" fmla="*/ 0 h 93"/>
                <a:gd name="T42" fmla="*/ 0 w 161"/>
                <a:gd name="T43" fmla="*/ 0 h 93"/>
                <a:gd name="T44" fmla="*/ 0 w 161"/>
                <a:gd name="T45" fmla="*/ 0 h 93"/>
                <a:gd name="T46" fmla="*/ 0 w 161"/>
                <a:gd name="T47" fmla="*/ 0 h 93"/>
                <a:gd name="T48" fmla="*/ 0 w 161"/>
                <a:gd name="T49" fmla="*/ 0 h 93"/>
                <a:gd name="T50" fmla="*/ 0 w 161"/>
                <a:gd name="T51" fmla="*/ 0 h 93"/>
                <a:gd name="T52" fmla="*/ 0 w 161"/>
                <a:gd name="T53" fmla="*/ 0 h 93"/>
                <a:gd name="T54" fmla="*/ 0 w 161"/>
                <a:gd name="T55" fmla="*/ 0 h 93"/>
                <a:gd name="T56" fmla="*/ 0 w 161"/>
                <a:gd name="T57" fmla="*/ 0 h 93"/>
                <a:gd name="T58" fmla="*/ 0 w 161"/>
                <a:gd name="T59" fmla="*/ 0 h 93"/>
                <a:gd name="T60" fmla="*/ 0 w 161"/>
                <a:gd name="T61" fmla="*/ 0 h 93"/>
                <a:gd name="T62" fmla="*/ 0 w 161"/>
                <a:gd name="T63" fmla="*/ 0 h 93"/>
                <a:gd name="T64" fmla="*/ 0 w 161"/>
                <a:gd name="T65" fmla="*/ 0 h 93"/>
                <a:gd name="T66" fmla="*/ 0 w 161"/>
                <a:gd name="T67" fmla="*/ 0 h 93"/>
                <a:gd name="T68" fmla="*/ 0 w 161"/>
                <a:gd name="T69" fmla="*/ 0 h 93"/>
                <a:gd name="T70" fmla="*/ 0 w 161"/>
                <a:gd name="T71" fmla="*/ 0 h 93"/>
                <a:gd name="T72" fmla="*/ 0 w 161"/>
                <a:gd name="T73" fmla="*/ 0 h 93"/>
                <a:gd name="T74" fmla="*/ 0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0" name="Freeform 577"/>
            <p:cNvSpPr>
              <a:spLocks/>
            </p:cNvSpPr>
            <p:nvPr>
              <p:custDataLst>
                <p:tags r:id="rId8"/>
              </p:custDataLst>
            </p:nvPr>
          </p:nvSpPr>
          <p:spPr bwMode="auto">
            <a:xfrm>
              <a:off x="2585" y="1467"/>
              <a:ext cx="56" cy="101"/>
            </a:xfrm>
            <a:custGeom>
              <a:avLst/>
              <a:gdLst>
                <a:gd name="T0" fmla="*/ 0 w 192"/>
                <a:gd name="T1" fmla="*/ 0 h 307"/>
                <a:gd name="T2" fmla="*/ 0 w 192"/>
                <a:gd name="T3" fmla="*/ 0 h 307"/>
                <a:gd name="T4" fmla="*/ 0 w 192"/>
                <a:gd name="T5" fmla="*/ 0 h 307"/>
                <a:gd name="T6" fmla="*/ 0 w 192"/>
                <a:gd name="T7" fmla="*/ 0 h 307"/>
                <a:gd name="T8" fmla="*/ 0 w 192"/>
                <a:gd name="T9" fmla="*/ 0 h 307"/>
                <a:gd name="T10" fmla="*/ 0 w 192"/>
                <a:gd name="T11" fmla="*/ 0 h 307"/>
                <a:gd name="T12" fmla="*/ 0 w 192"/>
                <a:gd name="T13" fmla="*/ 0 h 307"/>
                <a:gd name="T14" fmla="*/ 0 w 192"/>
                <a:gd name="T15" fmla="*/ 0 h 307"/>
                <a:gd name="T16" fmla="*/ 0 w 192"/>
                <a:gd name="T17" fmla="*/ 0 h 307"/>
                <a:gd name="T18" fmla="*/ 0 w 192"/>
                <a:gd name="T19" fmla="*/ 0 h 307"/>
                <a:gd name="T20" fmla="*/ 0 w 192"/>
                <a:gd name="T21" fmla="*/ 0 h 307"/>
                <a:gd name="T22" fmla="*/ 0 w 192"/>
                <a:gd name="T23" fmla="*/ 0 h 307"/>
                <a:gd name="T24" fmla="*/ 0 w 192"/>
                <a:gd name="T25" fmla="*/ 0 h 307"/>
                <a:gd name="T26" fmla="*/ 0 w 192"/>
                <a:gd name="T27" fmla="*/ 0 h 307"/>
                <a:gd name="T28" fmla="*/ 0 w 192"/>
                <a:gd name="T29" fmla="*/ 0 h 307"/>
                <a:gd name="T30" fmla="*/ 0 w 192"/>
                <a:gd name="T31" fmla="*/ 0 h 307"/>
                <a:gd name="T32" fmla="*/ 0 w 192"/>
                <a:gd name="T33" fmla="*/ 0 h 307"/>
                <a:gd name="T34" fmla="*/ 0 w 192"/>
                <a:gd name="T35" fmla="*/ 0 h 307"/>
                <a:gd name="T36" fmla="*/ 0 w 192"/>
                <a:gd name="T37" fmla="*/ 0 h 307"/>
                <a:gd name="T38" fmla="*/ 0 w 192"/>
                <a:gd name="T39" fmla="*/ 0 h 307"/>
                <a:gd name="T40" fmla="*/ 0 w 192"/>
                <a:gd name="T41" fmla="*/ 0 h 307"/>
                <a:gd name="T42" fmla="*/ 0 w 192"/>
                <a:gd name="T43" fmla="*/ 0 h 307"/>
                <a:gd name="T44" fmla="*/ 0 w 192"/>
                <a:gd name="T45" fmla="*/ 0 h 307"/>
                <a:gd name="T46" fmla="*/ 0 w 192"/>
                <a:gd name="T47" fmla="*/ 0 h 307"/>
                <a:gd name="T48" fmla="*/ 0 w 192"/>
                <a:gd name="T49" fmla="*/ 0 h 307"/>
                <a:gd name="T50" fmla="*/ 0 w 192"/>
                <a:gd name="T51" fmla="*/ 0 h 307"/>
                <a:gd name="T52" fmla="*/ 0 w 192"/>
                <a:gd name="T53" fmla="*/ 0 h 307"/>
                <a:gd name="T54" fmla="*/ 0 w 192"/>
                <a:gd name="T55" fmla="*/ 0 h 307"/>
                <a:gd name="T56" fmla="*/ 0 w 192"/>
                <a:gd name="T57" fmla="*/ 0 h 307"/>
                <a:gd name="T58" fmla="*/ 0 w 192"/>
                <a:gd name="T59" fmla="*/ 0 h 307"/>
                <a:gd name="T60" fmla="*/ 0 w 192"/>
                <a:gd name="T61" fmla="*/ 0 h 307"/>
                <a:gd name="T62" fmla="*/ 0 w 192"/>
                <a:gd name="T63" fmla="*/ 0 h 307"/>
                <a:gd name="T64" fmla="*/ 0 w 192"/>
                <a:gd name="T65" fmla="*/ 0 h 307"/>
                <a:gd name="T66" fmla="*/ 0 w 192"/>
                <a:gd name="T67" fmla="*/ 0 h 307"/>
                <a:gd name="T68" fmla="*/ 0 w 192"/>
                <a:gd name="T69" fmla="*/ 0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1" name="Freeform 578"/>
            <p:cNvSpPr>
              <a:spLocks/>
            </p:cNvSpPr>
            <p:nvPr>
              <p:custDataLst>
                <p:tags r:id="rId9"/>
              </p:custDataLst>
            </p:nvPr>
          </p:nvSpPr>
          <p:spPr bwMode="auto">
            <a:xfrm>
              <a:off x="2640" y="1143"/>
              <a:ext cx="117" cy="170"/>
            </a:xfrm>
            <a:custGeom>
              <a:avLst/>
              <a:gdLst>
                <a:gd name="T0" fmla="*/ 0 w 398"/>
                <a:gd name="T1" fmla="*/ 0 h 518"/>
                <a:gd name="T2" fmla="*/ 0 w 398"/>
                <a:gd name="T3" fmla="*/ 0 h 518"/>
                <a:gd name="T4" fmla="*/ 0 w 398"/>
                <a:gd name="T5" fmla="*/ 0 h 518"/>
                <a:gd name="T6" fmla="*/ 0 w 398"/>
                <a:gd name="T7" fmla="*/ 0 h 518"/>
                <a:gd name="T8" fmla="*/ 0 w 398"/>
                <a:gd name="T9" fmla="*/ 0 h 518"/>
                <a:gd name="T10" fmla="*/ 0 w 398"/>
                <a:gd name="T11" fmla="*/ 0 h 518"/>
                <a:gd name="T12" fmla="*/ 0 w 398"/>
                <a:gd name="T13" fmla="*/ 0 h 518"/>
                <a:gd name="T14" fmla="*/ 0 w 398"/>
                <a:gd name="T15" fmla="*/ 0 h 518"/>
                <a:gd name="T16" fmla="*/ 0 w 398"/>
                <a:gd name="T17" fmla="*/ 0 h 518"/>
                <a:gd name="T18" fmla="*/ 0 w 398"/>
                <a:gd name="T19" fmla="*/ 0 h 518"/>
                <a:gd name="T20" fmla="*/ 0 w 398"/>
                <a:gd name="T21" fmla="*/ 0 h 518"/>
                <a:gd name="T22" fmla="*/ 0 w 398"/>
                <a:gd name="T23" fmla="*/ 0 h 518"/>
                <a:gd name="T24" fmla="*/ 0 w 398"/>
                <a:gd name="T25" fmla="*/ 0 h 518"/>
                <a:gd name="T26" fmla="*/ 0 w 398"/>
                <a:gd name="T27" fmla="*/ 0 h 518"/>
                <a:gd name="T28" fmla="*/ 0 w 398"/>
                <a:gd name="T29" fmla="*/ 0 h 518"/>
                <a:gd name="T30" fmla="*/ 0 w 398"/>
                <a:gd name="T31" fmla="*/ 0 h 518"/>
                <a:gd name="T32" fmla="*/ 0 w 398"/>
                <a:gd name="T33" fmla="*/ 0 h 518"/>
                <a:gd name="T34" fmla="*/ 0 w 398"/>
                <a:gd name="T35" fmla="*/ 0 h 518"/>
                <a:gd name="T36" fmla="*/ 0 w 398"/>
                <a:gd name="T37" fmla="*/ 0 h 518"/>
                <a:gd name="T38" fmla="*/ 0 w 398"/>
                <a:gd name="T39" fmla="*/ 0 h 518"/>
                <a:gd name="T40" fmla="*/ 0 w 398"/>
                <a:gd name="T41" fmla="*/ 0 h 518"/>
                <a:gd name="T42" fmla="*/ 0 w 398"/>
                <a:gd name="T43" fmla="*/ 0 h 518"/>
                <a:gd name="T44" fmla="*/ 0 w 398"/>
                <a:gd name="T45" fmla="*/ 0 h 518"/>
                <a:gd name="T46" fmla="*/ 0 w 398"/>
                <a:gd name="T47" fmla="*/ 0 h 518"/>
                <a:gd name="T48" fmla="*/ 0 w 398"/>
                <a:gd name="T49" fmla="*/ 0 h 518"/>
                <a:gd name="T50" fmla="*/ 0 w 398"/>
                <a:gd name="T51" fmla="*/ 0 h 518"/>
                <a:gd name="T52" fmla="*/ 0 w 398"/>
                <a:gd name="T53" fmla="*/ 0 h 518"/>
                <a:gd name="T54" fmla="*/ 0 w 398"/>
                <a:gd name="T55" fmla="*/ 0 h 518"/>
                <a:gd name="T56" fmla="*/ 0 w 398"/>
                <a:gd name="T57" fmla="*/ 0 h 518"/>
                <a:gd name="T58" fmla="*/ 0 w 398"/>
                <a:gd name="T59" fmla="*/ 0 h 518"/>
                <a:gd name="T60" fmla="*/ 0 w 398"/>
                <a:gd name="T61" fmla="*/ 0 h 518"/>
                <a:gd name="T62" fmla="*/ 0 w 398"/>
                <a:gd name="T63" fmla="*/ 0 h 518"/>
                <a:gd name="T64" fmla="*/ 0 w 398"/>
                <a:gd name="T65" fmla="*/ 0 h 518"/>
                <a:gd name="T66" fmla="*/ 0 w 398"/>
                <a:gd name="T67" fmla="*/ 0 h 518"/>
                <a:gd name="T68" fmla="*/ 0 w 398"/>
                <a:gd name="T69" fmla="*/ 0 h 518"/>
                <a:gd name="T70" fmla="*/ 0 w 398"/>
                <a:gd name="T71" fmla="*/ 0 h 518"/>
                <a:gd name="T72" fmla="*/ 0 w 398"/>
                <a:gd name="T73" fmla="*/ 0 h 518"/>
                <a:gd name="T74" fmla="*/ 0 w 398"/>
                <a:gd name="T75" fmla="*/ 0 h 518"/>
                <a:gd name="T76" fmla="*/ 0 w 398"/>
                <a:gd name="T77" fmla="*/ 0 h 518"/>
                <a:gd name="T78" fmla="*/ 0 w 398"/>
                <a:gd name="T79" fmla="*/ 0 h 518"/>
                <a:gd name="T80" fmla="*/ 0 w 398"/>
                <a:gd name="T81" fmla="*/ 0 h 518"/>
                <a:gd name="T82" fmla="*/ 0 w 398"/>
                <a:gd name="T83" fmla="*/ 0 h 518"/>
                <a:gd name="T84" fmla="*/ 0 w 398"/>
                <a:gd name="T85" fmla="*/ 0 h 518"/>
                <a:gd name="T86" fmla="*/ 0 w 398"/>
                <a:gd name="T87" fmla="*/ 0 h 518"/>
                <a:gd name="T88" fmla="*/ 0 w 398"/>
                <a:gd name="T89" fmla="*/ 0 h 518"/>
                <a:gd name="T90" fmla="*/ 0 w 398"/>
                <a:gd name="T91" fmla="*/ 0 h 518"/>
                <a:gd name="T92" fmla="*/ 0 w 398"/>
                <a:gd name="T93" fmla="*/ 0 h 518"/>
                <a:gd name="T94" fmla="*/ 0 w 398"/>
                <a:gd name="T95" fmla="*/ 0 h 518"/>
                <a:gd name="T96" fmla="*/ 0 w 398"/>
                <a:gd name="T97" fmla="*/ 0 h 518"/>
                <a:gd name="T98" fmla="*/ 0 w 398"/>
                <a:gd name="T99" fmla="*/ 0 h 518"/>
                <a:gd name="T100" fmla="*/ 0 w 398"/>
                <a:gd name="T101" fmla="*/ 0 h 518"/>
                <a:gd name="T102" fmla="*/ 0 w 398"/>
                <a:gd name="T103" fmla="*/ 0 h 518"/>
                <a:gd name="T104" fmla="*/ 0 w 398"/>
                <a:gd name="T105" fmla="*/ 0 h 518"/>
                <a:gd name="T106" fmla="*/ 0 w 398"/>
                <a:gd name="T107" fmla="*/ 0 h 518"/>
                <a:gd name="T108" fmla="*/ 0 w 398"/>
                <a:gd name="T109" fmla="*/ 0 h 518"/>
                <a:gd name="T110" fmla="*/ 0 w 398"/>
                <a:gd name="T111" fmla="*/ 0 h 518"/>
                <a:gd name="T112" fmla="*/ 0 w 398"/>
                <a:gd name="T113" fmla="*/ 0 h 518"/>
                <a:gd name="T114" fmla="*/ 0 w 398"/>
                <a:gd name="T115" fmla="*/ 0 h 518"/>
                <a:gd name="T116" fmla="*/ 0 w 398"/>
                <a:gd name="T117" fmla="*/ 0 h 518"/>
                <a:gd name="T118" fmla="*/ 0 w 398"/>
                <a:gd name="T119" fmla="*/ 0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2" name="Freeform 579"/>
            <p:cNvSpPr>
              <a:spLocks/>
            </p:cNvSpPr>
            <p:nvPr>
              <p:custDataLst>
                <p:tags r:id="rId10"/>
              </p:custDataLst>
            </p:nvPr>
          </p:nvSpPr>
          <p:spPr bwMode="auto">
            <a:xfrm>
              <a:off x="2885" y="1334"/>
              <a:ext cx="116" cy="48"/>
            </a:xfrm>
            <a:custGeom>
              <a:avLst/>
              <a:gdLst>
                <a:gd name="T0" fmla="*/ 0 w 382"/>
                <a:gd name="T1" fmla="*/ 0 h 148"/>
                <a:gd name="T2" fmla="*/ 0 w 382"/>
                <a:gd name="T3" fmla="*/ 0 h 148"/>
                <a:gd name="T4" fmla="*/ 0 w 382"/>
                <a:gd name="T5" fmla="*/ 0 h 148"/>
                <a:gd name="T6" fmla="*/ 0 w 382"/>
                <a:gd name="T7" fmla="*/ 0 h 148"/>
                <a:gd name="T8" fmla="*/ 0 w 382"/>
                <a:gd name="T9" fmla="*/ 0 h 148"/>
                <a:gd name="T10" fmla="*/ 0 w 382"/>
                <a:gd name="T11" fmla="*/ 0 h 148"/>
                <a:gd name="T12" fmla="*/ 0 w 382"/>
                <a:gd name="T13" fmla="*/ 0 h 148"/>
                <a:gd name="T14" fmla="*/ 0 w 382"/>
                <a:gd name="T15" fmla="*/ 0 h 148"/>
                <a:gd name="T16" fmla="*/ 0 w 382"/>
                <a:gd name="T17" fmla="*/ 0 h 148"/>
                <a:gd name="T18" fmla="*/ 0 w 382"/>
                <a:gd name="T19" fmla="*/ 0 h 148"/>
                <a:gd name="T20" fmla="*/ 0 w 382"/>
                <a:gd name="T21" fmla="*/ 0 h 148"/>
                <a:gd name="T22" fmla="*/ 0 w 382"/>
                <a:gd name="T23" fmla="*/ 0 h 148"/>
                <a:gd name="T24" fmla="*/ 0 w 382"/>
                <a:gd name="T25" fmla="*/ 0 h 148"/>
                <a:gd name="T26" fmla="*/ 0 w 382"/>
                <a:gd name="T27" fmla="*/ 0 h 148"/>
                <a:gd name="T28" fmla="*/ 0 w 382"/>
                <a:gd name="T29" fmla="*/ 0 h 148"/>
                <a:gd name="T30" fmla="*/ 0 w 382"/>
                <a:gd name="T31" fmla="*/ 0 h 148"/>
                <a:gd name="T32" fmla="*/ 0 w 382"/>
                <a:gd name="T33" fmla="*/ 0 h 148"/>
                <a:gd name="T34" fmla="*/ 0 w 382"/>
                <a:gd name="T35" fmla="*/ 0 h 148"/>
                <a:gd name="T36" fmla="*/ 0 w 382"/>
                <a:gd name="T37" fmla="*/ 0 h 148"/>
                <a:gd name="T38" fmla="*/ 0 w 382"/>
                <a:gd name="T39" fmla="*/ 0 h 148"/>
                <a:gd name="T40" fmla="*/ 0 w 382"/>
                <a:gd name="T41" fmla="*/ 0 h 148"/>
                <a:gd name="T42" fmla="*/ 0 w 382"/>
                <a:gd name="T43" fmla="*/ 0 h 148"/>
                <a:gd name="T44" fmla="*/ 0 w 382"/>
                <a:gd name="T45" fmla="*/ 0 h 148"/>
                <a:gd name="T46" fmla="*/ 0 w 382"/>
                <a:gd name="T47" fmla="*/ 0 h 148"/>
                <a:gd name="T48" fmla="*/ 0 w 382"/>
                <a:gd name="T49" fmla="*/ 0 h 148"/>
                <a:gd name="T50" fmla="*/ 0 w 382"/>
                <a:gd name="T51" fmla="*/ 0 h 148"/>
                <a:gd name="T52" fmla="*/ 0 w 382"/>
                <a:gd name="T53" fmla="*/ 0 h 148"/>
                <a:gd name="T54" fmla="*/ 0 w 382"/>
                <a:gd name="T55" fmla="*/ 0 h 148"/>
                <a:gd name="T56" fmla="*/ 0 w 382"/>
                <a:gd name="T57" fmla="*/ 0 h 148"/>
                <a:gd name="T58" fmla="*/ 0 w 382"/>
                <a:gd name="T59" fmla="*/ 0 h 148"/>
                <a:gd name="T60" fmla="*/ 0 w 382"/>
                <a:gd name="T61" fmla="*/ 0 h 148"/>
                <a:gd name="T62" fmla="*/ 0 w 382"/>
                <a:gd name="T63" fmla="*/ 0 h 148"/>
                <a:gd name="T64" fmla="*/ 0 w 382"/>
                <a:gd name="T65" fmla="*/ 0 h 148"/>
                <a:gd name="T66" fmla="*/ 0 w 382"/>
                <a:gd name="T67" fmla="*/ 0 h 148"/>
                <a:gd name="T68" fmla="*/ 0 w 382"/>
                <a:gd name="T69" fmla="*/ 0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3" name="Freeform 580"/>
            <p:cNvSpPr>
              <a:spLocks/>
            </p:cNvSpPr>
            <p:nvPr>
              <p:custDataLst>
                <p:tags r:id="rId11"/>
              </p:custDataLst>
            </p:nvPr>
          </p:nvSpPr>
          <p:spPr bwMode="auto">
            <a:xfrm>
              <a:off x="3903" y="1239"/>
              <a:ext cx="875" cy="654"/>
            </a:xfrm>
            <a:custGeom>
              <a:avLst/>
              <a:gdLst>
                <a:gd name="T0" fmla="*/ 0 w 2936"/>
                <a:gd name="T1" fmla="*/ 0 h 1983"/>
                <a:gd name="T2" fmla="*/ 0 w 2936"/>
                <a:gd name="T3" fmla="*/ 0 h 1983"/>
                <a:gd name="T4" fmla="*/ 0 w 2936"/>
                <a:gd name="T5" fmla="*/ 0 h 1983"/>
                <a:gd name="T6" fmla="*/ 0 w 2936"/>
                <a:gd name="T7" fmla="*/ 0 h 1983"/>
                <a:gd name="T8" fmla="*/ 0 w 2936"/>
                <a:gd name="T9" fmla="*/ 0 h 1983"/>
                <a:gd name="T10" fmla="*/ 0 w 2936"/>
                <a:gd name="T11" fmla="*/ 0 h 1983"/>
                <a:gd name="T12" fmla="*/ 0 w 2936"/>
                <a:gd name="T13" fmla="*/ 0 h 1983"/>
                <a:gd name="T14" fmla="*/ 0 w 2936"/>
                <a:gd name="T15" fmla="*/ 0 h 1983"/>
                <a:gd name="T16" fmla="*/ 0 w 2936"/>
                <a:gd name="T17" fmla="*/ 0 h 1983"/>
                <a:gd name="T18" fmla="*/ 0 w 2936"/>
                <a:gd name="T19" fmla="*/ 0 h 1983"/>
                <a:gd name="T20" fmla="*/ 0 w 2936"/>
                <a:gd name="T21" fmla="*/ 0 h 1983"/>
                <a:gd name="T22" fmla="*/ 0 w 2936"/>
                <a:gd name="T23" fmla="*/ 0 h 1983"/>
                <a:gd name="T24" fmla="*/ 0 w 2936"/>
                <a:gd name="T25" fmla="*/ 0 h 1983"/>
                <a:gd name="T26" fmla="*/ 0 w 2936"/>
                <a:gd name="T27" fmla="*/ 0 h 1983"/>
                <a:gd name="T28" fmla="*/ 0 w 2936"/>
                <a:gd name="T29" fmla="*/ 0 h 1983"/>
                <a:gd name="T30" fmla="*/ 0 w 2936"/>
                <a:gd name="T31" fmla="*/ 0 h 1983"/>
                <a:gd name="T32" fmla="*/ 0 w 2936"/>
                <a:gd name="T33" fmla="*/ 0 h 1983"/>
                <a:gd name="T34" fmla="*/ 0 w 2936"/>
                <a:gd name="T35" fmla="*/ 0 h 1983"/>
                <a:gd name="T36" fmla="*/ 0 w 2936"/>
                <a:gd name="T37" fmla="*/ 0 h 1983"/>
                <a:gd name="T38" fmla="*/ 0 w 2936"/>
                <a:gd name="T39" fmla="*/ 0 h 1983"/>
                <a:gd name="T40" fmla="*/ 0 w 2936"/>
                <a:gd name="T41" fmla="*/ 0 h 1983"/>
                <a:gd name="T42" fmla="*/ 0 w 2936"/>
                <a:gd name="T43" fmla="*/ 0 h 1983"/>
                <a:gd name="T44" fmla="*/ 0 w 2936"/>
                <a:gd name="T45" fmla="*/ 0 h 1983"/>
                <a:gd name="T46" fmla="*/ 0 w 2936"/>
                <a:gd name="T47" fmla="*/ 0 h 1983"/>
                <a:gd name="T48" fmla="*/ 0 w 2936"/>
                <a:gd name="T49" fmla="*/ 0 h 1983"/>
                <a:gd name="T50" fmla="*/ 0 w 2936"/>
                <a:gd name="T51" fmla="*/ 0 h 1983"/>
                <a:gd name="T52" fmla="*/ 0 w 2936"/>
                <a:gd name="T53" fmla="*/ 0 h 1983"/>
                <a:gd name="T54" fmla="*/ 0 w 2936"/>
                <a:gd name="T55" fmla="*/ 0 h 1983"/>
                <a:gd name="T56" fmla="*/ 0 w 2936"/>
                <a:gd name="T57" fmla="*/ 0 h 1983"/>
                <a:gd name="T58" fmla="*/ 0 w 2936"/>
                <a:gd name="T59" fmla="*/ 0 h 1983"/>
                <a:gd name="T60" fmla="*/ 0 w 2936"/>
                <a:gd name="T61" fmla="*/ 0 h 1983"/>
                <a:gd name="T62" fmla="*/ 0 w 2936"/>
                <a:gd name="T63" fmla="*/ 0 h 1983"/>
                <a:gd name="T64" fmla="*/ 0 w 2936"/>
                <a:gd name="T65" fmla="*/ 0 h 1983"/>
                <a:gd name="T66" fmla="*/ 0 w 2936"/>
                <a:gd name="T67" fmla="*/ 0 h 1983"/>
                <a:gd name="T68" fmla="*/ 0 w 2936"/>
                <a:gd name="T69" fmla="*/ 0 h 1983"/>
                <a:gd name="T70" fmla="*/ 0 w 2936"/>
                <a:gd name="T71" fmla="*/ 0 h 1983"/>
                <a:gd name="T72" fmla="*/ 0 w 2936"/>
                <a:gd name="T73" fmla="*/ 0 h 1983"/>
                <a:gd name="T74" fmla="*/ 0 w 2936"/>
                <a:gd name="T75" fmla="*/ 0 h 1983"/>
                <a:gd name="T76" fmla="*/ 0 w 2936"/>
                <a:gd name="T77" fmla="*/ 0 h 1983"/>
                <a:gd name="T78" fmla="*/ 0 w 2936"/>
                <a:gd name="T79" fmla="*/ 0 h 1983"/>
                <a:gd name="T80" fmla="*/ 0 w 2936"/>
                <a:gd name="T81" fmla="*/ 0 h 1983"/>
                <a:gd name="T82" fmla="*/ 0 w 2936"/>
                <a:gd name="T83" fmla="*/ 0 h 1983"/>
                <a:gd name="T84" fmla="*/ 0 w 2936"/>
                <a:gd name="T85" fmla="*/ 0 h 1983"/>
                <a:gd name="T86" fmla="*/ 0 w 2936"/>
                <a:gd name="T87" fmla="*/ 0 h 1983"/>
                <a:gd name="T88" fmla="*/ 0 w 2936"/>
                <a:gd name="T89" fmla="*/ 0 h 1983"/>
                <a:gd name="T90" fmla="*/ 0 w 2936"/>
                <a:gd name="T91" fmla="*/ 0 h 1983"/>
                <a:gd name="T92" fmla="*/ 0 w 2936"/>
                <a:gd name="T93" fmla="*/ 0 h 1983"/>
                <a:gd name="T94" fmla="*/ 0 w 2936"/>
                <a:gd name="T95" fmla="*/ 0 h 1983"/>
                <a:gd name="T96" fmla="*/ 0 w 2936"/>
                <a:gd name="T97" fmla="*/ 0 h 1983"/>
                <a:gd name="T98" fmla="*/ 0 w 2936"/>
                <a:gd name="T99" fmla="*/ 0 h 1983"/>
                <a:gd name="T100" fmla="*/ 0 w 2936"/>
                <a:gd name="T101" fmla="*/ 0 h 1983"/>
                <a:gd name="T102" fmla="*/ 0 w 2936"/>
                <a:gd name="T103" fmla="*/ 0 h 1983"/>
                <a:gd name="T104" fmla="*/ 0 w 2936"/>
                <a:gd name="T105" fmla="*/ 0 h 1983"/>
                <a:gd name="T106" fmla="*/ 0 w 2936"/>
                <a:gd name="T107" fmla="*/ 0 h 1983"/>
                <a:gd name="T108" fmla="*/ 0 w 2936"/>
                <a:gd name="T109" fmla="*/ 0 h 1983"/>
                <a:gd name="T110" fmla="*/ 0 w 2936"/>
                <a:gd name="T111" fmla="*/ 0 h 1983"/>
                <a:gd name="T112" fmla="*/ 0 w 2936"/>
                <a:gd name="T113" fmla="*/ 0 h 1983"/>
                <a:gd name="T114" fmla="*/ 0 w 2936"/>
                <a:gd name="T115" fmla="*/ 0 h 1983"/>
                <a:gd name="T116" fmla="*/ 0 w 2936"/>
                <a:gd name="T117" fmla="*/ 0 h 1983"/>
                <a:gd name="T118" fmla="*/ 0 w 2936"/>
                <a:gd name="T119" fmla="*/ 0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4" name="Freeform 581"/>
            <p:cNvSpPr>
              <a:spLocks/>
            </p:cNvSpPr>
            <p:nvPr>
              <p:custDataLst>
                <p:tags r:id="rId12"/>
              </p:custDataLst>
            </p:nvPr>
          </p:nvSpPr>
          <p:spPr bwMode="auto">
            <a:xfrm>
              <a:off x="3011" y="950"/>
              <a:ext cx="150" cy="172"/>
            </a:xfrm>
            <a:custGeom>
              <a:avLst/>
              <a:gdLst>
                <a:gd name="T0" fmla="*/ 0 w 504"/>
                <a:gd name="T1" fmla="*/ 0 h 524"/>
                <a:gd name="T2" fmla="*/ 0 w 504"/>
                <a:gd name="T3" fmla="*/ 0 h 524"/>
                <a:gd name="T4" fmla="*/ 0 w 504"/>
                <a:gd name="T5" fmla="*/ 0 h 524"/>
                <a:gd name="T6" fmla="*/ 0 w 504"/>
                <a:gd name="T7" fmla="*/ 0 h 524"/>
                <a:gd name="T8" fmla="*/ 0 w 504"/>
                <a:gd name="T9" fmla="*/ 0 h 524"/>
                <a:gd name="T10" fmla="*/ 0 w 504"/>
                <a:gd name="T11" fmla="*/ 0 h 524"/>
                <a:gd name="T12" fmla="*/ 0 w 504"/>
                <a:gd name="T13" fmla="*/ 0 h 524"/>
                <a:gd name="T14" fmla="*/ 0 w 504"/>
                <a:gd name="T15" fmla="*/ 0 h 524"/>
                <a:gd name="T16" fmla="*/ 0 w 504"/>
                <a:gd name="T17" fmla="*/ 0 h 524"/>
                <a:gd name="T18" fmla="*/ 0 w 504"/>
                <a:gd name="T19" fmla="*/ 0 h 524"/>
                <a:gd name="T20" fmla="*/ 0 w 504"/>
                <a:gd name="T21" fmla="*/ 0 h 524"/>
                <a:gd name="T22" fmla="*/ 0 w 504"/>
                <a:gd name="T23" fmla="*/ 0 h 524"/>
                <a:gd name="T24" fmla="*/ 0 w 504"/>
                <a:gd name="T25" fmla="*/ 0 h 524"/>
                <a:gd name="T26" fmla="*/ 0 w 504"/>
                <a:gd name="T27" fmla="*/ 0 h 524"/>
                <a:gd name="T28" fmla="*/ 0 w 504"/>
                <a:gd name="T29" fmla="*/ 0 h 524"/>
                <a:gd name="T30" fmla="*/ 0 w 504"/>
                <a:gd name="T31" fmla="*/ 0 h 524"/>
                <a:gd name="T32" fmla="*/ 0 w 504"/>
                <a:gd name="T33" fmla="*/ 0 h 524"/>
                <a:gd name="T34" fmla="*/ 0 w 504"/>
                <a:gd name="T35" fmla="*/ 0 h 524"/>
                <a:gd name="T36" fmla="*/ 0 w 504"/>
                <a:gd name="T37" fmla="*/ 0 h 524"/>
                <a:gd name="T38" fmla="*/ 0 w 504"/>
                <a:gd name="T39" fmla="*/ 0 h 524"/>
                <a:gd name="T40" fmla="*/ 0 w 504"/>
                <a:gd name="T41" fmla="*/ 0 h 524"/>
                <a:gd name="T42" fmla="*/ 0 w 504"/>
                <a:gd name="T43" fmla="*/ 0 h 524"/>
                <a:gd name="T44" fmla="*/ 0 w 504"/>
                <a:gd name="T45" fmla="*/ 0 h 524"/>
                <a:gd name="T46" fmla="*/ 0 w 504"/>
                <a:gd name="T47" fmla="*/ 0 h 524"/>
                <a:gd name="T48" fmla="*/ 0 w 504"/>
                <a:gd name="T49" fmla="*/ 0 h 524"/>
                <a:gd name="T50" fmla="*/ 0 w 504"/>
                <a:gd name="T51" fmla="*/ 0 h 524"/>
                <a:gd name="T52" fmla="*/ 0 w 504"/>
                <a:gd name="T53" fmla="*/ 0 h 524"/>
                <a:gd name="T54" fmla="*/ 0 w 504"/>
                <a:gd name="T55" fmla="*/ 0 h 524"/>
                <a:gd name="T56" fmla="*/ 0 w 504"/>
                <a:gd name="T57" fmla="*/ 0 h 524"/>
                <a:gd name="T58" fmla="*/ 0 w 504"/>
                <a:gd name="T59" fmla="*/ 0 h 524"/>
                <a:gd name="T60" fmla="*/ 0 w 504"/>
                <a:gd name="T61" fmla="*/ 0 h 524"/>
                <a:gd name="T62" fmla="*/ 0 w 504"/>
                <a:gd name="T63" fmla="*/ 0 h 524"/>
                <a:gd name="T64" fmla="*/ 0 w 504"/>
                <a:gd name="T65" fmla="*/ 0 h 524"/>
                <a:gd name="T66" fmla="*/ 0 w 504"/>
                <a:gd name="T67" fmla="*/ 0 h 524"/>
                <a:gd name="T68" fmla="*/ 0 w 504"/>
                <a:gd name="T69" fmla="*/ 0 h 524"/>
                <a:gd name="T70" fmla="*/ 0 w 504"/>
                <a:gd name="T71" fmla="*/ 0 h 524"/>
                <a:gd name="T72" fmla="*/ 0 w 504"/>
                <a:gd name="T73" fmla="*/ 0 h 524"/>
                <a:gd name="T74" fmla="*/ 0 w 504"/>
                <a:gd name="T75" fmla="*/ 0 h 524"/>
                <a:gd name="T76" fmla="*/ 0 w 504"/>
                <a:gd name="T77" fmla="*/ 0 h 524"/>
                <a:gd name="T78" fmla="*/ 0 w 504"/>
                <a:gd name="T79" fmla="*/ 0 h 524"/>
                <a:gd name="T80" fmla="*/ 0 w 504"/>
                <a:gd name="T81" fmla="*/ 0 h 524"/>
                <a:gd name="T82" fmla="*/ 0 w 504"/>
                <a:gd name="T83" fmla="*/ 0 h 524"/>
                <a:gd name="T84" fmla="*/ 0 w 504"/>
                <a:gd name="T85" fmla="*/ 0 h 524"/>
                <a:gd name="T86" fmla="*/ 0 w 504"/>
                <a:gd name="T87" fmla="*/ 0 h 524"/>
                <a:gd name="T88" fmla="*/ 0 w 504"/>
                <a:gd name="T89" fmla="*/ 0 h 524"/>
                <a:gd name="T90" fmla="*/ 0 w 504"/>
                <a:gd name="T91" fmla="*/ 0 h 524"/>
                <a:gd name="T92" fmla="*/ 0 w 504"/>
                <a:gd name="T93" fmla="*/ 0 h 524"/>
                <a:gd name="T94" fmla="*/ 0 w 504"/>
                <a:gd name="T95" fmla="*/ 0 h 524"/>
                <a:gd name="T96" fmla="*/ 0 w 504"/>
                <a:gd name="T97" fmla="*/ 0 h 524"/>
                <a:gd name="T98" fmla="*/ 0 w 504"/>
                <a:gd name="T99" fmla="*/ 0 h 524"/>
                <a:gd name="T100" fmla="*/ 0 w 504"/>
                <a:gd name="T101" fmla="*/ 0 h 524"/>
                <a:gd name="T102" fmla="*/ 0 w 504"/>
                <a:gd name="T103" fmla="*/ 0 h 524"/>
                <a:gd name="T104" fmla="*/ 0 w 504"/>
                <a:gd name="T105" fmla="*/ 0 h 524"/>
                <a:gd name="T106" fmla="*/ 0 w 504"/>
                <a:gd name="T107" fmla="*/ 0 h 524"/>
                <a:gd name="T108" fmla="*/ 0 w 504"/>
                <a:gd name="T109" fmla="*/ 0 h 524"/>
                <a:gd name="T110" fmla="*/ 0 w 504"/>
                <a:gd name="T111" fmla="*/ 0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5" name="Freeform 582"/>
            <p:cNvSpPr>
              <a:spLocks/>
            </p:cNvSpPr>
            <p:nvPr>
              <p:custDataLst>
                <p:tags r:id="rId13"/>
              </p:custDataLst>
            </p:nvPr>
          </p:nvSpPr>
          <p:spPr bwMode="auto">
            <a:xfrm>
              <a:off x="2831" y="1213"/>
              <a:ext cx="124" cy="150"/>
            </a:xfrm>
            <a:custGeom>
              <a:avLst/>
              <a:gdLst>
                <a:gd name="T0" fmla="*/ 0 w 438"/>
                <a:gd name="T1" fmla="*/ 0 h 451"/>
                <a:gd name="T2" fmla="*/ 0 w 438"/>
                <a:gd name="T3" fmla="*/ 0 h 451"/>
                <a:gd name="T4" fmla="*/ 0 w 438"/>
                <a:gd name="T5" fmla="*/ 0 h 451"/>
                <a:gd name="T6" fmla="*/ 0 w 438"/>
                <a:gd name="T7" fmla="*/ 0 h 451"/>
                <a:gd name="T8" fmla="*/ 0 w 438"/>
                <a:gd name="T9" fmla="*/ 0 h 451"/>
                <a:gd name="T10" fmla="*/ 0 w 438"/>
                <a:gd name="T11" fmla="*/ 0 h 451"/>
                <a:gd name="T12" fmla="*/ 0 w 438"/>
                <a:gd name="T13" fmla="*/ 0 h 451"/>
                <a:gd name="T14" fmla="*/ 0 w 438"/>
                <a:gd name="T15" fmla="*/ 0 h 451"/>
                <a:gd name="T16" fmla="*/ 0 w 438"/>
                <a:gd name="T17" fmla="*/ 0 h 451"/>
                <a:gd name="T18" fmla="*/ 0 w 438"/>
                <a:gd name="T19" fmla="*/ 0 h 451"/>
                <a:gd name="T20" fmla="*/ 0 w 438"/>
                <a:gd name="T21" fmla="*/ 0 h 451"/>
                <a:gd name="T22" fmla="*/ 0 w 438"/>
                <a:gd name="T23" fmla="*/ 0 h 451"/>
                <a:gd name="T24" fmla="*/ 0 w 438"/>
                <a:gd name="T25" fmla="*/ 0 h 451"/>
                <a:gd name="T26" fmla="*/ 0 w 438"/>
                <a:gd name="T27" fmla="*/ 0 h 451"/>
                <a:gd name="T28" fmla="*/ 0 w 438"/>
                <a:gd name="T29" fmla="*/ 0 h 451"/>
                <a:gd name="T30" fmla="*/ 0 w 438"/>
                <a:gd name="T31" fmla="*/ 0 h 451"/>
                <a:gd name="T32" fmla="*/ 0 w 438"/>
                <a:gd name="T33" fmla="*/ 0 h 451"/>
                <a:gd name="T34" fmla="*/ 0 w 438"/>
                <a:gd name="T35" fmla="*/ 0 h 451"/>
                <a:gd name="T36" fmla="*/ 0 w 438"/>
                <a:gd name="T37" fmla="*/ 0 h 451"/>
                <a:gd name="T38" fmla="*/ 0 w 438"/>
                <a:gd name="T39" fmla="*/ 0 h 451"/>
                <a:gd name="T40" fmla="*/ 0 w 438"/>
                <a:gd name="T41" fmla="*/ 0 h 451"/>
                <a:gd name="T42" fmla="*/ 0 w 438"/>
                <a:gd name="T43" fmla="*/ 0 h 451"/>
                <a:gd name="T44" fmla="*/ 0 w 438"/>
                <a:gd name="T45" fmla="*/ 0 h 451"/>
                <a:gd name="T46" fmla="*/ 0 w 438"/>
                <a:gd name="T47" fmla="*/ 0 h 451"/>
                <a:gd name="T48" fmla="*/ 0 w 438"/>
                <a:gd name="T49" fmla="*/ 0 h 451"/>
                <a:gd name="T50" fmla="*/ 0 w 438"/>
                <a:gd name="T51" fmla="*/ 0 h 451"/>
                <a:gd name="T52" fmla="*/ 0 w 438"/>
                <a:gd name="T53" fmla="*/ 0 h 451"/>
                <a:gd name="T54" fmla="*/ 0 w 438"/>
                <a:gd name="T55" fmla="*/ 0 h 451"/>
                <a:gd name="T56" fmla="*/ 0 w 438"/>
                <a:gd name="T57" fmla="*/ 0 h 451"/>
                <a:gd name="T58" fmla="*/ 0 w 438"/>
                <a:gd name="T59" fmla="*/ 0 h 451"/>
                <a:gd name="T60" fmla="*/ 0 w 438"/>
                <a:gd name="T61" fmla="*/ 0 h 451"/>
                <a:gd name="T62" fmla="*/ 0 w 438"/>
                <a:gd name="T63" fmla="*/ 0 h 451"/>
                <a:gd name="T64" fmla="*/ 0 w 438"/>
                <a:gd name="T65" fmla="*/ 0 h 451"/>
                <a:gd name="T66" fmla="*/ 0 w 438"/>
                <a:gd name="T67" fmla="*/ 0 h 451"/>
                <a:gd name="T68" fmla="*/ 0 w 438"/>
                <a:gd name="T69" fmla="*/ 0 h 451"/>
                <a:gd name="T70" fmla="*/ 0 w 438"/>
                <a:gd name="T71" fmla="*/ 0 h 451"/>
                <a:gd name="T72" fmla="*/ 0 w 438"/>
                <a:gd name="T73" fmla="*/ 0 h 451"/>
                <a:gd name="T74" fmla="*/ 0 w 438"/>
                <a:gd name="T75" fmla="*/ 0 h 451"/>
                <a:gd name="T76" fmla="*/ 0 w 438"/>
                <a:gd name="T77" fmla="*/ 0 h 451"/>
                <a:gd name="T78" fmla="*/ 0 w 438"/>
                <a:gd name="T79" fmla="*/ 0 h 451"/>
                <a:gd name="T80" fmla="*/ 0 w 438"/>
                <a:gd name="T81" fmla="*/ 0 h 451"/>
                <a:gd name="T82" fmla="*/ 0 w 438"/>
                <a:gd name="T83" fmla="*/ 0 h 451"/>
                <a:gd name="T84" fmla="*/ 0 w 438"/>
                <a:gd name="T85" fmla="*/ 0 h 451"/>
                <a:gd name="T86" fmla="*/ 0 w 438"/>
                <a:gd name="T87" fmla="*/ 0 h 451"/>
                <a:gd name="T88" fmla="*/ 0 w 438"/>
                <a:gd name="T89" fmla="*/ 0 h 451"/>
                <a:gd name="T90" fmla="*/ 0 w 438"/>
                <a:gd name="T91" fmla="*/ 0 h 451"/>
                <a:gd name="T92" fmla="*/ 0 w 438"/>
                <a:gd name="T93" fmla="*/ 0 h 451"/>
                <a:gd name="T94" fmla="*/ 0 w 438"/>
                <a:gd name="T95" fmla="*/ 0 h 451"/>
                <a:gd name="T96" fmla="*/ 0 w 438"/>
                <a:gd name="T97" fmla="*/ 0 h 451"/>
                <a:gd name="T98" fmla="*/ 0 w 438"/>
                <a:gd name="T99" fmla="*/ 0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6" name="Freeform 583"/>
            <p:cNvSpPr>
              <a:spLocks/>
            </p:cNvSpPr>
            <p:nvPr>
              <p:custDataLst>
                <p:tags r:id="rId14"/>
              </p:custDataLst>
            </p:nvPr>
          </p:nvSpPr>
          <p:spPr bwMode="auto">
            <a:xfrm>
              <a:off x="2848" y="1375"/>
              <a:ext cx="171" cy="173"/>
            </a:xfrm>
            <a:custGeom>
              <a:avLst/>
              <a:gdLst>
                <a:gd name="T0" fmla="*/ 0 w 578"/>
                <a:gd name="T1" fmla="*/ 0 h 524"/>
                <a:gd name="T2" fmla="*/ 0 w 578"/>
                <a:gd name="T3" fmla="*/ 0 h 524"/>
                <a:gd name="T4" fmla="*/ 0 w 578"/>
                <a:gd name="T5" fmla="*/ 0 h 524"/>
                <a:gd name="T6" fmla="*/ 0 w 578"/>
                <a:gd name="T7" fmla="*/ 0 h 524"/>
                <a:gd name="T8" fmla="*/ 0 w 578"/>
                <a:gd name="T9" fmla="*/ 0 h 524"/>
                <a:gd name="T10" fmla="*/ 0 w 578"/>
                <a:gd name="T11" fmla="*/ 0 h 524"/>
                <a:gd name="T12" fmla="*/ 0 w 578"/>
                <a:gd name="T13" fmla="*/ 0 h 524"/>
                <a:gd name="T14" fmla="*/ 0 w 578"/>
                <a:gd name="T15" fmla="*/ 0 h 524"/>
                <a:gd name="T16" fmla="*/ 0 w 578"/>
                <a:gd name="T17" fmla="*/ 0 h 524"/>
                <a:gd name="T18" fmla="*/ 0 w 578"/>
                <a:gd name="T19" fmla="*/ 0 h 524"/>
                <a:gd name="T20" fmla="*/ 0 w 578"/>
                <a:gd name="T21" fmla="*/ 0 h 524"/>
                <a:gd name="T22" fmla="*/ 0 w 578"/>
                <a:gd name="T23" fmla="*/ 0 h 524"/>
                <a:gd name="T24" fmla="*/ 0 w 578"/>
                <a:gd name="T25" fmla="*/ 0 h 524"/>
                <a:gd name="T26" fmla="*/ 0 w 578"/>
                <a:gd name="T27" fmla="*/ 0 h 524"/>
                <a:gd name="T28" fmla="*/ 0 w 578"/>
                <a:gd name="T29" fmla="*/ 0 h 524"/>
                <a:gd name="T30" fmla="*/ 0 w 578"/>
                <a:gd name="T31" fmla="*/ 0 h 524"/>
                <a:gd name="T32" fmla="*/ 0 w 578"/>
                <a:gd name="T33" fmla="*/ 0 h 524"/>
                <a:gd name="T34" fmla="*/ 0 w 578"/>
                <a:gd name="T35" fmla="*/ 0 h 524"/>
                <a:gd name="T36" fmla="*/ 0 w 578"/>
                <a:gd name="T37" fmla="*/ 0 h 524"/>
                <a:gd name="T38" fmla="*/ 0 w 578"/>
                <a:gd name="T39" fmla="*/ 0 h 524"/>
                <a:gd name="T40" fmla="*/ 0 w 578"/>
                <a:gd name="T41" fmla="*/ 0 h 524"/>
                <a:gd name="T42" fmla="*/ 0 w 578"/>
                <a:gd name="T43" fmla="*/ 0 h 524"/>
                <a:gd name="T44" fmla="*/ 0 w 578"/>
                <a:gd name="T45" fmla="*/ 0 h 524"/>
                <a:gd name="T46" fmla="*/ 0 w 578"/>
                <a:gd name="T47" fmla="*/ 0 h 524"/>
                <a:gd name="T48" fmla="*/ 0 w 578"/>
                <a:gd name="T49" fmla="*/ 0 h 524"/>
                <a:gd name="T50" fmla="*/ 0 w 578"/>
                <a:gd name="T51" fmla="*/ 0 h 524"/>
                <a:gd name="T52" fmla="*/ 0 w 578"/>
                <a:gd name="T53" fmla="*/ 0 h 524"/>
                <a:gd name="T54" fmla="*/ 0 w 578"/>
                <a:gd name="T55" fmla="*/ 0 h 524"/>
                <a:gd name="T56" fmla="*/ 0 w 578"/>
                <a:gd name="T57" fmla="*/ 0 h 524"/>
                <a:gd name="T58" fmla="*/ 0 w 578"/>
                <a:gd name="T59" fmla="*/ 0 h 524"/>
                <a:gd name="T60" fmla="*/ 0 w 578"/>
                <a:gd name="T61" fmla="*/ 0 h 524"/>
                <a:gd name="T62" fmla="*/ 0 w 578"/>
                <a:gd name="T63" fmla="*/ 0 h 524"/>
                <a:gd name="T64" fmla="*/ 0 w 578"/>
                <a:gd name="T65" fmla="*/ 0 h 524"/>
                <a:gd name="T66" fmla="*/ 0 w 578"/>
                <a:gd name="T67" fmla="*/ 0 h 524"/>
                <a:gd name="T68" fmla="*/ 0 w 578"/>
                <a:gd name="T69" fmla="*/ 0 h 524"/>
                <a:gd name="T70" fmla="*/ 0 w 578"/>
                <a:gd name="T71" fmla="*/ 0 h 524"/>
                <a:gd name="T72" fmla="*/ 0 w 578"/>
                <a:gd name="T73" fmla="*/ 0 h 524"/>
                <a:gd name="T74" fmla="*/ 0 w 578"/>
                <a:gd name="T75" fmla="*/ 0 h 524"/>
                <a:gd name="T76" fmla="*/ 0 w 578"/>
                <a:gd name="T77" fmla="*/ 0 h 524"/>
                <a:gd name="T78" fmla="*/ 0 w 578"/>
                <a:gd name="T79" fmla="*/ 0 h 524"/>
                <a:gd name="T80" fmla="*/ 0 w 578"/>
                <a:gd name="T81" fmla="*/ 0 h 524"/>
                <a:gd name="T82" fmla="*/ 0 w 578"/>
                <a:gd name="T83" fmla="*/ 0 h 524"/>
                <a:gd name="T84" fmla="*/ 0 w 578"/>
                <a:gd name="T85" fmla="*/ 0 h 524"/>
                <a:gd name="T86" fmla="*/ 0 w 578"/>
                <a:gd name="T87" fmla="*/ 0 h 524"/>
                <a:gd name="T88" fmla="*/ 0 w 578"/>
                <a:gd name="T89" fmla="*/ 0 h 524"/>
                <a:gd name="T90" fmla="*/ 0 w 578"/>
                <a:gd name="T91" fmla="*/ 0 h 524"/>
                <a:gd name="T92" fmla="*/ 0 w 578"/>
                <a:gd name="T93" fmla="*/ 0 h 524"/>
                <a:gd name="T94" fmla="*/ 0 w 578"/>
                <a:gd name="T95" fmla="*/ 0 h 524"/>
                <a:gd name="T96" fmla="*/ 0 w 578"/>
                <a:gd name="T97" fmla="*/ 0 h 524"/>
                <a:gd name="T98" fmla="*/ 0 w 578"/>
                <a:gd name="T99" fmla="*/ 0 h 524"/>
                <a:gd name="T100" fmla="*/ 0 w 578"/>
                <a:gd name="T101" fmla="*/ 0 h 524"/>
                <a:gd name="T102" fmla="*/ 0 w 578"/>
                <a:gd name="T103" fmla="*/ 0 h 524"/>
                <a:gd name="T104" fmla="*/ 0 w 578"/>
                <a:gd name="T105" fmla="*/ 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7" name="Freeform 584"/>
            <p:cNvSpPr>
              <a:spLocks/>
            </p:cNvSpPr>
            <p:nvPr>
              <p:custDataLst>
                <p:tags r:id="rId15"/>
              </p:custDataLst>
            </p:nvPr>
          </p:nvSpPr>
          <p:spPr bwMode="auto">
            <a:xfrm>
              <a:off x="2860" y="1481"/>
              <a:ext cx="23" cy="52"/>
            </a:xfrm>
            <a:custGeom>
              <a:avLst/>
              <a:gdLst>
                <a:gd name="T0" fmla="*/ 0 w 79"/>
                <a:gd name="T1" fmla="*/ 0 h 160"/>
                <a:gd name="T2" fmla="*/ 0 w 79"/>
                <a:gd name="T3" fmla="*/ 0 h 160"/>
                <a:gd name="T4" fmla="*/ 0 w 79"/>
                <a:gd name="T5" fmla="*/ 0 h 160"/>
                <a:gd name="T6" fmla="*/ 0 w 79"/>
                <a:gd name="T7" fmla="*/ 0 h 160"/>
                <a:gd name="T8" fmla="*/ 0 w 79"/>
                <a:gd name="T9" fmla="*/ 0 h 160"/>
                <a:gd name="T10" fmla="*/ 0 w 79"/>
                <a:gd name="T11" fmla="*/ 0 h 160"/>
                <a:gd name="T12" fmla="*/ 0 w 79"/>
                <a:gd name="T13" fmla="*/ 0 h 160"/>
                <a:gd name="T14" fmla="*/ 0 w 79"/>
                <a:gd name="T15" fmla="*/ 0 h 160"/>
                <a:gd name="T16" fmla="*/ 0 w 79"/>
                <a:gd name="T17" fmla="*/ 0 h 160"/>
                <a:gd name="T18" fmla="*/ 0 w 79"/>
                <a:gd name="T19" fmla="*/ 0 h 160"/>
                <a:gd name="T20" fmla="*/ 0 w 79"/>
                <a:gd name="T21" fmla="*/ 0 h 160"/>
                <a:gd name="T22" fmla="*/ 0 w 79"/>
                <a:gd name="T23" fmla="*/ 0 h 160"/>
                <a:gd name="T24" fmla="*/ 0 w 79"/>
                <a:gd name="T25" fmla="*/ 0 h 160"/>
                <a:gd name="T26" fmla="*/ 0 w 79"/>
                <a:gd name="T27" fmla="*/ 0 h 160"/>
                <a:gd name="T28" fmla="*/ 0 w 79"/>
                <a:gd name="T29" fmla="*/ 0 h 160"/>
                <a:gd name="T30" fmla="*/ 0 w 79"/>
                <a:gd name="T31" fmla="*/ 0 h 160"/>
                <a:gd name="T32" fmla="*/ 0 w 79"/>
                <a:gd name="T33" fmla="*/ 0 h 160"/>
                <a:gd name="T34" fmla="*/ 0 w 79"/>
                <a:gd name="T35" fmla="*/ 0 h 160"/>
                <a:gd name="T36" fmla="*/ 0 w 79"/>
                <a:gd name="T37" fmla="*/ 0 h 160"/>
                <a:gd name="T38" fmla="*/ 0 w 79"/>
                <a:gd name="T39" fmla="*/ 0 h 160"/>
                <a:gd name="T40" fmla="*/ 0 w 79"/>
                <a:gd name="T41" fmla="*/ 0 h 160"/>
                <a:gd name="T42" fmla="*/ 0 w 79"/>
                <a:gd name="T43" fmla="*/ 0 h 160"/>
                <a:gd name="T44" fmla="*/ 0 w 79"/>
                <a:gd name="T45" fmla="*/ 0 h 160"/>
                <a:gd name="T46" fmla="*/ 0 w 79"/>
                <a:gd name="T47" fmla="*/ 0 h 160"/>
                <a:gd name="T48" fmla="*/ 0 w 79"/>
                <a:gd name="T49" fmla="*/ 0 h 160"/>
                <a:gd name="T50" fmla="*/ 0 w 79"/>
                <a:gd name="T51" fmla="*/ 0 h 160"/>
                <a:gd name="T52" fmla="*/ 0 w 79"/>
                <a:gd name="T53" fmla="*/ 0 h 160"/>
                <a:gd name="T54" fmla="*/ 0 w 79"/>
                <a:gd name="T55" fmla="*/ 0 h 160"/>
                <a:gd name="T56" fmla="*/ 0 w 79"/>
                <a:gd name="T57" fmla="*/ 0 h 160"/>
                <a:gd name="T58" fmla="*/ 0 w 79"/>
                <a:gd name="T59" fmla="*/ 0 h 160"/>
                <a:gd name="T60" fmla="*/ 0 w 79"/>
                <a:gd name="T61" fmla="*/ 0 h 160"/>
                <a:gd name="T62" fmla="*/ 0 w 79"/>
                <a:gd name="T63" fmla="*/ 0 h 160"/>
                <a:gd name="T64" fmla="*/ 0 w 79"/>
                <a:gd name="T65" fmla="*/ 0 h 160"/>
                <a:gd name="T66" fmla="*/ 0 w 79"/>
                <a:gd name="T67" fmla="*/ 0 h 160"/>
                <a:gd name="T68" fmla="*/ 0 w 79"/>
                <a:gd name="T69" fmla="*/ 0 h 160"/>
                <a:gd name="T70" fmla="*/ 0 w 79"/>
                <a:gd name="T71" fmla="*/ 0 h 160"/>
                <a:gd name="T72" fmla="*/ 0 w 79"/>
                <a:gd name="T73" fmla="*/ 0 h 160"/>
                <a:gd name="T74" fmla="*/ 0 w 79"/>
                <a:gd name="T75" fmla="*/ 0 h 160"/>
                <a:gd name="T76" fmla="*/ 0 w 79"/>
                <a:gd name="T77" fmla="*/ 0 h 160"/>
                <a:gd name="T78" fmla="*/ 0 w 79"/>
                <a:gd name="T79" fmla="*/ 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3" name="Group 585"/>
            <p:cNvGrpSpPr>
              <a:grpSpLocks/>
            </p:cNvGrpSpPr>
            <p:nvPr>
              <p:custDataLst>
                <p:tags r:id="rId16"/>
              </p:custDataLst>
            </p:nvPr>
          </p:nvGrpSpPr>
          <p:grpSpPr bwMode="auto">
            <a:xfrm>
              <a:off x="4443" y="2149"/>
              <a:ext cx="323" cy="134"/>
              <a:chOff x="4488" y="2394"/>
              <a:chExt cx="358" cy="124"/>
            </a:xfrm>
            <a:grpFill/>
          </p:grpSpPr>
          <p:sp>
            <p:nvSpPr>
              <p:cNvPr id="18998" name="Freeform 586"/>
              <p:cNvSpPr>
                <a:spLocks/>
              </p:cNvSpPr>
              <p:nvPr/>
            </p:nvSpPr>
            <p:spPr bwMode="auto">
              <a:xfrm>
                <a:off x="4675" y="2394"/>
                <a:ext cx="171" cy="124"/>
              </a:xfrm>
              <a:custGeom>
                <a:avLst/>
                <a:gdLst>
                  <a:gd name="T0" fmla="*/ 0 w 512"/>
                  <a:gd name="T1" fmla="*/ 0 h 408"/>
                  <a:gd name="T2" fmla="*/ 0 w 512"/>
                  <a:gd name="T3" fmla="*/ 0 h 408"/>
                  <a:gd name="T4" fmla="*/ 0 w 512"/>
                  <a:gd name="T5" fmla="*/ 0 h 408"/>
                  <a:gd name="T6" fmla="*/ 0 w 512"/>
                  <a:gd name="T7" fmla="*/ 0 h 408"/>
                  <a:gd name="T8" fmla="*/ 0 w 512"/>
                  <a:gd name="T9" fmla="*/ 0 h 408"/>
                  <a:gd name="T10" fmla="*/ 0 w 512"/>
                  <a:gd name="T11" fmla="*/ 0 h 408"/>
                  <a:gd name="T12" fmla="*/ 0 w 512"/>
                  <a:gd name="T13" fmla="*/ 0 h 408"/>
                  <a:gd name="T14" fmla="*/ 0 w 512"/>
                  <a:gd name="T15" fmla="*/ 0 h 408"/>
                  <a:gd name="T16" fmla="*/ 0 w 512"/>
                  <a:gd name="T17" fmla="*/ 0 h 408"/>
                  <a:gd name="T18" fmla="*/ 0 w 512"/>
                  <a:gd name="T19" fmla="*/ 0 h 408"/>
                  <a:gd name="T20" fmla="*/ 0 w 512"/>
                  <a:gd name="T21" fmla="*/ 0 h 408"/>
                  <a:gd name="T22" fmla="*/ 0 w 512"/>
                  <a:gd name="T23" fmla="*/ 0 h 408"/>
                  <a:gd name="T24" fmla="*/ 0 w 512"/>
                  <a:gd name="T25" fmla="*/ 0 h 408"/>
                  <a:gd name="T26" fmla="*/ 0 w 512"/>
                  <a:gd name="T27" fmla="*/ 0 h 408"/>
                  <a:gd name="T28" fmla="*/ 0 w 512"/>
                  <a:gd name="T29" fmla="*/ 0 h 408"/>
                  <a:gd name="T30" fmla="*/ 0 w 512"/>
                  <a:gd name="T31" fmla="*/ 0 h 408"/>
                  <a:gd name="T32" fmla="*/ 0 w 512"/>
                  <a:gd name="T33" fmla="*/ 0 h 408"/>
                  <a:gd name="T34" fmla="*/ 0 w 512"/>
                  <a:gd name="T35" fmla="*/ 0 h 408"/>
                  <a:gd name="T36" fmla="*/ 0 w 512"/>
                  <a:gd name="T37" fmla="*/ 0 h 408"/>
                  <a:gd name="T38" fmla="*/ 0 w 512"/>
                  <a:gd name="T39" fmla="*/ 0 h 408"/>
                  <a:gd name="T40" fmla="*/ 0 w 512"/>
                  <a:gd name="T41" fmla="*/ 0 h 408"/>
                  <a:gd name="T42" fmla="*/ 0 w 512"/>
                  <a:gd name="T43" fmla="*/ 0 h 408"/>
                  <a:gd name="T44" fmla="*/ 0 w 512"/>
                  <a:gd name="T45" fmla="*/ 0 h 408"/>
                  <a:gd name="T46" fmla="*/ 0 w 512"/>
                  <a:gd name="T47" fmla="*/ 0 h 408"/>
                  <a:gd name="T48" fmla="*/ 0 w 512"/>
                  <a:gd name="T49" fmla="*/ 0 h 408"/>
                  <a:gd name="T50" fmla="*/ 0 w 512"/>
                  <a:gd name="T51" fmla="*/ 0 h 408"/>
                  <a:gd name="T52" fmla="*/ 0 w 512"/>
                  <a:gd name="T53" fmla="*/ 0 h 408"/>
                  <a:gd name="T54" fmla="*/ 0 w 512"/>
                  <a:gd name="T55" fmla="*/ 0 h 408"/>
                  <a:gd name="T56" fmla="*/ 0 w 512"/>
                  <a:gd name="T57" fmla="*/ 0 h 408"/>
                  <a:gd name="T58" fmla="*/ 0 w 512"/>
                  <a:gd name="T59" fmla="*/ 0 h 408"/>
                  <a:gd name="T60" fmla="*/ 0 w 512"/>
                  <a:gd name="T61" fmla="*/ 0 h 408"/>
                  <a:gd name="T62" fmla="*/ 0 w 512"/>
                  <a:gd name="T63" fmla="*/ 0 h 408"/>
                  <a:gd name="T64" fmla="*/ 0 w 512"/>
                  <a:gd name="T65" fmla="*/ 0 h 408"/>
                  <a:gd name="T66" fmla="*/ 0 w 512"/>
                  <a:gd name="T67" fmla="*/ 0 h 408"/>
                  <a:gd name="T68" fmla="*/ 0 w 512"/>
                  <a:gd name="T69" fmla="*/ 0 h 408"/>
                  <a:gd name="T70" fmla="*/ 0 w 512"/>
                  <a:gd name="T71" fmla="*/ 0 h 408"/>
                  <a:gd name="T72" fmla="*/ 0 w 512"/>
                  <a:gd name="T73" fmla="*/ 0 h 408"/>
                  <a:gd name="T74" fmla="*/ 0 w 512"/>
                  <a:gd name="T75" fmla="*/ 0 h 408"/>
                  <a:gd name="T76" fmla="*/ 0 w 512"/>
                  <a:gd name="T77" fmla="*/ 0 h 408"/>
                  <a:gd name="T78" fmla="*/ 0 w 512"/>
                  <a:gd name="T79" fmla="*/ 0 h 408"/>
                  <a:gd name="T80" fmla="*/ 0 w 512"/>
                  <a:gd name="T81" fmla="*/ 0 h 408"/>
                  <a:gd name="T82" fmla="*/ 0 w 512"/>
                  <a:gd name="T83" fmla="*/ 0 h 408"/>
                  <a:gd name="T84" fmla="*/ 0 w 512"/>
                  <a:gd name="T85" fmla="*/ 0 h 408"/>
                  <a:gd name="T86" fmla="*/ 0 w 512"/>
                  <a:gd name="T87" fmla="*/ 0 h 408"/>
                  <a:gd name="T88" fmla="*/ 0 w 512"/>
                  <a:gd name="T89" fmla="*/ 0 h 408"/>
                  <a:gd name="T90" fmla="*/ 0 w 512"/>
                  <a:gd name="T91" fmla="*/ 0 h 408"/>
                  <a:gd name="T92" fmla="*/ 0 w 512"/>
                  <a:gd name="T93" fmla="*/ 0 h 408"/>
                  <a:gd name="T94" fmla="*/ 0 w 512"/>
                  <a:gd name="T95" fmla="*/ 0 h 408"/>
                  <a:gd name="T96" fmla="*/ 0 w 512"/>
                  <a:gd name="T97" fmla="*/ 0 h 408"/>
                  <a:gd name="T98" fmla="*/ 0 w 512"/>
                  <a:gd name="T99" fmla="*/ 0 h 408"/>
                  <a:gd name="T100" fmla="*/ 0 w 512"/>
                  <a:gd name="T101" fmla="*/ 0 h 408"/>
                  <a:gd name="T102" fmla="*/ 0 w 512"/>
                  <a:gd name="T103" fmla="*/ 0 h 408"/>
                  <a:gd name="T104" fmla="*/ 0 w 512"/>
                  <a:gd name="T105" fmla="*/ 0 h 408"/>
                  <a:gd name="T106" fmla="*/ 0 w 512"/>
                  <a:gd name="T107" fmla="*/ 0 h 408"/>
                  <a:gd name="T108" fmla="*/ 0 w 512"/>
                  <a:gd name="T109" fmla="*/ 0 h 408"/>
                  <a:gd name="T110" fmla="*/ 0 w 512"/>
                  <a:gd name="T111" fmla="*/ 0 h 408"/>
                  <a:gd name="T112" fmla="*/ 0 w 512"/>
                  <a:gd name="T113" fmla="*/ 0 h 408"/>
                  <a:gd name="T114" fmla="*/ 0 w 512"/>
                  <a:gd name="T115" fmla="*/ 0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12"/>
                  <a:gd name="T175" fmla="*/ 0 h 408"/>
                  <a:gd name="T176" fmla="*/ 512 w 512"/>
                  <a:gd name="T177" fmla="*/ 408 h 40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9" name="Freeform 587"/>
              <p:cNvSpPr>
                <a:spLocks/>
              </p:cNvSpPr>
              <p:nvPr/>
            </p:nvSpPr>
            <p:spPr bwMode="auto">
              <a:xfrm>
                <a:off x="4488" y="2420"/>
                <a:ext cx="76" cy="89"/>
              </a:xfrm>
              <a:custGeom>
                <a:avLst/>
                <a:gdLst>
                  <a:gd name="T0" fmla="*/ 0 w 232"/>
                  <a:gd name="T1" fmla="*/ 0 h 289"/>
                  <a:gd name="T2" fmla="*/ 0 w 232"/>
                  <a:gd name="T3" fmla="*/ 0 h 289"/>
                  <a:gd name="T4" fmla="*/ 0 w 232"/>
                  <a:gd name="T5" fmla="*/ 0 h 289"/>
                  <a:gd name="T6" fmla="*/ 0 w 232"/>
                  <a:gd name="T7" fmla="*/ 0 h 289"/>
                  <a:gd name="T8" fmla="*/ 0 w 232"/>
                  <a:gd name="T9" fmla="*/ 0 h 289"/>
                  <a:gd name="T10" fmla="*/ 0 w 232"/>
                  <a:gd name="T11" fmla="*/ 0 h 289"/>
                  <a:gd name="T12" fmla="*/ 0 w 232"/>
                  <a:gd name="T13" fmla="*/ 0 h 289"/>
                  <a:gd name="T14" fmla="*/ 0 w 232"/>
                  <a:gd name="T15" fmla="*/ 0 h 289"/>
                  <a:gd name="T16" fmla="*/ 0 w 232"/>
                  <a:gd name="T17" fmla="*/ 0 h 289"/>
                  <a:gd name="T18" fmla="*/ 0 w 232"/>
                  <a:gd name="T19" fmla="*/ 0 h 289"/>
                  <a:gd name="T20" fmla="*/ 0 w 232"/>
                  <a:gd name="T21" fmla="*/ 0 h 289"/>
                  <a:gd name="T22" fmla="*/ 0 w 232"/>
                  <a:gd name="T23" fmla="*/ 0 h 289"/>
                  <a:gd name="T24" fmla="*/ 0 w 232"/>
                  <a:gd name="T25" fmla="*/ 0 h 289"/>
                  <a:gd name="T26" fmla="*/ 0 w 232"/>
                  <a:gd name="T27" fmla="*/ 0 h 289"/>
                  <a:gd name="T28" fmla="*/ 0 w 232"/>
                  <a:gd name="T29" fmla="*/ 0 h 289"/>
                  <a:gd name="T30" fmla="*/ 0 w 232"/>
                  <a:gd name="T31" fmla="*/ 0 h 289"/>
                  <a:gd name="T32" fmla="*/ 0 w 232"/>
                  <a:gd name="T33" fmla="*/ 0 h 289"/>
                  <a:gd name="T34" fmla="*/ 0 w 232"/>
                  <a:gd name="T35" fmla="*/ 0 h 289"/>
                  <a:gd name="T36" fmla="*/ 0 w 232"/>
                  <a:gd name="T37" fmla="*/ 0 h 289"/>
                  <a:gd name="T38" fmla="*/ 0 w 232"/>
                  <a:gd name="T39" fmla="*/ 0 h 289"/>
                  <a:gd name="T40" fmla="*/ 0 w 232"/>
                  <a:gd name="T41" fmla="*/ 0 h 289"/>
                  <a:gd name="T42" fmla="*/ 0 w 232"/>
                  <a:gd name="T43" fmla="*/ 0 h 289"/>
                  <a:gd name="T44" fmla="*/ 0 w 232"/>
                  <a:gd name="T45" fmla="*/ 0 h 289"/>
                  <a:gd name="T46" fmla="*/ 0 w 232"/>
                  <a:gd name="T47" fmla="*/ 0 h 289"/>
                  <a:gd name="T48" fmla="*/ 0 w 232"/>
                  <a:gd name="T49" fmla="*/ 0 h 289"/>
                  <a:gd name="T50" fmla="*/ 0 w 232"/>
                  <a:gd name="T51" fmla="*/ 0 h 289"/>
                  <a:gd name="T52" fmla="*/ 0 w 232"/>
                  <a:gd name="T53" fmla="*/ 0 h 289"/>
                  <a:gd name="T54" fmla="*/ 0 w 232"/>
                  <a:gd name="T55" fmla="*/ 0 h 289"/>
                  <a:gd name="T56" fmla="*/ 0 w 232"/>
                  <a:gd name="T57" fmla="*/ 0 h 289"/>
                  <a:gd name="T58" fmla="*/ 0 w 232"/>
                  <a:gd name="T59" fmla="*/ 0 h 289"/>
                  <a:gd name="T60" fmla="*/ 0 w 232"/>
                  <a:gd name="T61" fmla="*/ 0 h 289"/>
                  <a:gd name="T62" fmla="*/ 0 w 232"/>
                  <a:gd name="T63" fmla="*/ 0 h 289"/>
                  <a:gd name="T64" fmla="*/ 0 w 232"/>
                  <a:gd name="T65" fmla="*/ 0 h 289"/>
                  <a:gd name="T66" fmla="*/ 0 w 232"/>
                  <a:gd name="T67" fmla="*/ 0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2"/>
                  <a:gd name="T103" fmla="*/ 0 h 289"/>
                  <a:gd name="T104" fmla="*/ 232 w 232"/>
                  <a:gd name="T105" fmla="*/ 289 h 2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69" name="Freeform 588"/>
            <p:cNvSpPr>
              <a:spLocks/>
            </p:cNvSpPr>
            <p:nvPr>
              <p:custDataLst>
                <p:tags r:id="rId17"/>
              </p:custDataLst>
            </p:nvPr>
          </p:nvSpPr>
          <p:spPr bwMode="auto">
            <a:xfrm>
              <a:off x="3093" y="811"/>
              <a:ext cx="2092" cy="677"/>
            </a:xfrm>
            <a:custGeom>
              <a:avLst/>
              <a:gdLst>
                <a:gd name="T0" fmla="*/ 0 w 7049"/>
                <a:gd name="T1" fmla="*/ 0 h 2048"/>
                <a:gd name="T2" fmla="*/ 0 w 7049"/>
                <a:gd name="T3" fmla="*/ 0 h 2048"/>
                <a:gd name="T4" fmla="*/ 0 w 7049"/>
                <a:gd name="T5" fmla="*/ 0 h 2048"/>
                <a:gd name="T6" fmla="*/ 0 w 7049"/>
                <a:gd name="T7" fmla="*/ 0 h 2048"/>
                <a:gd name="T8" fmla="*/ 0 w 7049"/>
                <a:gd name="T9" fmla="*/ 0 h 2048"/>
                <a:gd name="T10" fmla="*/ 0 w 7049"/>
                <a:gd name="T11" fmla="*/ 0 h 2048"/>
                <a:gd name="T12" fmla="*/ 0 w 7049"/>
                <a:gd name="T13" fmla="*/ 0 h 2048"/>
                <a:gd name="T14" fmla="*/ 0 w 7049"/>
                <a:gd name="T15" fmla="*/ 0 h 2048"/>
                <a:gd name="T16" fmla="*/ 0 w 7049"/>
                <a:gd name="T17" fmla="*/ 0 h 2048"/>
                <a:gd name="T18" fmla="*/ 0 w 7049"/>
                <a:gd name="T19" fmla="*/ 0 h 2048"/>
                <a:gd name="T20" fmla="*/ 0 w 7049"/>
                <a:gd name="T21" fmla="*/ 0 h 2048"/>
                <a:gd name="T22" fmla="*/ 0 w 7049"/>
                <a:gd name="T23" fmla="*/ 0 h 2048"/>
                <a:gd name="T24" fmla="*/ 0 w 7049"/>
                <a:gd name="T25" fmla="*/ 0 h 2048"/>
                <a:gd name="T26" fmla="*/ 0 w 7049"/>
                <a:gd name="T27" fmla="*/ 0 h 2048"/>
                <a:gd name="T28" fmla="*/ 0 w 7049"/>
                <a:gd name="T29" fmla="*/ 0 h 2048"/>
                <a:gd name="T30" fmla="*/ 0 w 7049"/>
                <a:gd name="T31" fmla="*/ 0 h 2048"/>
                <a:gd name="T32" fmla="*/ 0 w 7049"/>
                <a:gd name="T33" fmla="*/ 0 h 2048"/>
                <a:gd name="T34" fmla="*/ 0 w 7049"/>
                <a:gd name="T35" fmla="*/ 0 h 2048"/>
                <a:gd name="T36" fmla="*/ 0 w 7049"/>
                <a:gd name="T37" fmla="*/ 0 h 2048"/>
                <a:gd name="T38" fmla="*/ 0 w 7049"/>
                <a:gd name="T39" fmla="*/ 0 h 2048"/>
                <a:gd name="T40" fmla="*/ 0 w 7049"/>
                <a:gd name="T41" fmla="*/ 0 h 2048"/>
                <a:gd name="T42" fmla="*/ 0 w 7049"/>
                <a:gd name="T43" fmla="*/ 0 h 2048"/>
                <a:gd name="T44" fmla="*/ 0 w 7049"/>
                <a:gd name="T45" fmla="*/ 0 h 2048"/>
                <a:gd name="T46" fmla="*/ 0 w 7049"/>
                <a:gd name="T47" fmla="*/ 0 h 2048"/>
                <a:gd name="T48" fmla="*/ 0 w 7049"/>
                <a:gd name="T49" fmla="*/ 0 h 2048"/>
                <a:gd name="T50" fmla="*/ 0 w 7049"/>
                <a:gd name="T51" fmla="*/ 0 h 2048"/>
                <a:gd name="T52" fmla="*/ 0 w 7049"/>
                <a:gd name="T53" fmla="*/ 0 h 2048"/>
                <a:gd name="T54" fmla="*/ 0 w 7049"/>
                <a:gd name="T55" fmla="*/ 0 h 2048"/>
                <a:gd name="T56" fmla="*/ 0 w 7049"/>
                <a:gd name="T57" fmla="*/ 0 h 2048"/>
                <a:gd name="T58" fmla="*/ 0 w 7049"/>
                <a:gd name="T59" fmla="*/ 0 h 2048"/>
                <a:gd name="T60" fmla="*/ 0 w 7049"/>
                <a:gd name="T61" fmla="*/ 0 h 2048"/>
                <a:gd name="T62" fmla="*/ 0 w 7049"/>
                <a:gd name="T63" fmla="*/ 0 h 2048"/>
                <a:gd name="T64" fmla="*/ 0 w 7049"/>
                <a:gd name="T65" fmla="*/ 0 h 2048"/>
                <a:gd name="T66" fmla="*/ 0 w 7049"/>
                <a:gd name="T67" fmla="*/ 0 h 2048"/>
                <a:gd name="T68" fmla="*/ 0 w 7049"/>
                <a:gd name="T69" fmla="*/ 0 h 2048"/>
                <a:gd name="T70" fmla="*/ 0 w 7049"/>
                <a:gd name="T71" fmla="*/ 0 h 2048"/>
                <a:gd name="T72" fmla="*/ 0 w 7049"/>
                <a:gd name="T73" fmla="*/ 0 h 2048"/>
                <a:gd name="T74" fmla="*/ 0 w 7049"/>
                <a:gd name="T75" fmla="*/ 0 h 2048"/>
                <a:gd name="T76" fmla="*/ 0 w 7049"/>
                <a:gd name="T77" fmla="*/ 0 h 2048"/>
                <a:gd name="T78" fmla="*/ 0 w 7049"/>
                <a:gd name="T79" fmla="*/ 0 h 2048"/>
                <a:gd name="T80" fmla="*/ 0 w 7049"/>
                <a:gd name="T81" fmla="*/ 0 h 2048"/>
                <a:gd name="T82" fmla="*/ 0 w 7049"/>
                <a:gd name="T83" fmla="*/ 0 h 2048"/>
                <a:gd name="T84" fmla="*/ 0 w 7049"/>
                <a:gd name="T85" fmla="*/ 0 h 2048"/>
                <a:gd name="T86" fmla="*/ 0 w 7049"/>
                <a:gd name="T87" fmla="*/ 0 h 2048"/>
                <a:gd name="T88" fmla="*/ 0 w 7049"/>
                <a:gd name="T89" fmla="*/ 0 h 2048"/>
                <a:gd name="T90" fmla="*/ 0 w 7049"/>
                <a:gd name="T91" fmla="*/ 0 h 2048"/>
                <a:gd name="T92" fmla="*/ 0 w 7049"/>
                <a:gd name="T93" fmla="*/ 0 h 2048"/>
                <a:gd name="T94" fmla="*/ 0 w 7049"/>
                <a:gd name="T95" fmla="*/ 0 h 2048"/>
                <a:gd name="T96" fmla="*/ 0 w 7049"/>
                <a:gd name="T97" fmla="*/ 0 h 2048"/>
                <a:gd name="T98" fmla="*/ 0 w 7049"/>
                <a:gd name="T99" fmla="*/ 0 h 2048"/>
                <a:gd name="T100" fmla="*/ 0 w 7049"/>
                <a:gd name="T101" fmla="*/ 0 h 2048"/>
                <a:gd name="T102" fmla="*/ 0 w 7049"/>
                <a:gd name="T103" fmla="*/ 0 h 2048"/>
                <a:gd name="T104" fmla="*/ 0 w 7049"/>
                <a:gd name="T105" fmla="*/ 0 h 2048"/>
                <a:gd name="T106" fmla="*/ 0 w 7049"/>
                <a:gd name="T107" fmla="*/ 0 h 2048"/>
                <a:gd name="T108" fmla="*/ 0 w 7049"/>
                <a:gd name="T109" fmla="*/ 0 h 2048"/>
                <a:gd name="T110" fmla="*/ 0 w 7049"/>
                <a:gd name="T111" fmla="*/ 0 h 2048"/>
                <a:gd name="T112" fmla="*/ 0 w 7049"/>
                <a:gd name="T113" fmla="*/ 0 h 2048"/>
                <a:gd name="T114" fmla="*/ 0 w 7049"/>
                <a:gd name="T115" fmla="*/ 0 h 2048"/>
                <a:gd name="T116" fmla="*/ 0 w 7049"/>
                <a:gd name="T117" fmla="*/ 0 h 2048"/>
                <a:gd name="T118" fmla="*/ 0 w 7049"/>
                <a:gd name="T119" fmla="*/ 0 h 2048"/>
                <a:gd name="T120" fmla="*/ 0 w 7049"/>
                <a:gd name="T121" fmla="*/ 0 h 2048"/>
                <a:gd name="T122" fmla="*/ 0 w 7049"/>
                <a:gd name="T123" fmla="*/ 0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0" name="Freeform 589"/>
            <p:cNvSpPr>
              <a:spLocks/>
            </p:cNvSpPr>
            <p:nvPr>
              <p:custDataLst>
                <p:tags r:id="rId18"/>
              </p:custDataLst>
            </p:nvPr>
          </p:nvSpPr>
          <p:spPr bwMode="auto">
            <a:xfrm>
              <a:off x="2590" y="1433"/>
              <a:ext cx="192" cy="156"/>
            </a:xfrm>
            <a:custGeom>
              <a:avLst/>
              <a:gdLst>
                <a:gd name="T0" fmla="*/ 0 w 647"/>
                <a:gd name="T1" fmla="*/ 0 h 470"/>
                <a:gd name="T2" fmla="*/ 0 w 647"/>
                <a:gd name="T3" fmla="*/ 0 h 470"/>
                <a:gd name="T4" fmla="*/ 0 w 647"/>
                <a:gd name="T5" fmla="*/ 0 h 470"/>
                <a:gd name="T6" fmla="*/ 0 w 647"/>
                <a:gd name="T7" fmla="*/ 0 h 470"/>
                <a:gd name="T8" fmla="*/ 0 w 647"/>
                <a:gd name="T9" fmla="*/ 0 h 470"/>
                <a:gd name="T10" fmla="*/ 0 w 647"/>
                <a:gd name="T11" fmla="*/ 0 h 470"/>
                <a:gd name="T12" fmla="*/ 0 w 647"/>
                <a:gd name="T13" fmla="*/ 0 h 470"/>
                <a:gd name="T14" fmla="*/ 0 w 647"/>
                <a:gd name="T15" fmla="*/ 0 h 470"/>
                <a:gd name="T16" fmla="*/ 0 w 647"/>
                <a:gd name="T17" fmla="*/ 0 h 470"/>
                <a:gd name="T18" fmla="*/ 0 w 647"/>
                <a:gd name="T19" fmla="*/ 0 h 470"/>
                <a:gd name="T20" fmla="*/ 0 w 647"/>
                <a:gd name="T21" fmla="*/ 0 h 470"/>
                <a:gd name="T22" fmla="*/ 0 w 647"/>
                <a:gd name="T23" fmla="*/ 0 h 470"/>
                <a:gd name="T24" fmla="*/ 0 w 647"/>
                <a:gd name="T25" fmla="*/ 0 h 470"/>
                <a:gd name="T26" fmla="*/ 0 w 647"/>
                <a:gd name="T27" fmla="*/ 0 h 470"/>
                <a:gd name="T28" fmla="*/ 0 w 647"/>
                <a:gd name="T29" fmla="*/ 0 h 470"/>
                <a:gd name="T30" fmla="*/ 0 w 647"/>
                <a:gd name="T31" fmla="*/ 0 h 470"/>
                <a:gd name="T32" fmla="*/ 0 w 647"/>
                <a:gd name="T33" fmla="*/ 0 h 470"/>
                <a:gd name="T34" fmla="*/ 0 w 647"/>
                <a:gd name="T35" fmla="*/ 0 h 470"/>
                <a:gd name="T36" fmla="*/ 0 w 647"/>
                <a:gd name="T37" fmla="*/ 0 h 470"/>
                <a:gd name="T38" fmla="*/ 0 w 647"/>
                <a:gd name="T39" fmla="*/ 0 h 470"/>
                <a:gd name="T40" fmla="*/ 0 w 647"/>
                <a:gd name="T41" fmla="*/ 0 h 470"/>
                <a:gd name="T42" fmla="*/ 0 w 647"/>
                <a:gd name="T43" fmla="*/ 0 h 470"/>
                <a:gd name="T44" fmla="*/ 0 w 647"/>
                <a:gd name="T45" fmla="*/ 0 h 470"/>
                <a:gd name="T46" fmla="*/ 0 w 647"/>
                <a:gd name="T47" fmla="*/ 0 h 470"/>
                <a:gd name="T48" fmla="*/ 0 w 647"/>
                <a:gd name="T49" fmla="*/ 0 h 470"/>
                <a:gd name="T50" fmla="*/ 0 w 647"/>
                <a:gd name="T51" fmla="*/ 0 h 470"/>
                <a:gd name="T52" fmla="*/ 0 w 647"/>
                <a:gd name="T53" fmla="*/ 0 h 470"/>
                <a:gd name="T54" fmla="*/ 0 w 647"/>
                <a:gd name="T55" fmla="*/ 0 h 470"/>
                <a:gd name="T56" fmla="*/ 0 w 647"/>
                <a:gd name="T57" fmla="*/ 0 h 470"/>
                <a:gd name="T58" fmla="*/ 0 w 647"/>
                <a:gd name="T59" fmla="*/ 0 h 470"/>
                <a:gd name="T60" fmla="*/ 0 w 647"/>
                <a:gd name="T61" fmla="*/ 0 h 470"/>
                <a:gd name="T62" fmla="*/ 0 w 647"/>
                <a:gd name="T63" fmla="*/ 0 h 470"/>
                <a:gd name="T64" fmla="*/ 0 w 647"/>
                <a:gd name="T65" fmla="*/ 0 h 470"/>
                <a:gd name="T66" fmla="*/ 0 w 647"/>
                <a:gd name="T67" fmla="*/ 0 h 470"/>
                <a:gd name="T68" fmla="*/ 0 w 647"/>
                <a:gd name="T69" fmla="*/ 0 h 470"/>
                <a:gd name="T70" fmla="*/ 0 w 647"/>
                <a:gd name="T71" fmla="*/ 0 h 470"/>
                <a:gd name="T72" fmla="*/ 0 w 647"/>
                <a:gd name="T73" fmla="*/ 0 h 470"/>
                <a:gd name="T74" fmla="*/ 0 w 647"/>
                <a:gd name="T75" fmla="*/ 0 h 470"/>
                <a:gd name="T76" fmla="*/ 0 w 647"/>
                <a:gd name="T77" fmla="*/ 0 h 470"/>
                <a:gd name="T78" fmla="*/ 0 w 647"/>
                <a:gd name="T79" fmla="*/ 0 h 470"/>
                <a:gd name="T80" fmla="*/ 0 w 647"/>
                <a:gd name="T81" fmla="*/ 0 h 470"/>
                <a:gd name="T82" fmla="*/ 0 w 647"/>
                <a:gd name="T83" fmla="*/ 0 h 470"/>
                <a:gd name="T84" fmla="*/ 0 w 647"/>
                <a:gd name="T85" fmla="*/ 0 h 470"/>
                <a:gd name="T86" fmla="*/ 0 w 647"/>
                <a:gd name="T87" fmla="*/ 0 h 470"/>
                <a:gd name="T88" fmla="*/ 0 w 647"/>
                <a:gd name="T89" fmla="*/ 0 h 470"/>
                <a:gd name="T90" fmla="*/ 0 w 647"/>
                <a:gd name="T91" fmla="*/ 0 h 470"/>
                <a:gd name="T92" fmla="*/ 0 w 647"/>
                <a:gd name="T93" fmla="*/ 0 h 470"/>
                <a:gd name="T94" fmla="*/ 0 w 647"/>
                <a:gd name="T95" fmla="*/ 0 h 470"/>
                <a:gd name="T96" fmla="*/ 0 w 647"/>
                <a:gd name="T97" fmla="*/ 0 h 470"/>
                <a:gd name="T98" fmla="*/ 0 w 647"/>
                <a:gd name="T99" fmla="*/ 0 h 470"/>
                <a:gd name="T100" fmla="*/ 0 w 647"/>
                <a:gd name="T101" fmla="*/ 0 h 470"/>
                <a:gd name="T102" fmla="*/ 0 w 647"/>
                <a:gd name="T103" fmla="*/ 0 h 470"/>
                <a:gd name="T104" fmla="*/ 0 w 647"/>
                <a:gd name="T105" fmla="*/ 0 h 470"/>
                <a:gd name="T106" fmla="*/ 0 w 647"/>
                <a:gd name="T107" fmla="*/ 0 h 470"/>
                <a:gd name="T108" fmla="*/ 0 w 647"/>
                <a:gd name="T109" fmla="*/ 0 h 470"/>
                <a:gd name="T110" fmla="*/ 0 w 647"/>
                <a:gd name="T111" fmla="*/ 0 h 470"/>
                <a:gd name="T112" fmla="*/ 0 w 647"/>
                <a:gd name="T113" fmla="*/ 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1" name="Freeform 590"/>
            <p:cNvSpPr>
              <a:spLocks/>
            </p:cNvSpPr>
            <p:nvPr>
              <p:custDataLst>
                <p:tags r:id="rId19"/>
              </p:custDataLst>
            </p:nvPr>
          </p:nvSpPr>
          <p:spPr bwMode="auto">
            <a:xfrm>
              <a:off x="4386" y="1898"/>
              <a:ext cx="142" cy="287"/>
            </a:xfrm>
            <a:custGeom>
              <a:avLst/>
              <a:gdLst>
                <a:gd name="T0" fmla="*/ 0 w 479"/>
                <a:gd name="T1" fmla="*/ 0 h 868"/>
                <a:gd name="T2" fmla="*/ 0 w 479"/>
                <a:gd name="T3" fmla="*/ 0 h 868"/>
                <a:gd name="T4" fmla="*/ 0 w 479"/>
                <a:gd name="T5" fmla="*/ 0 h 868"/>
                <a:gd name="T6" fmla="*/ 0 w 479"/>
                <a:gd name="T7" fmla="*/ 0 h 868"/>
                <a:gd name="T8" fmla="*/ 0 w 479"/>
                <a:gd name="T9" fmla="*/ 0 h 868"/>
                <a:gd name="T10" fmla="*/ 0 w 479"/>
                <a:gd name="T11" fmla="*/ 0 h 868"/>
                <a:gd name="T12" fmla="*/ 0 w 479"/>
                <a:gd name="T13" fmla="*/ 0 h 868"/>
                <a:gd name="T14" fmla="*/ 0 w 479"/>
                <a:gd name="T15" fmla="*/ 0 h 868"/>
                <a:gd name="T16" fmla="*/ 0 w 479"/>
                <a:gd name="T17" fmla="*/ 0 h 868"/>
                <a:gd name="T18" fmla="*/ 0 w 479"/>
                <a:gd name="T19" fmla="*/ 0 h 868"/>
                <a:gd name="T20" fmla="*/ 0 w 479"/>
                <a:gd name="T21" fmla="*/ 0 h 868"/>
                <a:gd name="T22" fmla="*/ 0 w 479"/>
                <a:gd name="T23" fmla="*/ 0 h 868"/>
                <a:gd name="T24" fmla="*/ 0 w 479"/>
                <a:gd name="T25" fmla="*/ 0 h 868"/>
                <a:gd name="T26" fmla="*/ 0 w 479"/>
                <a:gd name="T27" fmla="*/ 0 h 868"/>
                <a:gd name="T28" fmla="*/ 0 w 479"/>
                <a:gd name="T29" fmla="*/ 0 h 868"/>
                <a:gd name="T30" fmla="*/ 0 w 479"/>
                <a:gd name="T31" fmla="*/ 0 h 868"/>
                <a:gd name="T32" fmla="*/ 0 w 479"/>
                <a:gd name="T33" fmla="*/ 0 h 868"/>
                <a:gd name="T34" fmla="*/ 0 w 479"/>
                <a:gd name="T35" fmla="*/ 0 h 868"/>
                <a:gd name="T36" fmla="*/ 0 w 479"/>
                <a:gd name="T37" fmla="*/ 0 h 868"/>
                <a:gd name="T38" fmla="*/ 0 w 479"/>
                <a:gd name="T39" fmla="*/ 0 h 868"/>
                <a:gd name="T40" fmla="*/ 0 w 479"/>
                <a:gd name="T41" fmla="*/ 0 h 868"/>
                <a:gd name="T42" fmla="*/ 0 w 479"/>
                <a:gd name="T43" fmla="*/ 0 h 868"/>
                <a:gd name="T44" fmla="*/ 0 w 479"/>
                <a:gd name="T45" fmla="*/ 0 h 868"/>
                <a:gd name="T46" fmla="*/ 0 w 479"/>
                <a:gd name="T47" fmla="*/ 0 h 868"/>
                <a:gd name="T48" fmla="*/ 0 w 479"/>
                <a:gd name="T49" fmla="*/ 0 h 868"/>
                <a:gd name="T50" fmla="*/ 0 w 479"/>
                <a:gd name="T51" fmla="*/ 0 h 868"/>
                <a:gd name="T52" fmla="*/ 0 w 479"/>
                <a:gd name="T53" fmla="*/ 0 h 868"/>
                <a:gd name="T54" fmla="*/ 0 w 479"/>
                <a:gd name="T55" fmla="*/ 0 h 868"/>
                <a:gd name="T56" fmla="*/ 0 w 479"/>
                <a:gd name="T57" fmla="*/ 0 h 868"/>
                <a:gd name="T58" fmla="*/ 0 w 479"/>
                <a:gd name="T59" fmla="*/ 0 h 868"/>
                <a:gd name="T60" fmla="*/ 0 w 479"/>
                <a:gd name="T61" fmla="*/ 0 h 868"/>
                <a:gd name="T62" fmla="*/ 0 w 479"/>
                <a:gd name="T63" fmla="*/ 0 h 868"/>
                <a:gd name="T64" fmla="*/ 0 w 479"/>
                <a:gd name="T65" fmla="*/ 0 h 868"/>
                <a:gd name="T66" fmla="*/ 0 w 479"/>
                <a:gd name="T67" fmla="*/ 0 h 868"/>
                <a:gd name="T68" fmla="*/ 0 w 479"/>
                <a:gd name="T69" fmla="*/ 0 h 868"/>
                <a:gd name="T70" fmla="*/ 0 w 479"/>
                <a:gd name="T71" fmla="*/ 0 h 868"/>
                <a:gd name="T72" fmla="*/ 0 w 479"/>
                <a:gd name="T73" fmla="*/ 0 h 868"/>
                <a:gd name="T74" fmla="*/ 0 w 479"/>
                <a:gd name="T75" fmla="*/ 0 h 868"/>
                <a:gd name="T76" fmla="*/ 0 w 479"/>
                <a:gd name="T77" fmla="*/ 0 h 868"/>
                <a:gd name="T78" fmla="*/ 0 w 479"/>
                <a:gd name="T79" fmla="*/ 0 h 868"/>
                <a:gd name="T80" fmla="*/ 0 w 479"/>
                <a:gd name="T81" fmla="*/ 0 h 868"/>
                <a:gd name="T82" fmla="*/ 0 w 479"/>
                <a:gd name="T83" fmla="*/ 0 h 868"/>
                <a:gd name="T84" fmla="*/ 0 w 479"/>
                <a:gd name="T85" fmla="*/ 0 h 868"/>
                <a:gd name="T86" fmla="*/ 0 w 479"/>
                <a:gd name="T87" fmla="*/ 0 h 868"/>
                <a:gd name="T88" fmla="*/ 0 w 479"/>
                <a:gd name="T89" fmla="*/ 0 h 868"/>
                <a:gd name="T90" fmla="*/ 0 w 479"/>
                <a:gd name="T91" fmla="*/ 0 h 868"/>
                <a:gd name="T92" fmla="*/ 0 w 479"/>
                <a:gd name="T93" fmla="*/ 0 h 868"/>
                <a:gd name="T94" fmla="*/ 0 w 479"/>
                <a:gd name="T95" fmla="*/ 0 h 868"/>
                <a:gd name="T96" fmla="*/ 0 w 479"/>
                <a:gd name="T97" fmla="*/ 0 h 868"/>
                <a:gd name="T98" fmla="*/ 0 w 479"/>
                <a:gd name="T99" fmla="*/ 0 h 868"/>
                <a:gd name="T100" fmla="*/ 0 w 479"/>
                <a:gd name="T101" fmla="*/ 0 h 868"/>
                <a:gd name="T102" fmla="*/ 0 w 479"/>
                <a:gd name="T103" fmla="*/ 0 h 868"/>
                <a:gd name="T104" fmla="*/ 0 w 479"/>
                <a:gd name="T105" fmla="*/ 0 h 868"/>
                <a:gd name="T106" fmla="*/ 0 w 479"/>
                <a:gd name="T107" fmla="*/ 0 h 868"/>
                <a:gd name="T108" fmla="*/ 0 w 479"/>
                <a:gd name="T109" fmla="*/ 0 h 868"/>
                <a:gd name="T110" fmla="*/ 0 w 479"/>
                <a:gd name="T111" fmla="*/ 0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2" name="Freeform 591"/>
            <p:cNvSpPr>
              <a:spLocks/>
            </p:cNvSpPr>
            <p:nvPr>
              <p:custDataLst>
                <p:tags r:id="rId20"/>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3" name="Line 592" descr="Horizontal dunkel"/>
            <p:cNvSpPr>
              <a:spLocks noChangeShapeType="1"/>
            </p:cNvSpPr>
            <p:nvPr>
              <p:custDataLst>
                <p:tags r:id="rId21"/>
              </p:custDataLst>
            </p:nvPr>
          </p:nvSpPr>
          <p:spPr bwMode="auto">
            <a:xfrm>
              <a:off x="681" y="1463"/>
              <a:ext cx="3"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74" name="Freeform 593"/>
            <p:cNvSpPr>
              <a:spLocks/>
            </p:cNvSpPr>
            <p:nvPr>
              <p:custDataLst>
                <p:tags r:id="rId22"/>
              </p:custDataLst>
            </p:nvPr>
          </p:nvSpPr>
          <p:spPr bwMode="auto">
            <a:xfrm>
              <a:off x="684" y="1461"/>
              <a:ext cx="2" cy="35"/>
            </a:xfrm>
            <a:custGeom>
              <a:avLst/>
              <a:gdLst>
                <a:gd name="T0" fmla="*/ 0 w 6"/>
                <a:gd name="T1" fmla="*/ 45027 h 24"/>
                <a:gd name="T2" fmla="*/ 0 w 6"/>
                <a:gd name="T3" fmla="*/ 36514 h 24"/>
                <a:gd name="T4" fmla="*/ 0 w 6"/>
                <a:gd name="T5" fmla="*/ 25627 h 24"/>
                <a:gd name="T6" fmla="*/ 0 w 6"/>
                <a:gd name="T7" fmla="*/ 15762 h 24"/>
                <a:gd name="T8" fmla="*/ 0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5" name="Freeform 594"/>
            <p:cNvSpPr>
              <a:spLocks/>
            </p:cNvSpPr>
            <p:nvPr>
              <p:custDataLst>
                <p:tags r:id="rId23"/>
              </p:custDataLst>
            </p:nvPr>
          </p:nvSpPr>
          <p:spPr bwMode="auto">
            <a:xfrm>
              <a:off x="667" y="1495"/>
              <a:ext cx="17" cy="36"/>
            </a:xfrm>
            <a:custGeom>
              <a:avLst/>
              <a:gdLst>
                <a:gd name="T0" fmla="*/ 0 w 47"/>
                <a:gd name="T1" fmla="*/ 1 h 67"/>
                <a:gd name="T2" fmla="*/ 0 w 47"/>
                <a:gd name="T3" fmla="*/ 1 h 67"/>
                <a:gd name="T4" fmla="*/ 0 w 47"/>
                <a:gd name="T5" fmla="*/ 1 h 67"/>
                <a:gd name="T6" fmla="*/ 0 w 47"/>
                <a:gd name="T7" fmla="*/ 1 h 67"/>
                <a:gd name="T8" fmla="*/ 0 w 47"/>
                <a:gd name="T9" fmla="*/ 1 h 67"/>
                <a:gd name="T10" fmla="*/ 0 w 47"/>
                <a:gd name="T11" fmla="*/ 1 h 67"/>
                <a:gd name="T12" fmla="*/ 0 w 47"/>
                <a:gd name="T13" fmla="*/ 1 h 67"/>
                <a:gd name="T14" fmla="*/ 0 w 47"/>
                <a:gd name="T15" fmla="*/ 1 h 67"/>
                <a:gd name="T16" fmla="*/ 0 w 47"/>
                <a:gd name="T17" fmla="*/ 0 h 67"/>
                <a:gd name="T18" fmla="*/ 0 w 47"/>
                <a:gd name="T19" fmla="*/ 1 h 67"/>
                <a:gd name="T20" fmla="*/ 0 w 47"/>
                <a:gd name="T21" fmla="*/ 1 h 67"/>
                <a:gd name="T22" fmla="*/ 0 w 47"/>
                <a:gd name="T23" fmla="*/ 1 h 67"/>
                <a:gd name="T24" fmla="*/ 0 w 47"/>
                <a:gd name="T25" fmla="*/ 1 h 67"/>
                <a:gd name="T26" fmla="*/ 0 w 47"/>
                <a:gd name="T27" fmla="*/ 1 h 67"/>
                <a:gd name="T28" fmla="*/ 0 w 47"/>
                <a:gd name="T29" fmla="*/ 1 h 67"/>
                <a:gd name="T30" fmla="*/ 0 w 47"/>
                <a:gd name="T31" fmla="*/ 1 h 67"/>
                <a:gd name="T32" fmla="*/ 0 w 47"/>
                <a:gd name="T33" fmla="*/ 1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6" name="Freeform 595"/>
            <p:cNvSpPr>
              <a:spLocks/>
            </p:cNvSpPr>
            <p:nvPr>
              <p:custDataLst>
                <p:tags r:id="rId24"/>
              </p:custDataLst>
            </p:nvPr>
          </p:nvSpPr>
          <p:spPr bwMode="auto">
            <a:xfrm>
              <a:off x="1572" y="1492"/>
              <a:ext cx="34" cy="36"/>
            </a:xfrm>
            <a:custGeom>
              <a:avLst/>
              <a:gdLst>
                <a:gd name="T0" fmla="*/ 0 w 112"/>
                <a:gd name="T1" fmla="*/ 36 h 36"/>
                <a:gd name="T2" fmla="*/ 0 w 112"/>
                <a:gd name="T3" fmla="*/ 36 h 36"/>
                <a:gd name="T4" fmla="*/ 0 w 112"/>
                <a:gd name="T5" fmla="*/ 30 h 36"/>
                <a:gd name="T6" fmla="*/ 0 w 112"/>
                <a:gd name="T7" fmla="*/ 26 h 36"/>
                <a:gd name="T8" fmla="*/ 0 w 112"/>
                <a:gd name="T9" fmla="*/ 23 h 36"/>
                <a:gd name="T10" fmla="*/ 0 w 112"/>
                <a:gd name="T11" fmla="*/ 20 h 36"/>
                <a:gd name="T12" fmla="*/ 0 w 112"/>
                <a:gd name="T13" fmla="*/ 17 h 36"/>
                <a:gd name="T14" fmla="*/ 0 w 112"/>
                <a:gd name="T15" fmla="*/ 13 h 36"/>
                <a:gd name="T16" fmla="*/ 0 w 112"/>
                <a:gd name="T17" fmla="*/ 11 h 36"/>
                <a:gd name="T18" fmla="*/ 0 w 112"/>
                <a:gd name="T19" fmla="*/ 8 h 36"/>
                <a:gd name="T20" fmla="*/ 0 w 112"/>
                <a:gd name="T21" fmla="*/ 4 h 36"/>
                <a:gd name="T22" fmla="*/ 0 w 112"/>
                <a:gd name="T23" fmla="*/ 0 h 36"/>
                <a:gd name="T24" fmla="*/ 0 w 112"/>
                <a:gd name="T25" fmla="*/ 0 h 36"/>
                <a:gd name="T26" fmla="*/ 0 w 112"/>
                <a:gd name="T27" fmla="*/ 1 h 36"/>
                <a:gd name="T28" fmla="*/ 0 w 112"/>
                <a:gd name="T29" fmla="*/ 3 h 36"/>
                <a:gd name="T30" fmla="*/ 0 w 112"/>
                <a:gd name="T31" fmla="*/ 7 h 36"/>
                <a:gd name="T32" fmla="*/ 0 w 112"/>
                <a:gd name="T33" fmla="*/ 9 h 36"/>
                <a:gd name="T34" fmla="*/ 0 w 112"/>
                <a:gd name="T35" fmla="*/ 11 h 36"/>
                <a:gd name="T36" fmla="*/ 0 w 112"/>
                <a:gd name="T37" fmla="*/ 14 h 36"/>
                <a:gd name="T38" fmla="*/ 0 w 112"/>
                <a:gd name="T39" fmla="*/ 18 h 36"/>
                <a:gd name="T40" fmla="*/ 0 w 112"/>
                <a:gd name="T41" fmla="*/ 22 h 36"/>
                <a:gd name="T42" fmla="*/ 0 w 112"/>
                <a:gd name="T43" fmla="*/ 26 h 36"/>
                <a:gd name="T44" fmla="*/ 0 w 112"/>
                <a:gd name="T45" fmla="*/ 31 h 36"/>
                <a:gd name="T46" fmla="*/ 0 w 112"/>
                <a:gd name="T47" fmla="*/ 36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7" name="Freeform 596"/>
            <p:cNvSpPr>
              <a:spLocks/>
            </p:cNvSpPr>
            <p:nvPr>
              <p:custDataLst>
                <p:tags r:id="rId25"/>
              </p:custDataLst>
            </p:nvPr>
          </p:nvSpPr>
          <p:spPr bwMode="auto">
            <a:xfrm>
              <a:off x="3441" y="1213"/>
              <a:ext cx="597" cy="285"/>
            </a:xfrm>
            <a:custGeom>
              <a:avLst/>
              <a:gdLst>
                <a:gd name="T0" fmla="*/ 0 w 2006"/>
                <a:gd name="T1" fmla="*/ 0 h 863"/>
                <a:gd name="T2" fmla="*/ 0 w 2006"/>
                <a:gd name="T3" fmla="*/ 0 h 863"/>
                <a:gd name="T4" fmla="*/ 0 w 2006"/>
                <a:gd name="T5" fmla="*/ 0 h 863"/>
                <a:gd name="T6" fmla="*/ 0 w 2006"/>
                <a:gd name="T7" fmla="*/ 0 h 863"/>
                <a:gd name="T8" fmla="*/ 0 w 2006"/>
                <a:gd name="T9" fmla="*/ 0 h 863"/>
                <a:gd name="T10" fmla="*/ 0 w 2006"/>
                <a:gd name="T11" fmla="*/ 0 h 863"/>
                <a:gd name="T12" fmla="*/ 0 w 2006"/>
                <a:gd name="T13" fmla="*/ 0 h 863"/>
                <a:gd name="T14" fmla="*/ 0 w 2006"/>
                <a:gd name="T15" fmla="*/ 0 h 863"/>
                <a:gd name="T16" fmla="*/ 0 w 2006"/>
                <a:gd name="T17" fmla="*/ 0 h 863"/>
                <a:gd name="T18" fmla="*/ 0 w 2006"/>
                <a:gd name="T19" fmla="*/ 0 h 863"/>
                <a:gd name="T20" fmla="*/ 0 w 2006"/>
                <a:gd name="T21" fmla="*/ 0 h 863"/>
                <a:gd name="T22" fmla="*/ 0 w 2006"/>
                <a:gd name="T23" fmla="*/ 0 h 863"/>
                <a:gd name="T24" fmla="*/ 0 w 2006"/>
                <a:gd name="T25" fmla="*/ 0 h 863"/>
                <a:gd name="T26" fmla="*/ 0 w 2006"/>
                <a:gd name="T27" fmla="*/ 0 h 863"/>
                <a:gd name="T28" fmla="*/ 0 w 2006"/>
                <a:gd name="T29" fmla="*/ 0 h 863"/>
                <a:gd name="T30" fmla="*/ 0 w 2006"/>
                <a:gd name="T31" fmla="*/ 0 h 863"/>
                <a:gd name="T32" fmla="*/ 0 w 2006"/>
                <a:gd name="T33" fmla="*/ 0 h 863"/>
                <a:gd name="T34" fmla="*/ 0 w 2006"/>
                <a:gd name="T35" fmla="*/ 0 h 863"/>
                <a:gd name="T36" fmla="*/ 0 w 2006"/>
                <a:gd name="T37" fmla="*/ 0 h 863"/>
                <a:gd name="T38" fmla="*/ 0 w 2006"/>
                <a:gd name="T39" fmla="*/ 0 h 863"/>
                <a:gd name="T40" fmla="*/ 0 w 2006"/>
                <a:gd name="T41" fmla="*/ 0 h 863"/>
                <a:gd name="T42" fmla="*/ 0 w 2006"/>
                <a:gd name="T43" fmla="*/ 0 h 863"/>
                <a:gd name="T44" fmla="*/ 0 w 2006"/>
                <a:gd name="T45" fmla="*/ 0 h 863"/>
                <a:gd name="T46" fmla="*/ 0 w 2006"/>
                <a:gd name="T47" fmla="*/ 0 h 863"/>
                <a:gd name="T48" fmla="*/ 0 w 2006"/>
                <a:gd name="T49" fmla="*/ 0 h 863"/>
                <a:gd name="T50" fmla="*/ 0 w 2006"/>
                <a:gd name="T51" fmla="*/ 0 h 863"/>
                <a:gd name="T52" fmla="*/ 0 w 2006"/>
                <a:gd name="T53" fmla="*/ 0 h 863"/>
                <a:gd name="T54" fmla="*/ 0 w 2006"/>
                <a:gd name="T55" fmla="*/ 0 h 863"/>
                <a:gd name="T56" fmla="*/ 0 w 2006"/>
                <a:gd name="T57" fmla="*/ 0 h 863"/>
                <a:gd name="T58" fmla="*/ 0 w 2006"/>
                <a:gd name="T59" fmla="*/ 0 h 863"/>
                <a:gd name="T60" fmla="*/ 0 w 2006"/>
                <a:gd name="T61" fmla="*/ 0 h 863"/>
                <a:gd name="T62" fmla="*/ 0 w 2006"/>
                <a:gd name="T63" fmla="*/ 0 h 863"/>
                <a:gd name="T64" fmla="*/ 0 w 2006"/>
                <a:gd name="T65" fmla="*/ 0 h 863"/>
                <a:gd name="T66" fmla="*/ 0 w 2006"/>
                <a:gd name="T67" fmla="*/ 0 h 863"/>
                <a:gd name="T68" fmla="*/ 0 w 2006"/>
                <a:gd name="T69" fmla="*/ 0 h 863"/>
                <a:gd name="T70" fmla="*/ 0 w 2006"/>
                <a:gd name="T71" fmla="*/ 0 h 863"/>
                <a:gd name="T72" fmla="*/ 0 w 2006"/>
                <a:gd name="T73" fmla="*/ 0 h 863"/>
                <a:gd name="T74" fmla="*/ 0 w 2006"/>
                <a:gd name="T75" fmla="*/ 0 h 863"/>
                <a:gd name="T76" fmla="*/ 0 w 2006"/>
                <a:gd name="T77" fmla="*/ 0 h 863"/>
                <a:gd name="T78" fmla="*/ 0 w 2006"/>
                <a:gd name="T79" fmla="*/ 0 h 863"/>
                <a:gd name="T80" fmla="*/ 0 w 2006"/>
                <a:gd name="T81" fmla="*/ 0 h 863"/>
                <a:gd name="T82" fmla="*/ 0 w 2006"/>
                <a:gd name="T83" fmla="*/ 0 h 863"/>
                <a:gd name="T84" fmla="*/ 0 w 2006"/>
                <a:gd name="T85" fmla="*/ 0 h 863"/>
                <a:gd name="T86" fmla="*/ 0 w 2006"/>
                <a:gd name="T87" fmla="*/ 0 h 863"/>
                <a:gd name="T88" fmla="*/ 0 w 2006"/>
                <a:gd name="T89" fmla="*/ 0 h 863"/>
                <a:gd name="T90" fmla="*/ 0 w 2006"/>
                <a:gd name="T91" fmla="*/ 0 h 863"/>
                <a:gd name="T92" fmla="*/ 0 w 2006"/>
                <a:gd name="T93" fmla="*/ 0 h 863"/>
                <a:gd name="T94" fmla="*/ 0 w 2006"/>
                <a:gd name="T95" fmla="*/ 0 h 863"/>
                <a:gd name="T96" fmla="*/ 0 w 2006"/>
                <a:gd name="T97" fmla="*/ 0 h 863"/>
                <a:gd name="T98" fmla="*/ 0 w 2006"/>
                <a:gd name="T99" fmla="*/ 0 h 863"/>
                <a:gd name="T100" fmla="*/ 0 w 2006"/>
                <a:gd name="T101" fmla="*/ 0 h 863"/>
                <a:gd name="T102" fmla="*/ 0 w 2006"/>
                <a:gd name="T103" fmla="*/ 0 h 863"/>
                <a:gd name="T104" fmla="*/ 0 w 2006"/>
                <a:gd name="T105" fmla="*/ 0 h 863"/>
                <a:gd name="T106" fmla="*/ 0 w 2006"/>
                <a:gd name="T107" fmla="*/ 0 h 863"/>
                <a:gd name="T108" fmla="*/ 0 w 2006"/>
                <a:gd name="T109" fmla="*/ 0 h 863"/>
                <a:gd name="T110" fmla="*/ 0 w 2006"/>
                <a:gd name="T111" fmla="*/ 0 h 863"/>
                <a:gd name="T112" fmla="*/ 0 w 2006"/>
                <a:gd name="T113" fmla="*/ 0 h 863"/>
                <a:gd name="T114" fmla="*/ 0 w 2006"/>
                <a:gd name="T115" fmla="*/ 0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8" name="Freeform 597"/>
            <p:cNvSpPr>
              <a:spLocks/>
            </p:cNvSpPr>
            <p:nvPr>
              <p:custDataLst>
                <p:tags r:id="rId26"/>
              </p:custDataLst>
            </p:nvPr>
          </p:nvSpPr>
          <p:spPr bwMode="auto">
            <a:xfrm>
              <a:off x="3598" y="1404"/>
              <a:ext cx="279" cy="157"/>
            </a:xfrm>
            <a:custGeom>
              <a:avLst/>
              <a:gdLst>
                <a:gd name="T0" fmla="*/ 0 w 950"/>
                <a:gd name="T1" fmla="*/ 0 h 468"/>
                <a:gd name="T2" fmla="*/ 0 w 950"/>
                <a:gd name="T3" fmla="*/ 0 h 468"/>
                <a:gd name="T4" fmla="*/ 0 w 950"/>
                <a:gd name="T5" fmla="*/ 0 h 468"/>
                <a:gd name="T6" fmla="*/ 0 w 950"/>
                <a:gd name="T7" fmla="*/ 0 h 468"/>
                <a:gd name="T8" fmla="*/ 0 w 950"/>
                <a:gd name="T9" fmla="*/ 0 h 468"/>
                <a:gd name="T10" fmla="*/ 0 w 950"/>
                <a:gd name="T11" fmla="*/ 0 h 468"/>
                <a:gd name="T12" fmla="*/ 0 w 950"/>
                <a:gd name="T13" fmla="*/ 0 h 468"/>
                <a:gd name="T14" fmla="*/ 0 w 950"/>
                <a:gd name="T15" fmla="*/ 0 h 468"/>
                <a:gd name="T16" fmla="*/ 0 w 950"/>
                <a:gd name="T17" fmla="*/ 0 h 468"/>
                <a:gd name="T18" fmla="*/ 0 w 950"/>
                <a:gd name="T19" fmla="*/ 0 h 468"/>
                <a:gd name="T20" fmla="*/ 0 w 950"/>
                <a:gd name="T21" fmla="*/ 0 h 468"/>
                <a:gd name="T22" fmla="*/ 0 w 950"/>
                <a:gd name="T23" fmla="*/ 0 h 468"/>
                <a:gd name="T24" fmla="*/ 0 w 950"/>
                <a:gd name="T25" fmla="*/ 0 h 468"/>
                <a:gd name="T26" fmla="*/ 0 w 950"/>
                <a:gd name="T27" fmla="*/ 0 h 468"/>
                <a:gd name="T28" fmla="*/ 0 w 950"/>
                <a:gd name="T29" fmla="*/ 0 h 468"/>
                <a:gd name="T30" fmla="*/ 0 w 950"/>
                <a:gd name="T31" fmla="*/ 0 h 468"/>
                <a:gd name="T32" fmla="*/ 0 w 950"/>
                <a:gd name="T33" fmla="*/ 0 h 468"/>
                <a:gd name="T34" fmla="*/ 0 w 950"/>
                <a:gd name="T35" fmla="*/ 0 h 468"/>
                <a:gd name="T36" fmla="*/ 0 w 950"/>
                <a:gd name="T37" fmla="*/ 0 h 468"/>
                <a:gd name="T38" fmla="*/ 0 w 950"/>
                <a:gd name="T39" fmla="*/ 0 h 468"/>
                <a:gd name="T40" fmla="*/ 0 w 950"/>
                <a:gd name="T41" fmla="*/ 0 h 468"/>
                <a:gd name="T42" fmla="*/ 0 w 950"/>
                <a:gd name="T43" fmla="*/ 0 h 468"/>
                <a:gd name="T44" fmla="*/ 0 w 950"/>
                <a:gd name="T45" fmla="*/ 0 h 468"/>
                <a:gd name="T46" fmla="*/ 0 w 950"/>
                <a:gd name="T47" fmla="*/ 0 h 468"/>
                <a:gd name="T48" fmla="*/ 0 w 950"/>
                <a:gd name="T49" fmla="*/ 0 h 468"/>
                <a:gd name="T50" fmla="*/ 0 w 950"/>
                <a:gd name="T51" fmla="*/ 0 h 468"/>
                <a:gd name="T52" fmla="*/ 0 w 950"/>
                <a:gd name="T53" fmla="*/ 0 h 468"/>
                <a:gd name="T54" fmla="*/ 0 w 950"/>
                <a:gd name="T55" fmla="*/ 0 h 468"/>
                <a:gd name="T56" fmla="*/ 0 w 950"/>
                <a:gd name="T57" fmla="*/ 0 h 468"/>
                <a:gd name="T58" fmla="*/ 0 w 950"/>
                <a:gd name="T59" fmla="*/ 0 h 468"/>
                <a:gd name="T60" fmla="*/ 0 w 950"/>
                <a:gd name="T61" fmla="*/ 0 h 468"/>
                <a:gd name="T62" fmla="*/ 0 w 950"/>
                <a:gd name="T63" fmla="*/ 0 h 468"/>
                <a:gd name="T64" fmla="*/ 0 w 950"/>
                <a:gd name="T65" fmla="*/ 0 h 468"/>
                <a:gd name="T66" fmla="*/ 0 w 950"/>
                <a:gd name="T67" fmla="*/ 0 h 468"/>
                <a:gd name="T68" fmla="*/ 0 w 950"/>
                <a:gd name="T69" fmla="*/ 0 h 468"/>
                <a:gd name="T70" fmla="*/ 0 w 950"/>
                <a:gd name="T71" fmla="*/ 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9" name="Freeform 598"/>
            <p:cNvSpPr>
              <a:spLocks/>
            </p:cNvSpPr>
            <p:nvPr>
              <p:custDataLst>
                <p:tags r:id="rId27"/>
              </p:custDataLst>
            </p:nvPr>
          </p:nvSpPr>
          <p:spPr bwMode="auto">
            <a:xfrm>
              <a:off x="2784" y="2036"/>
              <a:ext cx="203" cy="182"/>
            </a:xfrm>
            <a:custGeom>
              <a:avLst/>
              <a:gdLst>
                <a:gd name="T0" fmla="*/ 0 w 671"/>
                <a:gd name="T1" fmla="*/ 0 h 549"/>
                <a:gd name="T2" fmla="*/ 0 w 671"/>
                <a:gd name="T3" fmla="*/ 0 h 549"/>
                <a:gd name="T4" fmla="*/ 0 w 671"/>
                <a:gd name="T5" fmla="*/ 0 h 549"/>
                <a:gd name="T6" fmla="*/ 0 w 671"/>
                <a:gd name="T7" fmla="*/ 0 h 549"/>
                <a:gd name="T8" fmla="*/ 0 w 671"/>
                <a:gd name="T9" fmla="*/ 0 h 549"/>
                <a:gd name="T10" fmla="*/ 0 w 671"/>
                <a:gd name="T11" fmla="*/ 0 h 549"/>
                <a:gd name="T12" fmla="*/ 0 w 671"/>
                <a:gd name="T13" fmla="*/ 0 h 549"/>
                <a:gd name="T14" fmla="*/ 0 w 671"/>
                <a:gd name="T15" fmla="*/ 0 h 549"/>
                <a:gd name="T16" fmla="*/ 0 w 671"/>
                <a:gd name="T17" fmla="*/ 0 h 549"/>
                <a:gd name="T18" fmla="*/ 0 w 671"/>
                <a:gd name="T19" fmla="*/ 0 h 549"/>
                <a:gd name="T20" fmla="*/ 0 w 671"/>
                <a:gd name="T21" fmla="*/ 0 h 549"/>
                <a:gd name="T22" fmla="*/ 0 w 671"/>
                <a:gd name="T23" fmla="*/ 0 h 549"/>
                <a:gd name="T24" fmla="*/ 0 w 671"/>
                <a:gd name="T25" fmla="*/ 0 h 549"/>
                <a:gd name="T26" fmla="*/ 0 w 671"/>
                <a:gd name="T27" fmla="*/ 0 h 549"/>
                <a:gd name="T28" fmla="*/ 0 w 671"/>
                <a:gd name="T29" fmla="*/ 0 h 549"/>
                <a:gd name="T30" fmla="*/ 0 w 671"/>
                <a:gd name="T31" fmla="*/ 0 h 549"/>
                <a:gd name="T32" fmla="*/ 0 w 671"/>
                <a:gd name="T33" fmla="*/ 0 h 549"/>
                <a:gd name="T34" fmla="*/ 0 w 671"/>
                <a:gd name="T35" fmla="*/ 0 h 549"/>
                <a:gd name="T36" fmla="*/ 0 w 671"/>
                <a:gd name="T37" fmla="*/ 0 h 549"/>
                <a:gd name="T38" fmla="*/ 0 w 671"/>
                <a:gd name="T39" fmla="*/ 0 h 549"/>
                <a:gd name="T40" fmla="*/ 0 w 671"/>
                <a:gd name="T41" fmla="*/ 0 h 549"/>
                <a:gd name="T42" fmla="*/ 0 w 671"/>
                <a:gd name="T43" fmla="*/ 0 h 549"/>
                <a:gd name="T44" fmla="*/ 0 w 671"/>
                <a:gd name="T45" fmla="*/ 0 h 549"/>
                <a:gd name="T46" fmla="*/ 0 w 671"/>
                <a:gd name="T47" fmla="*/ 0 h 549"/>
                <a:gd name="T48" fmla="*/ 0 w 671"/>
                <a:gd name="T49" fmla="*/ 0 h 549"/>
                <a:gd name="T50" fmla="*/ 0 w 671"/>
                <a:gd name="T51" fmla="*/ 0 h 549"/>
                <a:gd name="T52" fmla="*/ 0 w 671"/>
                <a:gd name="T53" fmla="*/ 0 h 549"/>
                <a:gd name="T54" fmla="*/ 0 w 671"/>
                <a:gd name="T55" fmla="*/ 0 h 549"/>
                <a:gd name="T56" fmla="*/ 0 w 671"/>
                <a:gd name="T57" fmla="*/ 0 h 549"/>
                <a:gd name="T58" fmla="*/ 0 w 671"/>
                <a:gd name="T59" fmla="*/ 0 h 549"/>
                <a:gd name="T60" fmla="*/ 0 w 671"/>
                <a:gd name="T61" fmla="*/ 0 h 549"/>
                <a:gd name="T62" fmla="*/ 0 w 671"/>
                <a:gd name="T63" fmla="*/ 0 h 549"/>
                <a:gd name="T64" fmla="*/ 0 w 671"/>
                <a:gd name="T65" fmla="*/ 0 h 549"/>
                <a:gd name="T66" fmla="*/ 0 w 671"/>
                <a:gd name="T67" fmla="*/ 0 h 549"/>
                <a:gd name="T68" fmla="*/ 0 w 671"/>
                <a:gd name="T69" fmla="*/ 0 h 549"/>
                <a:gd name="T70" fmla="*/ 0 w 671"/>
                <a:gd name="T71" fmla="*/ 0 h 549"/>
                <a:gd name="T72" fmla="*/ 0 w 671"/>
                <a:gd name="T73" fmla="*/ 0 h 549"/>
                <a:gd name="T74" fmla="*/ 0 w 671"/>
                <a:gd name="T75" fmla="*/ 0 h 549"/>
                <a:gd name="T76" fmla="*/ 0 w 671"/>
                <a:gd name="T77" fmla="*/ 0 h 549"/>
                <a:gd name="T78" fmla="*/ 0 w 671"/>
                <a:gd name="T79" fmla="*/ 0 h 549"/>
                <a:gd name="T80" fmla="*/ 0 w 671"/>
                <a:gd name="T81" fmla="*/ 0 h 549"/>
                <a:gd name="T82" fmla="*/ 0 w 671"/>
                <a:gd name="T83" fmla="*/ 0 h 549"/>
                <a:gd name="T84" fmla="*/ 0 w 671"/>
                <a:gd name="T85" fmla="*/ 0 h 549"/>
                <a:gd name="T86" fmla="*/ 0 w 671"/>
                <a:gd name="T87" fmla="*/ 0 h 549"/>
                <a:gd name="T88" fmla="*/ 0 w 671"/>
                <a:gd name="T89" fmla="*/ 0 h 549"/>
                <a:gd name="T90" fmla="*/ 0 w 671"/>
                <a:gd name="T91" fmla="*/ 0 h 549"/>
                <a:gd name="T92" fmla="*/ 0 w 671"/>
                <a:gd name="T93" fmla="*/ 0 h 549"/>
                <a:gd name="T94" fmla="*/ 0 w 671"/>
                <a:gd name="T95" fmla="*/ 0 h 549"/>
                <a:gd name="T96" fmla="*/ 0 w 671"/>
                <a:gd name="T97" fmla="*/ 0 h 549"/>
                <a:gd name="T98" fmla="*/ 0 w 671"/>
                <a:gd name="T99" fmla="*/ 0 h 549"/>
                <a:gd name="T100" fmla="*/ 0 w 671"/>
                <a:gd name="T101" fmla="*/ 0 h 549"/>
                <a:gd name="T102" fmla="*/ 0 w 671"/>
                <a:gd name="T103" fmla="*/ 0 h 549"/>
                <a:gd name="T104" fmla="*/ 0 w 671"/>
                <a:gd name="T105" fmla="*/ 0 h 549"/>
                <a:gd name="T106" fmla="*/ 0 w 671"/>
                <a:gd name="T107" fmla="*/ 0 h 549"/>
                <a:gd name="T108" fmla="*/ 0 w 671"/>
                <a:gd name="T109" fmla="*/ 0 h 549"/>
                <a:gd name="T110" fmla="*/ 0 w 671"/>
                <a:gd name="T111" fmla="*/ 0 h 549"/>
                <a:gd name="T112" fmla="*/ 0 w 671"/>
                <a:gd name="T113" fmla="*/ 0 h 549"/>
                <a:gd name="T114" fmla="*/ 0 w 671"/>
                <a:gd name="T115" fmla="*/ 0 h 549"/>
                <a:gd name="T116" fmla="*/ 0 w 671"/>
                <a:gd name="T117" fmla="*/ 0 h 549"/>
                <a:gd name="T118" fmla="*/ 0 w 671"/>
                <a:gd name="T119" fmla="*/ 0 h 549"/>
                <a:gd name="T120" fmla="*/ 0 w 671"/>
                <a:gd name="T121" fmla="*/ 0 h 549"/>
                <a:gd name="T122" fmla="*/ 0 w 671"/>
                <a:gd name="T123" fmla="*/ 0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0" name="Freeform 599"/>
            <p:cNvSpPr>
              <a:spLocks/>
            </p:cNvSpPr>
            <p:nvPr>
              <p:custDataLst>
                <p:tags r:id="rId28"/>
              </p:custDataLst>
            </p:nvPr>
          </p:nvSpPr>
          <p:spPr bwMode="auto">
            <a:xfrm>
              <a:off x="3359" y="1951"/>
              <a:ext cx="104" cy="107"/>
            </a:xfrm>
            <a:custGeom>
              <a:avLst/>
              <a:gdLst>
                <a:gd name="T0" fmla="*/ 0 w 358"/>
                <a:gd name="T1" fmla="*/ 0 h 327"/>
                <a:gd name="T2" fmla="*/ 0 w 358"/>
                <a:gd name="T3" fmla="*/ 0 h 327"/>
                <a:gd name="T4" fmla="*/ 0 w 358"/>
                <a:gd name="T5" fmla="*/ 0 h 327"/>
                <a:gd name="T6" fmla="*/ 0 w 358"/>
                <a:gd name="T7" fmla="*/ 0 h 327"/>
                <a:gd name="T8" fmla="*/ 0 w 358"/>
                <a:gd name="T9" fmla="*/ 0 h 327"/>
                <a:gd name="T10" fmla="*/ 0 w 358"/>
                <a:gd name="T11" fmla="*/ 0 h 327"/>
                <a:gd name="T12" fmla="*/ 0 w 358"/>
                <a:gd name="T13" fmla="*/ 0 h 327"/>
                <a:gd name="T14" fmla="*/ 0 w 358"/>
                <a:gd name="T15" fmla="*/ 0 h 327"/>
                <a:gd name="T16" fmla="*/ 0 w 358"/>
                <a:gd name="T17" fmla="*/ 0 h 327"/>
                <a:gd name="T18" fmla="*/ 0 w 358"/>
                <a:gd name="T19" fmla="*/ 0 h 327"/>
                <a:gd name="T20" fmla="*/ 0 w 358"/>
                <a:gd name="T21" fmla="*/ 0 h 327"/>
                <a:gd name="T22" fmla="*/ 0 w 358"/>
                <a:gd name="T23" fmla="*/ 0 h 327"/>
                <a:gd name="T24" fmla="*/ 0 w 358"/>
                <a:gd name="T25" fmla="*/ 0 h 327"/>
                <a:gd name="T26" fmla="*/ 0 w 358"/>
                <a:gd name="T27" fmla="*/ 0 h 327"/>
                <a:gd name="T28" fmla="*/ 0 w 358"/>
                <a:gd name="T29" fmla="*/ 0 h 327"/>
                <a:gd name="T30" fmla="*/ 0 w 358"/>
                <a:gd name="T31" fmla="*/ 0 h 327"/>
                <a:gd name="T32" fmla="*/ 0 w 358"/>
                <a:gd name="T33" fmla="*/ 0 h 327"/>
                <a:gd name="T34" fmla="*/ 0 w 358"/>
                <a:gd name="T35" fmla="*/ 0 h 327"/>
                <a:gd name="T36" fmla="*/ 0 w 358"/>
                <a:gd name="T37" fmla="*/ 0 h 327"/>
                <a:gd name="T38" fmla="*/ 0 w 358"/>
                <a:gd name="T39" fmla="*/ 0 h 327"/>
                <a:gd name="T40" fmla="*/ 0 w 358"/>
                <a:gd name="T41" fmla="*/ 0 h 327"/>
                <a:gd name="T42" fmla="*/ 0 w 358"/>
                <a:gd name="T43" fmla="*/ 0 h 327"/>
                <a:gd name="T44" fmla="*/ 0 w 358"/>
                <a:gd name="T45" fmla="*/ 0 h 327"/>
                <a:gd name="T46" fmla="*/ 0 w 358"/>
                <a:gd name="T47" fmla="*/ 0 h 327"/>
                <a:gd name="T48" fmla="*/ 0 w 358"/>
                <a:gd name="T49" fmla="*/ 0 h 327"/>
                <a:gd name="T50" fmla="*/ 0 w 358"/>
                <a:gd name="T51" fmla="*/ 0 h 327"/>
                <a:gd name="T52" fmla="*/ 0 w 358"/>
                <a:gd name="T53" fmla="*/ 0 h 327"/>
                <a:gd name="T54" fmla="*/ 0 w 358"/>
                <a:gd name="T55" fmla="*/ 0 h 327"/>
                <a:gd name="T56" fmla="*/ 0 w 358"/>
                <a:gd name="T57" fmla="*/ 0 h 327"/>
                <a:gd name="T58" fmla="*/ 0 w 358"/>
                <a:gd name="T59" fmla="*/ 0 h 327"/>
                <a:gd name="T60" fmla="*/ 0 w 358"/>
                <a:gd name="T61" fmla="*/ 0 h 327"/>
                <a:gd name="T62" fmla="*/ 0 w 358"/>
                <a:gd name="T63" fmla="*/ 0 h 327"/>
                <a:gd name="T64" fmla="*/ 0 w 358"/>
                <a:gd name="T65" fmla="*/ 0 h 327"/>
                <a:gd name="T66" fmla="*/ 0 w 358"/>
                <a:gd name="T67" fmla="*/ 0 h 327"/>
                <a:gd name="T68" fmla="*/ 0 w 358"/>
                <a:gd name="T69" fmla="*/ 0 h 327"/>
                <a:gd name="T70" fmla="*/ 0 w 358"/>
                <a:gd name="T71" fmla="*/ 0 h 327"/>
                <a:gd name="T72" fmla="*/ 0 w 358"/>
                <a:gd name="T73" fmla="*/ 0 h 327"/>
                <a:gd name="T74" fmla="*/ 0 w 358"/>
                <a:gd name="T75" fmla="*/ 0 h 327"/>
                <a:gd name="T76" fmla="*/ 0 w 358"/>
                <a:gd name="T77" fmla="*/ 0 h 327"/>
                <a:gd name="T78" fmla="*/ 0 w 358"/>
                <a:gd name="T79" fmla="*/ 0 h 327"/>
                <a:gd name="T80" fmla="*/ 0 w 358"/>
                <a:gd name="T81" fmla="*/ 0 h 327"/>
                <a:gd name="T82" fmla="*/ 0 w 358"/>
                <a:gd name="T83" fmla="*/ 0 h 327"/>
                <a:gd name="T84" fmla="*/ 0 w 358"/>
                <a:gd name="T85" fmla="*/ 0 h 327"/>
                <a:gd name="T86" fmla="*/ 0 w 358"/>
                <a:gd name="T87" fmla="*/ 0 h 327"/>
                <a:gd name="T88" fmla="*/ 0 w 358"/>
                <a:gd name="T89" fmla="*/ 0 h 327"/>
                <a:gd name="T90" fmla="*/ 0 w 358"/>
                <a:gd name="T91" fmla="*/ 0 h 327"/>
                <a:gd name="T92" fmla="*/ 0 w 358"/>
                <a:gd name="T93" fmla="*/ 0 h 327"/>
                <a:gd name="T94" fmla="*/ 0 w 358"/>
                <a:gd name="T95" fmla="*/ 0 h 327"/>
                <a:gd name="T96" fmla="*/ 0 w 358"/>
                <a:gd name="T97" fmla="*/ 0 h 327"/>
                <a:gd name="T98" fmla="*/ 0 w 358"/>
                <a:gd name="T99" fmla="*/ 0 h 327"/>
                <a:gd name="T100" fmla="*/ 0 w 358"/>
                <a:gd name="T101" fmla="*/ 0 h 327"/>
                <a:gd name="T102" fmla="*/ 0 w 358"/>
                <a:gd name="T103" fmla="*/ 0 h 327"/>
                <a:gd name="T104" fmla="*/ 0 w 358"/>
                <a:gd name="T105" fmla="*/ 0 h 327"/>
                <a:gd name="T106" fmla="*/ 0 w 358"/>
                <a:gd name="T107" fmla="*/ 0 h 327"/>
                <a:gd name="T108" fmla="*/ 0 w 358"/>
                <a:gd name="T109" fmla="*/ 0 h 327"/>
                <a:gd name="T110" fmla="*/ 0 w 358"/>
                <a:gd name="T111" fmla="*/ 0 h 327"/>
                <a:gd name="T112" fmla="*/ 0 w 358"/>
                <a:gd name="T113" fmla="*/ 0 h 327"/>
                <a:gd name="T114" fmla="*/ 0 w 358"/>
                <a:gd name="T115" fmla="*/ 0 h 327"/>
                <a:gd name="T116" fmla="*/ 0 w 358"/>
                <a:gd name="T117" fmla="*/ 0 h 327"/>
                <a:gd name="T118" fmla="*/ 0 w 358"/>
                <a:gd name="T119" fmla="*/ 0 h 327"/>
                <a:gd name="T120" fmla="*/ 0 w 358"/>
                <a:gd name="T121" fmla="*/ 0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1" name="Freeform 600"/>
            <p:cNvSpPr>
              <a:spLocks/>
            </p:cNvSpPr>
            <p:nvPr>
              <p:custDataLst>
                <p:tags r:id="rId29"/>
              </p:custDataLst>
            </p:nvPr>
          </p:nvSpPr>
          <p:spPr bwMode="auto">
            <a:xfrm>
              <a:off x="2992" y="1324"/>
              <a:ext cx="86" cy="36"/>
            </a:xfrm>
            <a:custGeom>
              <a:avLst/>
              <a:gdLst>
                <a:gd name="T0" fmla="*/ 0 w 292"/>
                <a:gd name="T1" fmla="*/ 0 h 99"/>
                <a:gd name="T2" fmla="*/ 0 w 292"/>
                <a:gd name="T3" fmla="*/ 0 h 99"/>
                <a:gd name="T4" fmla="*/ 0 w 292"/>
                <a:gd name="T5" fmla="*/ 0 h 99"/>
                <a:gd name="T6" fmla="*/ 0 w 292"/>
                <a:gd name="T7" fmla="*/ 0 h 99"/>
                <a:gd name="T8" fmla="*/ 0 w 292"/>
                <a:gd name="T9" fmla="*/ 0 h 99"/>
                <a:gd name="T10" fmla="*/ 0 w 292"/>
                <a:gd name="T11" fmla="*/ 0 h 99"/>
                <a:gd name="T12" fmla="*/ 0 w 292"/>
                <a:gd name="T13" fmla="*/ 0 h 99"/>
                <a:gd name="T14" fmla="*/ 0 w 292"/>
                <a:gd name="T15" fmla="*/ 0 h 99"/>
                <a:gd name="T16" fmla="*/ 0 w 292"/>
                <a:gd name="T17" fmla="*/ 0 h 99"/>
                <a:gd name="T18" fmla="*/ 0 w 292"/>
                <a:gd name="T19" fmla="*/ 0 h 99"/>
                <a:gd name="T20" fmla="*/ 0 w 292"/>
                <a:gd name="T21" fmla="*/ 0 h 99"/>
                <a:gd name="T22" fmla="*/ 0 w 292"/>
                <a:gd name="T23" fmla="*/ 0 h 99"/>
                <a:gd name="T24" fmla="*/ 0 w 292"/>
                <a:gd name="T25" fmla="*/ 0 h 99"/>
                <a:gd name="T26" fmla="*/ 0 w 292"/>
                <a:gd name="T27" fmla="*/ 0 h 99"/>
                <a:gd name="T28" fmla="*/ 0 w 292"/>
                <a:gd name="T29" fmla="*/ 0 h 99"/>
                <a:gd name="T30" fmla="*/ 0 w 292"/>
                <a:gd name="T31" fmla="*/ 0 h 99"/>
                <a:gd name="T32" fmla="*/ 0 w 292"/>
                <a:gd name="T33" fmla="*/ 0 h 99"/>
                <a:gd name="T34" fmla="*/ 0 w 292"/>
                <a:gd name="T35" fmla="*/ 0 h 99"/>
                <a:gd name="T36" fmla="*/ 0 w 292"/>
                <a:gd name="T37" fmla="*/ 0 h 99"/>
                <a:gd name="T38" fmla="*/ 0 w 292"/>
                <a:gd name="T39" fmla="*/ 0 h 99"/>
                <a:gd name="T40" fmla="*/ 0 w 292"/>
                <a:gd name="T41" fmla="*/ 0 h 99"/>
                <a:gd name="T42" fmla="*/ 0 w 292"/>
                <a:gd name="T43" fmla="*/ 0 h 99"/>
                <a:gd name="T44" fmla="*/ 0 w 292"/>
                <a:gd name="T45" fmla="*/ 0 h 99"/>
                <a:gd name="T46" fmla="*/ 0 w 292"/>
                <a:gd name="T47" fmla="*/ 0 h 99"/>
                <a:gd name="T48" fmla="*/ 0 w 292"/>
                <a:gd name="T49" fmla="*/ 0 h 99"/>
                <a:gd name="T50" fmla="*/ 0 w 292"/>
                <a:gd name="T51" fmla="*/ 0 h 99"/>
                <a:gd name="T52" fmla="*/ 0 w 292"/>
                <a:gd name="T53" fmla="*/ 0 h 99"/>
                <a:gd name="T54" fmla="*/ 0 w 292"/>
                <a:gd name="T55" fmla="*/ 0 h 99"/>
                <a:gd name="T56" fmla="*/ 0 w 292"/>
                <a:gd name="T57" fmla="*/ 0 h 99"/>
                <a:gd name="T58" fmla="*/ 0 w 292"/>
                <a:gd name="T59" fmla="*/ 0 h 99"/>
                <a:gd name="T60" fmla="*/ 0 w 292"/>
                <a:gd name="T61" fmla="*/ 0 h 99"/>
                <a:gd name="T62" fmla="*/ 0 w 292"/>
                <a:gd name="T63" fmla="*/ 0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2" name="Freeform 601"/>
            <p:cNvSpPr>
              <a:spLocks/>
            </p:cNvSpPr>
            <p:nvPr>
              <p:custDataLst>
                <p:tags r:id="rId30"/>
              </p:custDataLst>
            </p:nvPr>
          </p:nvSpPr>
          <p:spPr bwMode="auto">
            <a:xfrm>
              <a:off x="3582" y="1778"/>
              <a:ext cx="13" cy="36"/>
            </a:xfrm>
            <a:custGeom>
              <a:avLst/>
              <a:gdLst>
                <a:gd name="T0" fmla="*/ 0 w 43"/>
                <a:gd name="T1" fmla="*/ 0 h 93"/>
                <a:gd name="T2" fmla="*/ 0 w 43"/>
                <a:gd name="T3" fmla="*/ 0 h 93"/>
                <a:gd name="T4" fmla="*/ 0 w 43"/>
                <a:gd name="T5" fmla="*/ 0 h 93"/>
                <a:gd name="T6" fmla="*/ 0 w 43"/>
                <a:gd name="T7" fmla="*/ 0 h 93"/>
                <a:gd name="T8" fmla="*/ 0 w 43"/>
                <a:gd name="T9" fmla="*/ 0 h 93"/>
                <a:gd name="T10" fmla="*/ 0 w 43"/>
                <a:gd name="T11" fmla="*/ 0 h 93"/>
                <a:gd name="T12" fmla="*/ 0 w 43"/>
                <a:gd name="T13" fmla="*/ 0 h 93"/>
                <a:gd name="T14" fmla="*/ 0 w 43"/>
                <a:gd name="T15" fmla="*/ 0 h 93"/>
                <a:gd name="T16" fmla="*/ 0 w 43"/>
                <a:gd name="T17" fmla="*/ 0 h 93"/>
                <a:gd name="T18" fmla="*/ 0 w 43"/>
                <a:gd name="T19" fmla="*/ 0 h 93"/>
                <a:gd name="T20" fmla="*/ 0 w 43"/>
                <a:gd name="T21" fmla="*/ 0 h 93"/>
                <a:gd name="T22" fmla="*/ 0 w 43"/>
                <a:gd name="T23" fmla="*/ 0 h 93"/>
                <a:gd name="T24" fmla="*/ 0 w 43"/>
                <a:gd name="T25" fmla="*/ 0 h 93"/>
                <a:gd name="T26" fmla="*/ 0 w 43"/>
                <a:gd name="T27" fmla="*/ 0 h 93"/>
                <a:gd name="T28" fmla="*/ 0 w 43"/>
                <a:gd name="T29" fmla="*/ 0 h 93"/>
                <a:gd name="T30" fmla="*/ 0 w 43"/>
                <a:gd name="T31" fmla="*/ 0 h 93"/>
                <a:gd name="T32" fmla="*/ 0 w 43"/>
                <a:gd name="T33" fmla="*/ 0 h 93"/>
                <a:gd name="T34" fmla="*/ 0 w 43"/>
                <a:gd name="T35" fmla="*/ 0 h 93"/>
                <a:gd name="T36" fmla="*/ 0 w 43"/>
                <a:gd name="T37" fmla="*/ 0 h 93"/>
                <a:gd name="T38" fmla="*/ 0 w 43"/>
                <a:gd name="T39" fmla="*/ 0 h 93"/>
                <a:gd name="T40" fmla="*/ 0 w 43"/>
                <a:gd name="T41" fmla="*/ 0 h 93"/>
                <a:gd name="T42" fmla="*/ 0 w 43"/>
                <a:gd name="T43" fmla="*/ 0 h 93"/>
                <a:gd name="T44" fmla="*/ 0 w 43"/>
                <a:gd name="T45" fmla="*/ 0 h 93"/>
                <a:gd name="T46" fmla="*/ 0 w 43"/>
                <a:gd name="T47" fmla="*/ 0 h 93"/>
                <a:gd name="T48" fmla="*/ 0 w 43"/>
                <a:gd name="T49" fmla="*/ 0 h 93"/>
                <a:gd name="T50" fmla="*/ 0 w 43"/>
                <a:gd name="T51" fmla="*/ 0 h 93"/>
                <a:gd name="T52" fmla="*/ 0 w 43"/>
                <a:gd name="T53" fmla="*/ 0 h 93"/>
                <a:gd name="T54" fmla="*/ 0 w 43"/>
                <a:gd name="T55" fmla="*/ 0 h 93"/>
                <a:gd name="T56" fmla="*/ 0 w 43"/>
                <a:gd name="T57" fmla="*/ 0 h 93"/>
                <a:gd name="T58" fmla="*/ 0 w 43"/>
                <a:gd name="T59" fmla="*/ 0 h 93"/>
                <a:gd name="T60" fmla="*/ 0 w 43"/>
                <a:gd name="T61" fmla="*/ 0 h 93"/>
                <a:gd name="T62" fmla="*/ 0 w 43"/>
                <a:gd name="T63" fmla="*/ 0 h 93"/>
                <a:gd name="T64" fmla="*/ 0 w 43"/>
                <a:gd name="T65" fmla="*/ 0 h 93"/>
                <a:gd name="T66" fmla="*/ 0 w 43"/>
                <a:gd name="T67" fmla="*/ 0 h 93"/>
                <a:gd name="T68" fmla="*/ 0 w 43"/>
                <a:gd name="T69" fmla="*/ 0 h 93"/>
                <a:gd name="T70" fmla="*/ 0 w 43"/>
                <a:gd name="T71" fmla="*/ 0 h 93"/>
                <a:gd name="T72" fmla="*/ 0 w 43"/>
                <a:gd name="T73" fmla="*/ 0 h 93"/>
                <a:gd name="T74" fmla="*/ 0 w 43"/>
                <a:gd name="T75" fmla="*/ 0 h 93"/>
                <a:gd name="T76" fmla="*/ 0 w 43"/>
                <a:gd name="T77" fmla="*/ 0 h 93"/>
                <a:gd name="T78" fmla="*/ 0 w 43"/>
                <a:gd name="T79" fmla="*/ 0 h 93"/>
                <a:gd name="T80" fmla="*/ 0 w 43"/>
                <a:gd name="T81" fmla="*/ 0 h 93"/>
                <a:gd name="T82" fmla="*/ 0 w 43"/>
                <a:gd name="T83" fmla="*/ 0 h 93"/>
                <a:gd name="T84" fmla="*/ 0 w 43"/>
                <a:gd name="T85" fmla="*/ 0 h 93"/>
                <a:gd name="T86" fmla="*/ 0 w 43"/>
                <a:gd name="T87" fmla="*/ 0 h 93"/>
                <a:gd name="T88" fmla="*/ 0 w 43"/>
                <a:gd name="T89" fmla="*/ 0 h 93"/>
                <a:gd name="T90" fmla="*/ 0 w 43"/>
                <a:gd name="T91" fmla="*/ 0 h 93"/>
                <a:gd name="T92" fmla="*/ 0 w 43"/>
                <a:gd name="T93" fmla="*/ 0 h 93"/>
                <a:gd name="T94" fmla="*/ 0 w 43"/>
                <a:gd name="T95" fmla="*/ 0 h 93"/>
                <a:gd name="T96" fmla="*/ 0 w 43"/>
                <a:gd name="T97" fmla="*/ 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3" name="Freeform 602"/>
            <p:cNvSpPr>
              <a:spLocks/>
            </p:cNvSpPr>
            <p:nvPr>
              <p:custDataLst>
                <p:tags r:id="rId31"/>
              </p:custDataLst>
            </p:nvPr>
          </p:nvSpPr>
          <p:spPr bwMode="auto">
            <a:xfrm>
              <a:off x="3663" y="1781"/>
              <a:ext cx="10" cy="36"/>
            </a:xfrm>
            <a:custGeom>
              <a:avLst/>
              <a:gdLst>
                <a:gd name="T0" fmla="*/ 0 w 40"/>
                <a:gd name="T1" fmla="*/ 1 h 56"/>
                <a:gd name="T2" fmla="*/ 0 w 40"/>
                <a:gd name="T3" fmla="*/ 1 h 56"/>
                <a:gd name="T4" fmla="*/ 0 w 40"/>
                <a:gd name="T5" fmla="*/ 1 h 56"/>
                <a:gd name="T6" fmla="*/ 0 w 40"/>
                <a:gd name="T7" fmla="*/ 1 h 56"/>
                <a:gd name="T8" fmla="*/ 0 w 40"/>
                <a:gd name="T9" fmla="*/ 1 h 56"/>
                <a:gd name="T10" fmla="*/ 0 w 40"/>
                <a:gd name="T11" fmla="*/ 1 h 56"/>
                <a:gd name="T12" fmla="*/ 0 w 40"/>
                <a:gd name="T13" fmla="*/ 1 h 56"/>
                <a:gd name="T14" fmla="*/ 0 w 40"/>
                <a:gd name="T15" fmla="*/ 1 h 56"/>
                <a:gd name="T16" fmla="*/ 0 w 40"/>
                <a:gd name="T17" fmla="*/ 0 h 56"/>
                <a:gd name="T18" fmla="*/ 0 w 40"/>
                <a:gd name="T19" fmla="*/ 1 h 56"/>
                <a:gd name="T20" fmla="*/ 0 w 40"/>
                <a:gd name="T21" fmla="*/ 1 h 56"/>
                <a:gd name="T22" fmla="*/ 0 w 40"/>
                <a:gd name="T23" fmla="*/ 1 h 56"/>
                <a:gd name="T24" fmla="*/ 0 w 40"/>
                <a:gd name="T25" fmla="*/ 1 h 56"/>
                <a:gd name="T26" fmla="*/ 0 w 40"/>
                <a:gd name="T27" fmla="*/ 1 h 56"/>
                <a:gd name="T28" fmla="*/ 0 w 40"/>
                <a:gd name="T29" fmla="*/ 1 h 56"/>
                <a:gd name="T30" fmla="*/ 0 w 40"/>
                <a:gd name="T31" fmla="*/ 1 h 56"/>
                <a:gd name="T32" fmla="*/ 0 w 40"/>
                <a:gd name="T33" fmla="*/ 1 h 56"/>
                <a:gd name="T34" fmla="*/ 0 w 40"/>
                <a:gd name="T35" fmla="*/ 1 h 56"/>
                <a:gd name="T36" fmla="*/ 0 w 40"/>
                <a:gd name="T37" fmla="*/ 1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4" name="Freeform 603"/>
            <p:cNvSpPr>
              <a:spLocks/>
            </p:cNvSpPr>
            <p:nvPr>
              <p:custDataLst>
                <p:tags r:id="rId32"/>
              </p:custDataLst>
            </p:nvPr>
          </p:nvSpPr>
          <p:spPr bwMode="auto">
            <a:xfrm>
              <a:off x="4678" y="2197"/>
              <a:ext cx="30" cy="36"/>
            </a:xfrm>
            <a:custGeom>
              <a:avLst/>
              <a:gdLst>
                <a:gd name="T0" fmla="*/ 0 w 106"/>
                <a:gd name="T1" fmla="*/ 1 h 71"/>
                <a:gd name="T2" fmla="*/ 0 w 106"/>
                <a:gd name="T3" fmla="*/ 1 h 71"/>
                <a:gd name="T4" fmla="*/ 0 w 106"/>
                <a:gd name="T5" fmla="*/ 1 h 71"/>
                <a:gd name="T6" fmla="*/ 0 w 106"/>
                <a:gd name="T7" fmla="*/ 1 h 71"/>
                <a:gd name="T8" fmla="*/ 0 w 106"/>
                <a:gd name="T9" fmla="*/ 1 h 71"/>
                <a:gd name="T10" fmla="*/ 0 w 106"/>
                <a:gd name="T11" fmla="*/ 1 h 71"/>
                <a:gd name="T12" fmla="*/ 0 w 106"/>
                <a:gd name="T13" fmla="*/ 1 h 71"/>
                <a:gd name="T14" fmla="*/ 0 w 106"/>
                <a:gd name="T15" fmla="*/ 1 h 71"/>
                <a:gd name="T16" fmla="*/ 0 w 106"/>
                <a:gd name="T17" fmla="*/ 0 h 71"/>
                <a:gd name="T18" fmla="*/ 0 w 106"/>
                <a:gd name="T19" fmla="*/ 1 h 71"/>
                <a:gd name="T20" fmla="*/ 0 w 106"/>
                <a:gd name="T21" fmla="*/ 1 h 71"/>
                <a:gd name="T22" fmla="*/ 0 w 106"/>
                <a:gd name="T23" fmla="*/ 1 h 71"/>
                <a:gd name="T24" fmla="*/ 0 w 106"/>
                <a:gd name="T25" fmla="*/ 1 h 71"/>
                <a:gd name="T26" fmla="*/ 0 w 106"/>
                <a:gd name="T27" fmla="*/ 1 h 71"/>
                <a:gd name="T28" fmla="*/ 0 w 106"/>
                <a:gd name="T29" fmla="*/ 1 h 71"/>
                <a:gd name="T30" fmla="*/ 0 w 106"/>
                <a:gd name="T31" fmla="*/ 1 h 71"/>
                <a:gd name="T32" fmla="*/ 0 w 106"/>
                <a:gd name="T33" fmla="*/ 1 h 71"/>
                <a:gd name="T34" fmla="*/ 0 w 106"/>
                <a:gd name="T35" fmla="*/ 1 h 71"/>
                <a:gd name="T36" fmla="*/ 0 w 106"/>
                <a:gd name="T37" fmla="*/ 1 h 71"/>
                <a:gd name="T38" fmla="*/ 0 w 106"/>
                <a:gd name="T39" fmla="*/ 1 h 71"/>
                <a:gd name="T40" fmla="*/ 0 w 106"/>
                <a:gd name="T41" fmla="*/ 1 h 71"/>
                <a:gd name="T42" fmla="*/ 0 w 106"/>
                <a:gd name="T43" fmla="*/ 1 h 71"/>
                <a:gd name="T44" fmla="*/ 0 w 106"/>
                <a:gd name="T45" fmla="*/ 1 h 71"/>
                <a:gd name="T46" fmla="*/ 0 w 106"/>
                <a:gd name="T47" fmla="*/ 1 h 71"/>
                <a:gd name="T48" fmla="*/ 0 w 106"/>
                <a:gd name="T49" fmla="*/ 1 h 71"/>
                <a:gd name="T50" fmla="*/ 0 w 106"/>
                <a:gd name="T51" fmla="*/ 1 h 71"/>
                <a:gd name="T52" fmla="*/ 0 w 106"/>
                <a:gd name="T53" fmla="*/ 1 h 71"/>
                <a:gd name="T54" fmla="*/ 0 w 106"/>
                <a:gd name="T55" fmla="*/ 1 h 71"/>
                <a:gd name="T56" fmla="*/ 0 w 106"/>
                <a:gd name="T57" fmla="*/ 1 h 71"/>
                <a:gd name="T58" fmla="*/ 0 w 106"/>
                <a:gd name="T59" fmla="*/ 1 h 71"/>
                <a:gd name="T60" fmla="*/ 0 w 106"/>
                <a:gd name="T61" fmla="*/ 1 h 71"/>
                <a:gd name="T62" fmla="*/ 0 w 106"/>
                <a:gd name="T63" fmla="*/ 1 h 71"/>
                <a:gd name="T64" fmla="*/ 0 w 106"/>
                <a:gd name="T65" fmla="*/ 1 h 71"/>
                <a:gd name="T66" fmla="*/ 0 w 106"/>
                <a:gd name="T67" fmla="*/ 1 h 71"/>
                <a:gd name="T68" fmla="*/ 0 w 106"/>
                <a:gd name="T69" fmla="*/ 1 h 71"/>
                <a:gd name="T70" fmla="*/ 0 w 106"/>
                <a:gd name="T71" fmla="*/ 1 h 71"/>
                <a:gd name="T72" fmla="*/ 0 w 106"/>
                <a:gd name="T73" fmla="*/ 1 h 71"/>
                <a:gd name="T74" fmla="*/ 0 w 106"/>
                <a:gd name="T75" fmla="*/ 1 h 71"/>
                <a:gd name="T76" fmla="*/ 0 w 106"/>
                <a:gd name="T77" fmla="*/ 1 h 71"/>
                <a:gd name="T78" fmla="*/ 0 w 106"/>
                <a:gd name="T79" fmla="*/ 1 h 71"/>
                <a:gd name="T80" fmla="*/ 0 w 106"/>
                <a:gd name="T81" fmla="*/ 1 h 71"/>
                <a:gd name="T82" fmla="*/ 0 w 106"/>
                <a:gd name="T83" fmla="*/ 1 h 71"/>
                <a:gd name="T84" fmla="*/ 0 w 106"/>
                <a:gd name="T85" fmla="*/ 1 h 71"/>
                <a:gd name="T86" fmla="*/ 0 w 106"/>
                <a:gd name="T87" fmla="*/ 1 h 71"/>
                <a:gd name="T88" fmla="*/ 0 w 106"/>
                <a:gd name="T89" fmla="*/ 1 h 71"/>
                <a:gd name="T90" fmla="*/ 0 w 106"/>
                <a:gd name="T91" fmla="*/ 1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4" name="Group 604"/>
            <p:cNvGrpSpPr>
              <a:grpSpLocks/>
            </p:cNvGrpSpPr>
            <p:nvPr>
              <p:custDataLst>
                <p:tags r:id="rId33"/>
              </p:custDataLst>
            </p:nvPr>
          </p:nvGrpSpPr>
          <p:grpSpPr bwMode="auto">
            <a:xfrm>
              <a:off x="1847" y="3336"/>
              <a:ext cx="45" cy="35"/>
              <a:chOff x="1654" y="3671"/>
              <a:chExt cx="49" cy="17"/>
            </a:xfrm>
            <a:grpFill/>
          </p:grpSpPr>
          <p:sp>
            <p:nvSpPr>
              <p:cNvPr id="18996" name="Freeform 605"/>
              <p:cNvSpPr>
                <a:spLocks/>
              </p:cNvSpPr>
              <p:nvPr/>
            </p:nvSpPr>
            <p:spPr bwMode="auto">
              <a:xfrm>
                <a:off x="1654" y="3672"/>
                <a:ext cx="20" cy="14"/>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7" name="Freeform 606"/>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86" name="Freeform 607"/>
            <p:cNvSpPr>
              <a:spLocks/>
            </p:cNvSpPr>
            <p:nvPr>
              <p:custDataLst>
                <p:tags r:id="rId34"/>
              </p:custDataLst>
            </p:nvPr>
          </p:nvSpPr>
          <p:spPr bwMode="auto">
            <a:xfrm>
              <a:off x="1607" y="1947"/>
              <a:ext cx="21" cy="37"/>
            </a:xfrm>
            <a:custGeom>
              <a:avLst/>
              <a:gdLst>
                <a:gd name="T0" fmla="*/ 0 w 80"/>
                <a:gd name="T1" fmla="*/ 82 h 34"/>
                <a:gd name="T2" fmla="*/ 0 w 80"/>
                <a:gd name="T3" fmla="*/ 106 h 34"/>
                <a:gd name="T4" fmla="*/ 0 w 80"/>
                <a:gd name="T5" fmla="*/ 115 h 34"/>
                <a:gd name="T6" fmla="*/ 0 w 80"/>
                <a:gd name="T7" fmla="*/ 126 h 34"/>
                <a:gd name="T8" fmla="*/ 0 w 80"/>
                <a:gd name="T9" fmla="*/ 137 h 34"/>
                <a:gd name="T10" fmla="*/ 0 w 80"/>
                <a:gd name="T11" fmla="*/ 161 h 34"/>
                <a:gd name="T12" fmla="*/ 0 w 80"/>
                <a:gd name="T13" fmla="*/ 171 h 34"/>
                <a:gd name="T14" fmla="*/ 0 w 80"/>
                <a:gd name="T15" fmla="*/ 176 h 34"/>
                <a:gd name="T16" fmla="*/ 0 w 80"/>
                <a:gd name="T17" fmla="*/ 186 h 34"/>
                <a:gd name="T18" fmla="*/ 0 w 80"/>
                <a:gd name="T19" fmla="*/ 176 h 34"/>
                <a:gd name="T20" fmla="*/ 0 w 80"/>
                <a:gd name="T21" fmla="*/ 175 h 34"/>
                <a:gd name="T22" fmla="*/ 0 w 80"/>
                <a:gd name="T23" fmla="*/ 161 h 34"/>
                <a:gd name="T24" fmla="*/ 0 w 80"/>
                <a:gd name="T25" fmla="*/ 148 h 34"/>
                <a:gd name="T26" fmla="*/ 0 w 80"/>
                <a:gd name="T27" fmla="*/ 115 h 34"/>
                <a:gd name="T28" fmla="*/ 0 w 80"/>
                <a:gd name="T29" fmla="*/ 82 h 34"/>
                <a:gd name="T30" fmla="*/ 0 w 80"/>
                <a:gd name="T31" fmla="*/ 53 h 34"/>
                <a:gd name="T32" fmla="*/ 0 w 80"/>
                <a:gd name="T33" fmla="*/ 41 h 34"/>
                <a:gd name="T34" fmla="*/ 0 w 80"/>
                <a:gd name="T35" fmla="*/ 4 h 34"/>
                <a:gd name="T36" fmla="*/ 0 w 80"/>
                <a:gd name="T37" fmla="*/ 2 h 34"/>
                <a:gd name="T38" fmla="*/ 0 w 80"/>
                <a:gd name="T39" fmla="*/ 0 h 34"/>
                <a:gd name="T40" fmla="*/ 0 w 80"/>
                <a:gd name="T41" fmla="*/ 0 h 34"/>
                <a:gd name="T42" fmla="*/ 0 w 80"/>
                <a:gd name="T43" fmla="*/ 1 h 34"/>
                <a:gd name="T44" fmla="*/ 0 w 80"/>
                <a:gd name="T45" fmla="*/ 2 h 34"/>
                <a:gd name="T46" fmla="*/ 0 w 80"/>
                <a:gd name="T47" fmla="*/ 2 h 34"/>
                <a:gd name="T48" fmla="*/ 0 w 80"/>
                <a:gd name="T49" fmla="*/ 2 h 34"/>
                <a:gd name="T50" fmla="*/ 0 w 80"/>
                <a:gd name="T51" fmla="*/ 3 h 34"/>
                <a:gd name="T52" fmla="*/ 0 w 80"/>
                <a:gd name="T53" fmla="*/ 5 h 34"/>
                <a:gd name="T54" fmla="*/ 0 w 80"/>
                <a:gd name="T55" fmla="*/ 41 h 34"/>
                <a:gd name="T56" fmla="*/ 0 w 80"/>
                <a:gd name="T57" fmla="*/ 49 h 34"/>
                <a:gd name="T58" fmla="*/ 0 w 80"/>
                <a:gd name="T59" fmla="*/ 58 h 34"/>
                <a:gd name="T60" fmla="*/ 0 w 80"/>
                <a:gd name="T61" fmla="*/ 82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7" name="Freeform 608"/>
            <p:cNvSpPr>
              <a:spLocks/>
            </p:cNvSpPr>
            <p:nvPr>
              <p:custDataLst>
                <p:tags r:id="rId35"/>
              </p:custDataLst>
            </p:nvPr>
          </p:nvSpPr>
          <p:spPr bwMode="auto">
            <a:xfrm>
              <a:off x="1645" y="1951"/>
              <a:ext cx="1" cy="37"/>
            </a:xfrm>
            <a:custGeom>
              <a:avLst/>
              <a:gdLst>
                <a:gd name="T0" fmla="*/ 0 w 7"/>
                <a:gd name="T1" fmla="*/ 0 h 13"/>
                <a:gd name="T2" fmla="*/ 0 w 7"/>
                <a:gd name="T3" fmla="*/ 2147483647 h 13"/>
                <a:gd name="T4" fmla="*/ 0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8" name="Freeform 609"/>
            <p:cNvSpPr>
              <a:spLocks/>
            </p:cNvSpPr>
            <p:nvPr>
              <p:custDataLst>
                <p:tags r:id="rId36"/>
              </p:custDataLst>
            </p:nvPr>
          </p:nvSpPr>
          <p:spPr bwMode="auto">
            <a:xfrm>
              <a:off x="1653" y="1952"/>
              <a:ext cx="5" cy="37"/>
            </a:xfrm>
            <a:custGeom>
              <a:avLst/>
              <a:gdLst>
                <a:gd name="T0" fmla="*/ 0 w 20"/>
                <a:gd name="T1" fmla="*/ 0 h 6"/>
                <a:gd name="T2" fmla="*/ 0 w 20"/>
                <a:gd name="T3" fmla="*/ 2147483647 h 6"/>
                <a:gd name="T4" fmla="*/ 0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9" name="Freeform 610"/>
            <p:cNvSpPr>
              <a:spLocks/>
            </p:cNvSpPr>
            <p:nvPr>
              <p:custDataLst>
                <p:tags r:id="rId37"/>
              </p:custDataLst>
            </p:nvPr>
          </p:nvSpPr>
          <p:spPr bwMode="auto">
            <a:xfrm>
              <a:off x="1663" y="1946"/>
              <a:ext cx="5" cy="36"/>
            </a:xfrm>
            <a:custGeom>
              <a:avLst/>
              <a:gdLst>
                <a:gd name="T0" fmla="*/ 0 w 14"/>
                <a:gd name="T1" fmla="*/ 2147483647 h 12"/>
                <a:gd name="T2" fmla="*/ 0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0" name="Freeform 611"/>
            <p:cNvSpPr>
              <a:spLocks/>
            </p:cNvSpPr>
            <p:nvPr>
              <p:custDataLst>
                <p:tags r:id="rId38"/>
              </p:custDataLst>
            </p:nvPr>
          </p:nvSpPr>
          <p:spPr bwMode="auto">
            <a:xfrm>
              <a:off x="1649" y="1941"/>
              <a:ext cx="7" cy="37"/>
            </a:xfrm>
            <a:custGeom>
              <a:avLst/>
              <a:gdLst>
                <a:gd name="T0" fmla="*/ 0 w 27"/>
                <a:gd name="T1" fmla="*/ 0 h 7"/>
                <a:gd name="T2" fmla="*/ 0 w 27"/>
                <a:gd name="T3" fmla="*/ 2147483647 h 7"/>
                <a:gd name="T4" fmla="*/ 0 w 27"/>
                <a:gd name="T5" fmla="*/ 2147483647 h 7"/>
                <a:gd name="T6" fmla="*/ 0 w 27"/>
                <a:gd name="T7" fmla="*/ 2147483647 h 7"/>
                <a:gd name="T8" fmla="*/ 0 w 27"/>
                <a:gd name="T9" fmla="*/ 2147483647 h 7"/>
                <a:gd name="T10" fmla="*/ 0 w 27"/>
                <a:gd name="T11" fmla="*/ 2147483647 h 7"/>
                <a:gd name="T12" fmla="*/ 0 w 27"/>
                <a:gd name="T13" fmla="*/ 2147483647 h 7"/>
                <a:gd name="T14" fmla="*/ 0 w 27"/>
                <a:gd name="T15" fmla="*/ 2147483647 h 7"/>
                <a:gd name="T16" fmla="*/ 0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1" name="Freeform 612"/>
            <p:cNvSpPr>
              <a:spLocks/>
            </p:cNvSpPr>
            <p:nvPr>
              <p:custDataLst>
                <p:tags r:id="rId39"/>
              </p:custDataLst>
            </p:nvPr>
          </p:nvSpPr>
          <p:spPr bwMode="auto">
            <a:xfrm>
              <a:off x="1682" y="1959"/>
              <a:ext cx="10" cy="38"/>
            </a:xfrm>
            <a:custGeom>
              <a:avLst/>
              <a:gdLst>
                <a:gd name="T0" fmla="*/ 0 w 27"/>
                <a:gd name="T1" fmla="*/ 0 h 6"/>
                <a:gd name="T2" fmla="*/ 0 w 27"/>
                <a:gd name="T3" fmla="*/ 2147483647 h 6"/>
                <a:gd name="T4" fmla="*/ 0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2" name="Line 613"/>
            <p:cNvSpPr>
              <a:spLocks noChangeShapeType="1"/>
            </p:cNvSpPr>
            <p:nvPr>
              <p:custDataLst>
                <p:tags r:id="rId40"/>
              </p:custDataLst>
            </p:nvPr>
          </p:nvSpPr>
          <p:spPr bwMode="auto">
            <a:xfrm flipH="1" flipV="1">
              <a:off x="1688" y="1957"/>
              <a:ext cx="4"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3" name="Line 614"/>
            <p:cNvSpPr>
              <a:spLocks noChangeShapeType="1"/>
            </p:cNvSpPr>
            <p:nvPr>
              <p:custDataLst>
                <p:tags r:id="rId41"/>
              </p:custDataLst>
            </p:nvPr>
          </p:nvSpPr>
          <p:spPr bwMode="auto">
            <a:xfrm flipH="1">
              <a:off x="1688" y="1973"/>
              <a:ext cx="4" cy="7"/>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4" name="Freeform 615"/>
            <p:cNvSpPr>
              <a:spLocks/>
            </p:cNvSpPr>
            <p:nvPr>
              <p:custDataLst>
                <p:tags r:id="rId42"/>
              </p:custDataLst>
            </p:nvPr>
          </p:nvSpPr>
          <p:spPr bwMode="auto">
            <a:xfrm>
              <a:off x="1688" y="1970"/>
              <a:ext cx="7" cy="37"/>
            </a:xfrm>
            <a:custGeom>
              <a:avLst/>
              <a:gdLst>
                <a:gd name="T0" fmla="*/ 0 w 20"/>
                <a:gd name="T1" fmla="*/ 139024 h 24"/>
                <a:gd name="T2" fmla="*/ 0 w 20"/>
                <a:gd name="T3" fmla="*/ 139024 h 24"/>
                <a:gd name="T4" fmla="*/ 0 w 20"/>
                <a:gd name="T5" fmla="*/ 125711 h 24"/>
                <a:gd name="T6" fmla="*/ 0 w 20"/>
                <a:gd name="T7" fmla="*/ 116094 h 24"/>
                <a:gd name="T8" fmla="*/ 0 w 20"/>
                <a:gd name="T9" fmla="*/ 93912 h 24"/>
                <a:gd name="T10" fmla="*/ 0 w 20"/>
                <a:gd name="T11" fmla="*/ 75304 h 24"/>
                <a:gd name="T12" fmla="*/ 0 w 20"/>
                <a:gd name="T13" fmla="*/ 52892 h 24"/>
                <a:gd name="T14" fmla="*/ 0 w 20"/>
                <a:gd name="T15" fmla="*/ 22254 h 24"/>
                <a:gd name="T16" fmla="*/ 0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5" name="Freeform 616"/>
            <p:cNvSpPr>
              <a:spLocks/>
            </p:cNvSpPr>
            <p:nvPr>
              <p:custDataLst>
                <p:tags r:id="rId43"/>
              </p:custDataLst>
            </p:nvPr>
          </p:nvSpPr>
          <p:spPr bwMode="auto">
            <a:xfrm>
              <a:off x="1692" y="1988"/>
              <a:ext cx="12" cy="35"/>
            </a:xfrm>
            <a:custGeom>
              <a:avLst/>
              <a:gdLst>
                <a:gd name="T0" fmla="*/ 0 w 33"/>
                <a:gd name="T1" fmla="*/ 6091 h 25"/>
                <a:gd name="T2" fmla="*/ 0 w 33"/>
                <a:gd name="T3" fmla="*/ 16204 h 25"/>
                <a:gd name="T4" fmla="*/ 0 w 33"/>
                <a:gd name="T5" fmla="*/ 16713 h 25"/>
                <a:gd name="T6" fmla="*/ 0 w 33"/>
                <a:gd name="T7" fmla="*/ 18297 h 25"/>
                <a:gd name="T8" fmla="*/ 0 w 33"/>
                <a:gd name="T9" fmla="*/ 21088 h 25"/>
                <a:gd name="T10" fmla="*/ 0 w 33"/>
                <a:gd name="T11" fmla="*/ 21088 h 25"/>
                <a:gd name="T12" fmla="*/ 0 w 33"/>
                <a:gd name="T13" fmla="*/ 0 h 25"/>
                <a:gd name="T14" fmla="*/ 0 w 33"/>
                <a:gd name="T15" fmla="*/ 0 h 25"/>
                <a:gd name="T16" fmla="*/ 0 w 33"/>
                <a:gd name="T17" fmla="*/ 609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6" name="Freeform 617"/>
            <p:cNvSpPr>
              <a:spLocks/>
            </p:cNvSpPr>
            <p:nvPr>
              <p:custDataLst>
                <p:tags r:id="rId44"/>
              </p:custDataLst>
            </p:nvPr>
          </p:nvSpPr>
          <p:spPr bwMode="auto">
            <a:xfrm>
              <a:off x="1697" y="2018"/>
              <a:ext cx="10" cy="36"/>
            </a:xfrm>
            <a:custGeom>
              <a:avLst/>
              <a:gdLst>
                <a:gd name="T0" fmla="*/ 0 w 40"/>
                <a:gd name="T1" fmla="*/ 0 h 18"/>
                <a:gd name="T2" fmla="*/ 0 w 40"/>
                <a:gd name="T3" fmla="*/ 6291455 h 18"/>
                <a:gd name="T4" fmla="*/ 0 w 40"/>
                <a:gd name="T5" fmla="*/ 11534335 h 18"/>
                <a:gd name="T6" fmla="*/ 0 w 40"/>
                <a:gd name="T7" fmla="*/ 14680054 h 18"/>
                <a:gd name="T8" fmla="*/ 0 w 40"/>
                <a:gd name="T9" fmla="*/ 16777217 h 18"/>
                <a:gd name="T10" fmla="*/ 0 w 40"/>
                <a:gd name="T11" fmla="*/ 18874368 h 18"/>
                <a:gd name="T12" fmla="*/ 0 w 40"/>
                <a:gd name="T13" fmla="*/ 18874368 h 18"/>
                <a:gd name="T14" fmla="*/ 0 w 40"/>
                <a:gd name="T15" fmla="*/ 0 h 18"/>
                <a:gd name="T16" fmla="*/ 0 w 40"/>
                <a:gd name="T17" fmla="*/ 0 h 18"/>
                <a:gd name="T18" fmla="*/ 0 w 40"/>
                <a:gd name="T19" fmla="*/ 0 h 18"/>
                <a:gd name="T20" fmla="*/ 0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7" name="Freeform 618"/>
            <p:cNvSpPr>
              <a:spLocks/>
            </p:cNvSpPr>
            <p:nvPr>
              <p:custDataLst>
                <p:tags r:id="rId45"/>
              </p:custDataLst>
            </p:nvPr>
          </p:nvSpPr>
          <p:spPr bwMode="auto">
            <a:xfrm>
              <a:off x="1703" y="2034"/>
              <a:ext cx="2" cy="36"/>
            </a:xfrm>
            <a:custGeom>
              <a:avLst/>
              <a:gdLst>
                <a:gd name="T0" fmla="*/ 0 w 11"/>
                <a:gd name="T1" fmla="*/ 331 h 32"/>
                <a:gd name="T2" fmla="*/ 0 w 11"/>
                <a:gd name="T3" fmla="*/ 287 h 32"/>
                <a:gd name="T4" fmla="*/ 0 w 11"/>
                <a:gd name="T5" fmla="*/ 255 h 32"/>
                <a:gd name="T6" fmla="*/ 0 w 11"/>
                <a:gd name="T7" fmla="*/ 228 h 32"/>
                <a:gd name="T8" fmla="*/ 0 w 11"/>
                <a:gd name="T9" fmla="*/ 181 h 32"/>
                <a:gd name="T10" fmla="*/ 0 w 11"/>
                <a:gd name="T11" fmla="*/ 88 h 32"/>
                <a:gd name="T12" fmla="*/ 0 w 11"/>
                <a:gd name="T13" fmla="*/ 0 h 32"/>
                <a:gd name="T14" fmla="*/ 0 w 11"/>
                <a:gd name="T15" fmla="*/ 3 h 32"/>
                <a:gd name="T16" fmla="*/ 0 w 11"/>
                <a:gd name="T17" fmla="*/ 69 h 32"/>
                <a:gd name="T18" fmla="*/ 0 w 11"/>
                <a:gd name="T19" fmla="*/ 111 h 32"/>
                <a:gd name="T20" fmla="*/ 0 w 11"/>
                <a:gd name="T21" fmla="*/ 160 h 32"/>
                <a:gd name="T22" fmla="*/ 0 w 11"/>
                <a:gd name="T23" fmla="*/ 202 h 32"/>
                <a:gd name="T24" fmla="*/ 0 w 11"/>
                <a:gd name="T25" fmla="*/ 254 h 32"/>
                <a:gd name="T26" fmla="*/ 0 w 11"/>
                <a:gd name="T27" fmla="*/ 287 h 32"/>
                <a:gd name="T28" fmla="*/ 0 w 11"/>
                <a:gd name="T29" fmla="*/ 331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8" name="Freeform 619"/>
            <p:cNvSpPr>
              <a:spLocks/>
            </p:cNvSpPr>
            <p:nvPr>
              <p:custDataLst>
                <p:tags r:id="rId46"/>
              </p:custDataLst>
            </p:nvPr>
          </p:nvSpPr>
          <p:spPr bwMode="auto">
            <a:xfrm>
              <a:off x="1718" y="2053"/>
              <a:ext cx="1" cy="35"/>
            </a:xfrm>
            <a:custGeom>
              <a:avLst/>
              <a:gdLst>
                <a:gd name="T0" fmla="*/ 0 w 14"/>
                <a:gd name="T1" fmla="*/ 0 h 24"/>
                <a:gd name="T2" fmla="*/ 0 w 14"/>
                <a:gd name="T3" fmla="*/ 45027 h 24"/>
                <a:gd name="T4" fmla="*/ 0 w 14"/>
                <a:gd name="T5" fmla="*/ 22986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9" name="Freeform 620"/>
            <p:cNvSpPr>
              <a:spLocks/>
            </p:cNvSpPr>
            <p:nvPr>
              <p:custDataLst>
                <p:tags r:id="rId47"/>
              </p:custDataLst>
            </p:nvPr>
          </p:nvSpPr>
          <p:spPr bwMode="auto">
            <a:xfrm>
              <a:off x="1692" y="2061"/>
              <a:ext cx="11" cy="37"/>
            </a:xfrm>
            <a:custGeom>
              <a:avLst/>
              <a:gdLst>
                <a:gd name="T0" fmla="*/ 0 w 27"/>
                <a:gd name="T1" fmla="*/ 21954089 h 18"/>
                <a:gd name="T2" fmla="*/ 0 w 27"/>
                <a:gd name="T3" fmla="*/ 27537353 h 18"/>
                <a:gd name="T4" fmla="*/ 0 w 27"/>
                <a:gd name="T5" fmla="*/ 32622746 h 18"/>
                <a:gd name="T6" fmla="*/ 0 w 27"/>
                <a:gd name="T7" fmla="*/ 12502110 h 18"/>
                <a:gd name="T8" fmla="*/ 0 w 27"/>
                <a:gd name="T9" fmla="*/ 0 h 18"/>
                <a:gd name="T10" fmla="*/ 0 w 27"/>
                <a:gd name="T11" fmla="*/ 0 h 18"/>
                <a:gd name="T12" fmla="*/ 0 w 27"/>
                <a:gd name="T13" fmla="*/ 1639285 h 18"/>
                <a:gd name="T14" fmla="*/ 0 w 27"/>
                <a:gd name="T15" fmla="*/ 3369641 h 18"/>
                <a:gd name="T16" fmla="*/ 0 w 27"/>
                <a:gd name="T17" fmla="*/ 6926481 h 18"/>
                <a:gd name="T18" fmla="*/ 0 w 27"/>
                <a:gd name="T19" fmla="*/ 14237771 h 18"/>
                <a:gd name="T20" fmla="*/ 0 w 27"/>
                <a:gd name="T21" fmla="*/ 2195408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0" name="Freeform 621"/>
            <p:cNvSpPr>
              <a:spLocks/>
            </p:cNvSpPr>
            <p:nvPr>
              <p:custDataLst>
                <p:tags r:id="rId48"/>
              </p:custDataLst>
            </p:nvPr>
          </p:nvSpPr>
          <p:spPr bwMode="auto">
            <a:xfrm>
              <a:off x="1682" y="2102"/>
              <a:ext cx="17" cy="36"/>
            </a:xfrm>
            <a:custGeom>
              <a:avLst/>
              <a:gdLst>
                <a:gd name="T0" fmla="*/ 0 w 47"/>
                <a:gd name="T1" fmla="*/ 1 h 49"/>
                <a:gd name="T2" fmla="*/ 0 w 47"/>
                <a:gd name="T3" fmla="*/ 1 h 49"/>
                <a:gd name="T4" fmla="*/ 0 w 47"/>
                <a:gd name="T5" fmla="*/ 1 h 49"/>
                <a:gd name="T6" fmla="*/ 0 w 47"/>
                <a:gd name="T7" fmla="*/ 1 h 49"/>
                <a:gd name="T8" fmla="*/ 0 w 47"/>
                <a:gd name="T9" fmla="*/ 1 h 49"/>
                <a:gd name="T10" fmla="*/ 0 w 47"/>
                <a:gd name="T11" fmla="*/ 1 h 49"/>
                <a:gd name="T12" fmla="*/ 0 w 47"/>
                <a:gd name="T13" fmla="*/ 1 h 49"/>
                <a:gd name="T14" fmla="*/ 0 w 47"/>
                <a:gd name="T15" fmla="*/ 1 h 49"/>
                <a:gd name="T16" fmla="*/ 0 w 47"/>
                <a:gd name="T17" fmla="*/ 1 h 49"/>
                <a:gd name="T18" fmla="*/ 0 w 47"/>
                <a:gd name="T19" fmla="*/ 1 h 49"/>
                <a:gd name="T20" fmla="*/ 0 w 47"/>
                <a:gd name="T21" fmla="*/ 1 h 49"/>
                <a:gd name="T22" fmla="*/ 0 w 47"/>
                <a:gd name="T23" fmla="*/ 1 h 49"/>
                <a:gd name="T24" fmla="*/ 0 w 47"/>
                <a:gd name="T25" fmla="*/ 1 h 49"/>
                <a:gd name="T26" fmla="*/ 0 w 47"/>
                <a:gd name="T27" fmla="*/ 1 h 49"/>
                <a:gd name="T28" fmla="*/ 0 w 47"/>
                <a:gd name="T29" fmla="*/ 1 h 49"/>
                <a:gd name="T30" fmla="*/ 0 w 47"/>
                <a:gd name="T31" fmla="*/ 1 h 49"/>
                <a:gd name="T32" fmla="*/ 0 w 47"/>
                <a:gd name="T33" fmla="*/ 0 h 49"/>
                <a:gd name="T34" fmla="*/ 0 w 47"/>
                <a:gd name="T35" fmla="*/ 0 h 49"/>
                <a:gd name="T36" fmla="*/ 0 w 47"/>
                <a:gd name="T37" fmla="*/ 1 h 49"/>
                <a:gd name="T38" fmla="*/ 0 w 47"/>
                <a:gd name="T39" fmla="*/ 1 h 49"/>
                <a:gd name="T40" fmla="*/ 0 w 47"/>
                <a:gd name="T41" fmla="*/ 1 h 49"/>
                <a:gd name="T42" fmla="*/ 0 w 47"/>
                <a:gd name="T43" fmla="*/ 1 h 49"/>
                <a:gd name="T44" fmla="*/ 0 w 47"/>
                <a:gd name="T45" fmla="*/ 1 h 49"/>
                <a:gd name="T46" fmla="*/ 0 w 47"/>
                <a:gd name="T47" fmla="*/ 1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1" name="Freeform 622"/>
            <p:cNvSpPr>
              <a:spLocks/>
            </p:cNvSpPr>
            <p:nvPr>
              <p:custDataLst>
                <p:tags r:id="rId49"/>
              </p:custDataLst>
            </p:nvPr>
          </p:nvSpPr>
          <p:spPr bwMode="auto">
            <a:xfrm>
              <a:off x="1695" y="2087"/>
              <a:ext cx="9" cy="36"/>
            </a:xfrm>
            <a:custGeom>
              <a:avLst/>
              <a:gdLst>
                <a:gd name="T0" fmla="*/ 0 w 26"/>
                <a:gd name="T1" fmla="*/ 0 h 9"/>
                <a:gd name="T2" fmla="*/ 0 w 26"/>
                <a:gd name="T3" fmla="*/ 2147483647 h 9"/>
                <a:gd name="T4" fmla="*/ 0 w 26"/>
                <a:gd name="T5" fmla="*/ 2147483647 h 9"/>
                <a:gd name="T6" fmla="*/ 0 w 26"/>
                <a:gd name="T7" fmla="*/ 2147483647 h 9"/>
                <a:gd name="T8" fmla="*/ 0 w 26"/>
                <a:gd name="T9" fmla="*/ 2147483647 h 9"/>
                <a:gd name="T10" fmla="*/ 0 w 26"/>
                <a:gd name="T11" fmla="*/ 2147483647 h 9"/>
                <a:gd name="T12" fmla="*/ 0 w 26"/>
                <a:gd name="T13" fmla="*/ 2147483647 h 9"/>
                <a:gd name="T14" fmla="*/ 0 w 26"/>
                <a:gd name="T15" fmla="*/ 2147483647 h 9"/>
                <a:gd name="T16" fmla="*/ 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2" name="Freeform 623"/>
            <p:cNvSpPr>
              <a:spLocks/>
            </p:cNvSpPr>
            <p:nvPr>
              <p:custDataLst>
                <p:tags r:id="rId50"/>
              </p:custDataLst>
            </p:nvPr>
          </p:nvSpPr>
          <p:spPr bwMode="auto">
            <a:xfrm>
              <a:off x="1342" y="1880"/>
              <a:ext cx="11" cy="36"/>
            </a:xfrm>
            <a:custGeom>
              <a:avLst/>
              <a:gdLst>
                <a:gd name="T0" fmla="*/ 0 w 39"/>
                <a:gd name="T1" fmla="*/ 0 h 18"/>
                <a:gd name="T2" fmla="*/ 0 w 39"/>
                <a:gd name="T3" fmla="*/ 18874368 h 18"/>
                <a:gd name="T4" fmla="*/ 0 w 39"/>
                <a:gd name="T5" fmla="*/ 18874368 h 18"/>
                <a:gd name="T6" fmla="*/ 0 w 39"/>
                <a:gd name="T7" fmla="*/ 18874368 h 18"/>
                <a:gd name="T8" fmla="*/ 0 w 39"/>
                <a:gd name="T9" fmla="*/ 17825792 h 18"/>
                <a:gd name="T10" fmla="*/ 0 w 39"/>
                <a:gd name="T11" fmla="*/ 14680054 h 18"/>
                <a:gd name="T12" fmla="*/ 0 w 39"/>
                <a:gd name="T13" fmla="*/ 12582911 h 18"/>
                <a:gd name="T14" fmla="*/ 0 w 39"/>
                <a:gd name="T15" fmla="*/ 10485760 h 18"/>
                <a:gd name="T16" fmla="*/ 0 w 39"/>
                <a:gd name="T17" fmla="*/ 8388608 h 18"/>
                <a:gd name="T18" fmla="*/ 0 w 39"/>
                <a:gd name="T19" fmla="*/ 6291455 h 18"/>
                <a:gd name="T20" fmla="*/ 0 w 39"/>
                <a:gd name="T21" fmla="*/ 5242880 h 18"/>
                <a:gd name="T22" fmla="*/ 0 w 39"/>
                <a:gd name="T23" fmla="*/ 3145728 h 18"/>
                <a:gd name="T24" fmla="*/ 0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5" name="Group 624"/>
            <p:cNvGrpSpPr>
              <a:grpSpLocks/>
            </p:cNvGrpSpPr>
            <p:nvPr>
              <p:custDataLst>
                <p:tags r:id="rId51"/>
              </p:custDataLst>
            </p:nvPr>
          </p:nvGrpSpPr>
          <p:grpSpPr bwMode="auto">
            <a:xfrm>
              <a:off x="1428" y="1775"/>
              <a:ext cx="90" cy="123"/>
              <a:chOff x="1199" y="2121"/>
              <a:chExt cx="97" cy="123"/>
            </a:xfrm>
            <a:grpFill/>
          </p:grpSpPr>
          <p:sp>
            <p:nvSpPr>
              <p:cNvPr id="18986" name="Freeform 625"/>
              <p:cNvSpPr>
                <a:spLocks/>
              </p:cNvSpPr>
              <p:nvPr/>
            </p:nvSpPr>
            <p:spPr bwMode="auto">
              <a:xfrm>
                <a:off x="1274" y="2236"/>
                <a:ext cx="15"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7" name="Freeform 626"/>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8" name="Freeform 627"/>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9" name="Freeform 628"/>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0" name="Freeform 629"/>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1" name="Freeform 630"/>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2" name="Freeform 631"/>
              <p:cNvSpPr>
                <a:spLocks/>
              </p:cNvSpPr>
              <p:nvPr/>
            </p:nvSpPr>
            <p:spPr bwMode="auto">
              <a:xfrm>
                <a:off x="1247" y="2167"/>
                <a:ext cx="0"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0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3" name="Freeform 632"/>
              <p:cNvSpPr>
                <a:spLocks/>
              </p:cNvSpPr>
              <p:nvPr/>
            </p:nvSpPr>
            <p:spPr bwMode="auto">
              <a:xfrm>
                <a:off x="1247" y="2190"/>
                <a:ext cx="9"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4" name="Freeform 633"/>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5" name="Freeform 634"/>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4" name="Freeform 635"/>
            <p:cNvSpPr>
              <a:spLocks/>
            </p:cNvSpPr>
            <p:nvPr>
              <p:custDataLst>
                <p:tags r:id="rId52"/>
              </p:custDataLst>
            </p:nvPr>
          </p:nvSpPr>
          <p:spPr bwMode="auto">
            <a:xfrm>
              <a:off x="5395" y="2674"/>
              <a:ext cx="9" cy="36"/>
            </a:xfrm>
            <a:custGeom>
              <a:avLst/>
              <a:gdLst>
                <a:gd name="T0" fmla="*/ 0 w 33"/>
                <a:gd name="T1" fmla="*/ 1 h 62"/>
                <a:gd name="T2" fmla="*/ 0 w 33"/>
                <a:gd name="T3" fmla="*/ 1 h 62"/>
                <a:gd name="T4" fmla="*/ 0 w 33"/>
                <a:gd name="T5" fmla="*/ 1 h 62"/>
                <a:gd name="T6" fmla="*/ 0 w 33"/>
                <a:gd name="T7" fmla="*/ 1 h 62"/>
                <a:gd name="T8" fmla="*/ 0 w 33"/>
                <a:gd name="T9" fmla="*/ 1 h 62"/>
                <a:gd name="T10" fmla="*/ 0 w 33"/>
                <a:gd name="T11" fmla="*/ 1 h 62"/>
                <a:gd name="T12" fmla="*/ 0 w 33"/>
                <a:gd name="T13" fmla="*/ 1 h 62"/>
                <a:gd name="T14" fmla="*/ 0 w 33"/>
                <a:gd name="T15" fmla="*/ 1 h 62"/>
                <a:gd name="T16" fmla="*/ 0 w 33"/>
                <a:gd name="T17" fmla="*/ 1 h 62"/>
                <a:gd name="T18" fmla="*/ 0 w 33"/>
                <a:gd name="T19" fmla="*/ 1 h 62"/>
                <a:gd name="T20" fmla="*/ 0 w 33"/>
                <a:gd name="T21" fmla="*/ 0 h 62"/>
                <a:gd name="T22" fmla="*/ 0 w 33"/>
                <a:gd name="T23" fmla="*/ 1 h 62"/>
                <a:gd name="T24" fmla="*/ 0 w 33"/>
                <a:gd name="T25" fmla="*/ 1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5" name="Freeform 636"/>
            <p:cNvSpPr>
              <a:spLocks/>
            </p:cNvSpPr>
            <p:nvPr>
              <p:custDataLst>
                <p:tags r:id="rId53"/>
              </p:custDataLst>
            </p:nvPr>
          </p:nvSpPr>
          <p:spPr bwMode="auto">
            <a:xfrm>
              <a:off x="5402" y="2731"/>
              <a:ext cx="6" cy="37"/>
            </a:xfrm>
            <a:custGeom>
              <a:avLst/>
              <a:gdLst>
                <a:gd name="T0" fmla="*/ 0 w 26"/>
                <a:gd name="T1" fmla="*/ 32622746 h 18"/>
                <a:gd name="T2" fmla="*/ 0 w 26"/>
                <a:gd name="T3" fmla="*/ 0 h 18"/>
                <a:gd name="T4" fmla="*/ 0 w 26"/>
                <a:gd name="T5" fmla="*/ 0 h 18"/>
                <a:gd name="T6" fmla="*/ 0 w 26"/>
                <a:gd name="T7" fmla="*/ 21954089 h 18"/>
                <a:gd name="T8" fmla="*/ 0 w 26"/>
                <a:gd name="T9" fmla="*/ 10680370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6" name="Freeform 637"/>
            <p:cNvSpPr>
              <a:spLocks/>
            </p:cNvSpPr>
            <p:nvPr>
              <p:custDataLst>
                <p:tags r:id="rId54"/>
              </p:custDataLst>
            </p:nvPr>
          </p:nvSpPr>
          <p:spPr bwMode="auto">
            <a:xfrm>
              <a:off x="5480" y="2674"/>
              <a:ext cx="53" cy="82"/>
            </a:xfrm>
            <a:custGeom>
              <a:avLst/>
              <a:gdLst>
                <a:gd name="T0" fmla="*/ 0 w 180"/>
                <a:gd name="T1" fmla="*/ 0 h 240"/>
                <a:gd name="T2" fmla="*/ 0 w 180"/>
                <a:gd name="T3" fmla="*/ 0 h 240"/>
                <a:gd name="T4" fmla="*/ 0 w 180"/>
                <a:gd name="T5" fmla="*/ 0 h 240"/>
                <a:gd name="T6" fmla="*/ 0 w 180"/>
                <a:gd name="T7" fmla="*/ 0 h 240"/>
                <a:gd name="T8" fmla="*/ 0 w 180"/>
                <a:gd name="T9" fmla="*/ 0 h 240"/>
                <a:gd name="T10" fmla="*/ 0 w 180"/>
                <a:gd name="T11" fmla="*/ 0 h 240"/>
                <a:gd name="T12" fmla="*/ 0 w 180"/>
                <a:gd name="T13" fmla="*/ 0 h 240"/>
                <a:gd name="T14" fmla="*/ 0 w 180"/>
                <a:gd name="T15" fmla="*/ 0 h 240"/>
                <a:gd name="T16" fmla="*/ 0 w 180"/>
                <a:gd name="T17" fmla="*/ 0 h 240"/>
                <a:gd name="T18" fmla="*/ 0 w 180"/>
                <a:gd name="T19" fmla="*/ 0 h 240"/>
                <a:gd name="T20" fmla="*/ 0 w 180"/>
                <a:gd name="T21" fmla="*/ 0 h 240"/>
                <a:gd name="T22" fmla="*/ 0 w 180"/>
                <a:gd name="T23" fmla="*/ 0 h 240"/>
                <a:gd name="T24" fmla="*/ 0 w 180"/>
                <a:gd name="T25" fmla="*/ 0 h 240"/>
                <a:gd name="T26" fmla="*/ 0 w 180"/>
                <a:gd name="T27" fmla="*/ 0 h 240"/>
                <a:gd name="T28" fmla="*/ 0 w 180"/>
                <a:gd name="T29" fmla="*/ 0 h 240"/>
                <a:gd name="T30" fmla="*/ 0 w 180"/>
                <a:gd name="T31" fmla="*/ 0 h 240"/>
                <a:gd name="T32" fmla="*/ 0 w 180"/>
                <a:gd name="T33" fmla="*/ 0 h 240"/>
                <a:gd name="T34" fmla="*/ 0 w 180"/>
                <a:gd name="T35" fmla="*/ 0 h 240"/>
                <a:gd name="T36" fmla="*/ 0 w 180"/>
                <a:gd name="T37" fmla="*/ 0 h 240"/>
                <a:gd name="T38" fmla="*/ 0 w 180"/>
                <a:gd name="T39" fmla="*/ 0 h 240"/>
                <a:gd name="T40" fmla="*/ 0 w 180"/>
                <a:gd name="T41" fmla="*/ 0 h 240"/>
                <a:gd name="T42" fmla="*/ 0 w 180"/>
                <a:gd name="T43" fmla="*/ 0 h 240"/>
                <a:gd name="T44" fmla="*/ 0 w 180"/>
                <a:gd name="T45" fmla="*/ 0 h 240"/>
                <a:gd name="T46" fmla="*/ 0 w 180"/>
                <a:gd name="T47" fmla="*/ 0 h 240"/>
                <a:gd name="T48" fmla="*/ 0 w 180"/>
                <a:gd name="T49" fmla="*/ 0 h 240"/>
                <a:gd name="T50" fmla="*/ 0 w 180"/>
                <a:gd name="T51" fmla="*/ 0 h 240"/>
                <a:gd name="T52" fmla="*/ 0 w 180"/>
                <a:gd name="T53" fmla="*/ 0 h 240"/>
                <a:gd name="T54" fmla="*/ 0 w 180"/>
                <a:gd name="T55" fmla="*/ 0 h 240"/>
                <a:gd name="T56" fmla="*/ 0 w 180"/>
                <a:gd name="T57" fmla="*/ 0 h 240"/>
                <a:gd name="T58" fmla="*/ 0 w 180"/>
                <a:gd name="T59" fmla="*/ 0 h 240"/>
                <a:gd name="T60" fmla="*/ 0 w 180"/>
                <a:gd name="T61" fmla="*/ 0 h 240"/>
                <a:gd name="T62" fmla="*/ 0 w 180"/>
                <a:gd name="T63" fmla="*/ 0 h 240"/>
                <a:gd name="T64" fmla="*/ 0 w 180"/>
                <a:gd name="T65" fmla="*/ 0 h 240"/>
                <a:gd name="T66" fmla="*/ 0 w 180"/>
                <a:gd name="T67" fmla="*/ 0 h 240"/>
                <a:gd name="T68" fmla="*/ 0 w 180"/>
                <a:gd name="T69" fmla="*/ 0 h 240"/>
                <a:gd name="T70" fmla="*/ 0 w 180"/>
                <a:gd name="T71" fmla="*/ 0 h 240"/>
                <a:gd name="T72" fmla="*/ 0 w 180"/>
                <a:gd name="T73" fmla="*/ 0 h 240"/>
                <a:gd name="T74" fmla="*/ 0 w 180"/>
                <a:gd name="T75" fmla="*/ 0 h 240"/>
                <a:gd name="T76" fmla="*/ 0 w 180"/>
                <a:gd name="T77" fmla="*/ 0 h 240"/>
                <a:gd name="T78" fmla="*/ 0 w 180"/>
                <a:gd name="T79" fmla="*/ 0 h 240"/>
                <a:gd name="T80" fmla="*/ 0 w 180"/>
                <a:gd name="T81" fmla="*/ 0 h 240"/>
                <a:gd name="T82" fmla="*/ 0 w 180"/>
                <a:gd name="T83" fmla="*/ 0 h 240"/>
                <a:gd name="T84" fmla="*/ 0 w 180"/>
                <a:gd name="T85" fmla="*/ 0 h 240"/>
                <a:gd name="T86" fmla="*/ 0 w 180"/>
                <a:gd name="T87" fmla="*/ 0 h 240"/>
                <a:gd name="T88" fmla="*/ 0 w 180"/>
                <a:gd name="T89" fmla="*/ 0 h 240"/>
                <a:gd name="T90" fmla="*/ 0 w 180"/>
                <a:gd name="T91" fmla="*/ 0 h 240"/>
                <a:gd name="T92" fmla="*/ 0 w 180"/>
                <a:gd name="T93" fmla="*/ 0 h 240"/>
                <a:gd name="T94" fmla="*/ 0 w 180"/>
                <a:gd name="T95" fmla="*/ 0 h 240"/>
                <a:gd name="T96" fmla="*/ 0 w 180"/>
                <a:gd name="T97" fmla="*/ 0 h 240"/>
                <a:gd name="T98" fmla="*/ 0 w 180"/>
                <a:gd name="T99" fmla="*/ 0 h 240"/>
                <a:gd name="T100" fmla="*/ 0 w 180"/>
                <a:gd name="T101" fmla="*/ 0 h 240"/>
                <a:gd name="T102" fmla="*/ 0 w 180"/>
                <a:gd name="T103" fmla="*/ 0 h 240"/>
                <a:gd name="T104" fmla="*/ 0 w 180"/>
                <a:gd name="T105" fmla="*/ 0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7" name="Freeform 638"/>
            <p:cNvSpPr>
              <a:spLocks/>
            </p:cNvSpPr>
            <p:nvPr>
              <p:custDataLst>
                <p:tags r:id="rId55"/>
              </p:custDataLst>
            </p:nvPr>
          </p:nvSpPr>
          <p:spPr bwMode="auto">
            <a:xfrm>
              <a:off x="5480" y="2657"/>
              <a:ext cx="9" cy="36"/>
            </a:xfrm>
            <a:custGeom>
              <a:avLst/>
              <a:gdLst>
                <a:gd name="T0" fmla="*/ 0 w 27"/>
                <a:gd name="T1" fmla="*/ 0 h 30"/>
                <a:gd name="T2" fmla="*/ 0 w 27"/>
                <a:gd name="T3" fmla="*/ 179 h 30"/>
                <a:gd name="T4" fmla="*/ 0 w 27"/>
                <a:gd name="T5" fmla="*/ 434 h 30"/>
                <a:gd name="T6" fmla="*/ 0 w 27"/>
                <a:gd name="T7" fmla="*/ 535 h 30"/>
                <a:gd name="T8" fmla="*/ 0 w 27"/>
                <a:gd name="T9" fmla="*/ 750 h 30"/>
                <a:gd name="T10" fmla="*/ 0 w 27"/>
                <a:gd name="T11" fmla="*/ 924 h 30"/>
                <a:gd name="T12" fmla="*/ 0 w 27"/>
                <a:gd name="T13" fmla="*/ 1144 h 30"/>
                <a:gd name="T14" fmla="*/ 0 w 27"/>
                <a:gd name="T15" fmla="*/ 1016 h 30"/>
                <a:gd name="T16" fmla="*/ 0 w 27"/>
                <a:gd name="T17" fmla="*/ 924 h 30"/>
                <a:gd name="T18" fmla="*/ 0 w 27"/>
                <a:gd name="T19" fmla="*/ 770 h 30"/>
                <a:gd name="T20" fmla="*/ 0 w 27"/>
                <a:gd name="T21" fmla="*/ 446 h 30"/>
                <a:gd name="T22" fmla="*/ 0 w 27"/>
                <a:gd name="T23" fmla="*/ 310 h 30"/>
                <a:gd name="T24" fmla="*/ 0 w 27"/>
                <a:gd name="T25" fmla="*/ 149 h 30"/>
                <a:gd name="T26" fmla="*/ 0 w 27"/>
                <a:gd name="T27" fmla="*/ 1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6" name="Group 639"/>
            <p:cNvGrpSpPr>
              <a:grpSpLocks/>
            </p:cNvGrpSpPr>
            <p:nvPr>
              <p:custDataLst>
                <p:tags r:id="rId56"/>
              </p:custDataLst>
            </p:nvPr>
          </p:nvGrpSpPr>
          <p:grpSpPr bwMode="auto">
            <a:xfrm>
              <a:off x="5268" y="2985"/>
              <a:ext cx="313" cy="255"/>
              <a:chOff x="5372" y="3323"/>
              <a:chExt cx="341" cy="253"/>
            </a:xfrm>
            <a:grpFill/>
          </p:grpSpPr>
          <p:sp>
            <p:nvSpPr>
              <p:cNvPr id="18983" name="Freeform 640"/>
              <p:cNvSpPr>
                <a:spLocks/>
              </p:cNvSpPr>
              <p:nvPr/>
            </p:nvSpPr>
            <p:spPr bwMode="auto">
              <a:xfrm>
                <a:off x="5372" y="3565"/>
                <a:ext cx="16" cy="11"/>
              </a:xfrm>
              <a:custGeom>
                <a:avLst/>
                <a:gdLst>
                  <a:gd name="T0" fmla="*/ 0 w 53"/>
                  <a:gd name="T1" fmla="*/ 0 h 33"/>
                  <a:gd name="T2" fmla="*/ 0 w 53"/>
                  <a:gd name="T3" fmla="*/ 0 h 33"/>
                  <a:gd name="T4" fmla="*/ 0 w 53"/>
                  <a:gd name="T5" fmla="*/ 0 h 33"/>
                  <a:gd name="T6" fmla="*/ 0 w 53"/>
                  <a:gd name="T7" fmla="*/ 0 h 33"/>
                  <a:gd name="T8" fmla="*/ 0 w 53"/>
                  <a:gd name="T9" fmla="*/ 0 h 33"/>
                  <a:gd name="T10" fmla="*/ 0 w 53"/>
                  <a:gd name="T11" fmla="*/ 0 h 33"/>
                  <a:gd name="T12" fmla="*/ 0 w 53"/>
                  <a:gd name="T13" fmla="*/ 0 h 33"/>
                  <a:gd name="T14" fmla="*/ 0 w 53"/>
                  <a:gd name="T15" fmla="*/ 0 h 33"/>
                  <a:gd name="T16" fmla="*/ 0 w 53"/>
                  <a:gd name="T17" fmla="*/ 0 h 33"/>
                  <a:gd name="T18" fmla="*/ 0 w 53"/>
                  <a:gd name="T19" fmla="*/ 0 h 33"/>
                  <a:gd name="T20" fmla="*/ 0 w 53"/>
                  <a:gd name="T21" fmla="*/ 0 h 33"/>
                  <a:gd name="T22" fmla="*/ 0 w 53"/>
                  <a:gd name="T23" fmla="*/ 0 h 33"/>
                  <a:gd name="T24" fmla="*/ 0 w 53"/>
                  <a:gd name="T25" fmla="*/ 0 h 33"/>
                  <a:gd name="T26" fmla="*/ 0 w 53"/>
                  <a:gd name="T27" fmla="*/ 0 h 33"/>
                  <a:gd name="T28" fmla="*/ 0 w 53"/>
                  <a:gd name="T29" fmla="*/ 0 h 33"/>
                  <a:gd name="T30" fmla="*/ 0 w 53"/>
                  <a:gd name="T31" fmla="*/ 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33"/>
                  <a:gd name="T50" fmla="*/ 53 w 53"/>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4" name="Freeform 641"/>
              <p:cNvSpPr>
                <a:spLocks/>
              </p:cNvSpPr>
              <p:nvPr/>
            </p:nvSpPr>
            <p:spPr bwMode="auto">
              <a:xfrm>
                <a:off x="5379" y="3446"/>
                <a:ext cx="207" cy="117"/>
              </a:xfrm>
              <a:custGeom>
                <a:avLst/>
                <a:gdLst>
                  <a:gd name="T0" fmla="*/ 0 w 631"/>
                  <a:gd name="T1" fmla="*/ 0 h 358"/>
                  <a:gd name="T2" fmla="*/ 0 w 631"/>
                  <a:gd name="T3" fmla="*/ 0 h 358"/>
                  <a:gd name="T4" fmla="*/ 0 w 631"/>
                  <a:gd name="T5" fmla="*/ 0 h 358"/>
                  <a:gd name="T6" fmla="*/ 0 w 631"/>
                  <a:gd name="T7" fmla="*/ 0 h 358"/>
                  <a:gd name="T8" fmla="*/ 0 w 631"/>
                  <a:gd name="T9" fmla="*/ 0 h 358"/>
                  <a:gd name="T10" fmla="*/ 0 w 631"/>
                  <a:gd name="T11" fmla="*/ 0 h 358"/>
                  <a:gd name="T12" fmla="*/ 0 w 631"/>
                  <a:gd name="T13" fmla="*/ 0 h 358"/>
                  <a:gd name="T14" fmla="*/ 0 w 631"/>
                  <a:gd name="T15" fmla="*/ 0 h 358"/>
                  <a:gd name="T16" fmla="*/ 0 w 631"/>
                  <a:gd name="T17" fmla="*/ 0 h 358"/>
                  <a:gd name="T18" fmla="*/ 0 w 631"/>
                  <a:gd name="T19" fmla="*/ 0 h 358"/>
                  <a:gd name="T20" fmla="*/ 0 w 631"/>
                  <a:gd name="T21" fmla="*/ 0 h 358"/>
                  <a:gd name="T22" fmla="*/ 0 w 631"/>
                  <a:gd name="T23" fmla="*/ 0 h 358"/>
                  <a:gd name="T24" fmla="*/ 0 w 631"/>
                  <a:gd name="T25" fmla="*/ 0 h 358"/>
                  <a:gd name="T26" fmla="*/ 0 w 631"/>
                  <a:gd name="T27" fmla="*/ 0 h 358"/>
                  <a:gd name="T28" fmla="*/ 0 w 631"/>
                  <a:gd name="T29" fmla="*/ 0 h 358"/>
                  <a:gd name="T30" fmla="*/ 0 w 631"/>
                  <a:gd name="T31" fmla="*/ 0 h 358"/>
                  <a:gd name="T32" fmla="*/ 0 w 631"/>
                  <a:gd name="T33" fmla="*/ 0 h 358"/>
                  <a:gd name="T34" fmla="*/ 0 w 631"/>
                  <a:gd name="T35" fmla="*/ 0 h 358"/>
                  <a:gd name="T36" fmla="*/ 0 w 631"/>
                  <a:gd name="T37" fmla="*/ 0 h 358"/>
                  <a:gd name="T38" fmla="*/ 0 w 631"/>
                  <a:gd name="T39" fmla="*/ 0 h 358"/>
                  <a:gd name="T40" fmla="*/ 0 w 631"/>
                  <a:gd name="T41" fmla="*/ 0 h 358"/>
                  <a:gd name="T42" fmla="*/ 0 w 631"/>
                  <a:gd name="T43" fmla="*/ 0 h 358"/>
                  <a:gd name="T44" fmla="*/ 0 w 631"/>
                  <a:gd name="T45" fmla="*/ 0 h 358"/>
                  <a:gd name="T46" fmla="*/ 0 w 631"/>
                  <a:gd name="T47" fmla="*/ 0 h 358"/>
                  <a:gd name="T48" fmla="*/ 0 w 631"/>
                  <a:gd name="T49" fmla="*/ 0 h 358"/>
                  <a:gd name="T50" fmla="*/ 0 w 631"/>
                  <a:gd name="T51" fmla="*/ 0 h 358"/>
                  <a:gd name="T52" fmla="*/ 0 w 631"/>
                  <a:gd name="T53" fmla="*/ 0 h 358"/>
                  <a:gd name="T54" fmla="*/ 0 w 631"/>
                  <a:gd name="T55" fmla="*/ 0 h 358"/>
                  <a:gd name="T56" fmla="*/ 0 w 631"/>
                  <a:gd name="T57" fmla="*/ 0 h 358"/>
                  <a:gd name="T58" fmla="*/ 0 w 631"/>
                  <a:gd name="T59" fmla="*/ 0 h 358"/>
                  <a:gd name="T60" fmla="*/ 0 w 631"/>
                  <a:gd name="T61" fmla="*/ 0 h 358"/>
                  <a:gd name="T62" fmla="*/ 0 w 631"/>
                  <a:gd name="T63" fmla="*/ 0 h 358"/>
                  <a:gd name="T64" fmla="*/ 0 w 631"/>
                  <a:gd name="T65" fmla="*/ 0 h 358"/>
                  <a:gd name="T66" fmla="*/ 0 w 631"/>
                  <a:gd name="T67" fmla="*/ 0 h 358"/>
                  <a:gd name="T68" fmla="*/ 0 w 631"/>
                  <a:gd name="T69" fmla="*/ 0 h 358"/>
                  <a:gd name="T70" fmla="*/ 0 w 631"/>
                  <a:gd name="T71" fmla="*/ 0 h 358"/>
                  <a:gd name="T72" fmla="*/ 0 w 631"/>
                  <a:gd name="T73" fmla="*/ 0 h 358"/>
                  <a:gd name="T74" fmla="*/ 0 w 631"/>
                  <a:gd name="T75" fmla="*/ 0 h 358"/>
                  <a:gd name="T76" fmla="*/ 0 w 631"/>
                  <a:gd name="T77" fmla="*/ 0 h 358"/>
                  <a:gd name="T78" fmla="*/ 0 w 631"/>
                  <a:gd name="T79" fmla="*/ 0 h 358"/>
                  <a:gd name="T80" fmla="*/ 0 w 631"/>
                  <a:gd name="T81" fmla="*/ 0 h 358"/>
                  <a:gd name="T82" fmla="*/ 0 w 631"/>
                  <a:gd name="T83" fmla="*/ 0 h 358"/>
                  <a:gd name="T84" fmla="*/ 0 w 631"/>
                  <a:gd name="T85" fmla="*/ 0 h 358"/>
                  <a:gd name="T86" fmla="*/ 0 w 631"/>
                  <a:gd name="T87" fmla="*/ 0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31"/>
                  <a:gd name="T133" fmla="*/ 0 h 358"/>
                  <a:gd name="T134" fmla="*/ 631 w 631"/>
                  <a:gd name="T135" fmla="*/ 358 h 3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5" name="Freeform 642"/>
              <p:cNvSpPr>
                <a:spLocks/>
              </p:cNvSpPr>
              <p:nvPr/>
            </p:nvSpPr>
            <p:spPr bwMode="auto">
              <a:xfrm>
                <a:off x="5598" y="3323"/>
                <a:ext cx="115" cy="141"/>
              </a:xfrm>
              <a:custGeom>
                <a:avLst/>
                <a:gdLst>
                  <a:gd name="T0" fmla="*/ 0 w 359"/>
                  <a:gd name="T1" fmla="*/ 0 h 431"/>
                  <a:gd name="T2" fmla="*/ 0 w 359"/>
                  <a:gd name="T3" fmla="*/ 0 h 431"/>
                  <a:gd name="T4" fmla="*/ 0 w 359"/>
                  <a:gd name="T5" fmla="*/ 0 h 431"/>
                  <a:gd name="T6" fmla="*/ 0 w 359"/>
                  <a:gd name="T7" fmla="*/ 0 h 431"/>
                  <a:gd name="T8" fmla="*/ 0 w 359"/>
                  <a:gd name="T9" fmla="*/ 0 h 431"/>
                  <a:gd name="T10" fmla="*/ 0 w 359"/>
                  <a:gd name="T11" fmla="*/ 0 h 431"/>
                  <a:gd name="T12" fmla="*/ 0 w 359"/>
                  <a:gd name="T13" fmla="*/ 0 h 431"/>
                  <a:gd name="T14" fmla="*/ 0 w 359"/>
                  <a:gd name="T15" fmla="*/ 0 h 431"/>
                  <a:gd name="T16" fmla="*/ 0 w 359"/>
                  <a:gd name="T17" fmla="*/ 0 h 431"/>
                  <a:gd name="T18" fmla="*/ 0 w 359"/>
                  <a:gd name="T19" fmla="*/ 0 h 431"/>
                  <a:gd name="T20" fmla="*/ 0 w 359"/>
                  <a:gd name="T21" fmla="*/ 0 h 431"/>
                  <a:gd name="T22" fmla="*/ 0 w 359"/>
                  <a:gd name="T23" fmla="*/ 0 h 431"/>
                  <a:gd name="T24" fmla="*/ 0 w 359"/>
                  <a:gd name="T25" fmla="*/ 0 h 431"/>
                  <a:gd name="T26" fmla="*/ 0 w 359"/>
                  <a:gd name="T27" fmla="*/ 0 h 431"/>
                  <a:gd name="T28" fmla="*/ 0 w 359"/>
                  <a:gd name="T29" fmla="*/ 0 h 431"/>
                  <a:gd name="T30" fmla="*/ 0 w 359"/>
                  <a:gd name="T31" fmla="*/ 0 h 431"/>
                  <a:gd name="T32" fmla="*/ 0 w 359"/>
                  <a:gd name="T33" fmla="*/ 0 h 431"/>
                  <a:gd name="T34" fmla="*/ 0 w 359"/>
                  <a:gd name="T35" fmla="*/ 0 h 431"/>
                  <a:gd name="T36" fmla="*/ 0 w 359"/>
                  <a:gd name="T37" fmla="*/ 0 h 431"/>
                  <a:gd name="T38" fmla="*/ 0 w 359"/>
                  <a:gd name="T39" fmla="*/ 0 h 431"/>
                  <a:gd name="T40" fmla="*/ 0 w 359"/>
                  <a:gd name="T41" fmla="*/ 0 h 431"/>
                  <a:gd name="T42" fmla="*/ 0 w 359"/>
                  <a:gd name="T43" fmla="*/ 0 h 431"/>
                  <a:gd name="T44" fmla="*/ 0 w 359"/>
                  <a:gd name="T45" fmla="*/ 0 h 431"/>
                  <a:gd name="T46" fmla="*/ 0 w 359"/>
                  <a:gd name="T47" fmla="*/ 0 h 431"/>
                  <a:gd name="T48" fmla="*/ 0 w 359"/>
                  <a:gd name="T49" fmla="*/ 0 h 431"/>
                  <a:gd name="T50" fmla="*/ 0 w 359"/>
                  <a:gd name="T51" fmla="*/ 0 h 431"/>
                  <a:gd name="T52" fmla="*/ 0 w 359"/>
                  <a:gd name="T53" fmla="*/ 0 h 431"/>
                  <a:gd name="T54" fmla="*/ 0 w 359"/>
                  <a:gd name="T55" fmla="*/ 0 h 431"/>
                  <a:gd name="T56" fmla="*/ 0 w 359"/>
                  <a:gd name="T57" fmla="*/ 0 h 431"/>
                  <a:gd name="T58" fmla="*/ 0 w 359"/>
                  <a:gd name="T59" fmla="*/ 0 h 431"/>
                  <a:gd name="T60" fmla="*/ 0 w 359"/>
                  <a:gd name="T61" fmla="*/ 0 h 431"/>
                  <a:gd name="T62" fmla="*/ 0 w 359"/>
                  <a:gd name="T63" fmla="*/ 0 h 431"/>
                  <a:gd name="T64" fmla="*/ 0 w 359"/>
                  <a:gd name="T65" fmla="*/ 0 h 431"/>
                  <a:gd name="T66" fmla="*/ 0 w 359"/>
                  <a:gd name="T67" fmla="*/ 0 h 431"/>
                  <a:gd name="T68" fmla="*/ 0 w 359"/>
                  <a:gd name="T69" fmla="*/ 0 h 431"/>
                  <a:gd name="T70" fmla="*/ 0 w 359"/>
                  <a:gd name="T71" fmla="*/ 0 h 431"/>
                  <a:gd name="T72" fmla="*/ 0 w 359"/>
                  <a:gd name="T73" fmla="*/ 0 h 431"/>
                  <a:gd name="T74" fmla="*/ 0 w 359"/>
                  <a:gd name="T75" fmla="*/ 0 h 431"/>
                  <a:gd name="T76" fmla="*/ 0 w 359"/>
                  <a:gd name="T77" fmla="*/ 0 h 431"/>
                  <a:gd name="T78" fmla="*/ 0 w 359"/>
                  <a:gd name="T79" fmla="*/ 0 h 431"/>
                  <a:gd name="T80" fmla="*/ 0 w 359"/>
                  <a:gd name="T81" fmla="*/ 0 h 431"/>
                  <a:gd name="T82" fmla="*/ 0 w 359"/>
                  <a:gd name="T83" fmla="*/ 0 h 431"/>
                  <a:gd name="T84" fmla="*/ 0 w 359"/>
                  <a:gd name="T85" fmla="*/ 0 h 431"/>
                  <a:gd name="T86" fmla="*/ 0 w 359"/>
                  <a:gd name="T87" fmla="*/ 0 h 431"/>
                  <a:gd name="T88" fmla="*/ 0 w 359"/>
                  <a:gd name="T89" fmla="*/ 0 h 431"/>
                  <a:gd name="T90" fmla="*/ 0 w 359"/>
                  <a:gd name="T91" fmla="*/ 0 h 431"/>
                  <a:gd name="T92" fmla="*/ 0 w 359"/>
                  <a:gd name="T93" fmla="*/ 0 h 431"/>
                  <a:gd name="T94" fmla="*/ 0 w 359"/>
                  <a:gd name="T95" fmla="*/ 0 h 431"/>
                  <a:gd name="T96" fmla="*/ 0 w 359"/>
                  <a:gd name="T97" fmla="*/ 0 h 431"/>
                  <a:gd name="T98" fmla="*/ 0 w 359"/>
                  <a:gd name="T99" fmla="*/ 0 h 431"/>
                  <a:gd name="T100" fmla="*/ 0 w 359"/>
                  <a:gd name="T101" fmla="*/ 0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9"/>
                  <a:gd name="T154" fmla="*/ 0 h 431"/>
                  <a:gd name="T155" fmla="*/ 359 w 359"/>
                  <a:gd name="T156" fmla="*/ 431 h 4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9" name="Freeform 643"/>
            <p:cNvSpPr>
              <a:spLocks/>
            </p:cNvSpPr>
            <p:nvPr>
              <p:custDataLst>
                <p:tags r:id="rId57"/>
              </p:custDataLst>
            </p:nvPr>
          </p:nvSpPr>
          <p:spPr bwMode="auto">
            <a:xfrm>
              <a:off x="5025" y="2139"/>
              <a:ext cx="6" cy="36"/>
            </a:xfrm>
            <a:custGeom>
              <a:avLst/>
              <a:gdLst>
                <a:gd name="T0" fmla="*/ 0 w 21"/>
                <a:gd name="T1" fmla="*/ 1 h 62"/>
                <a:gd name="T2" fmla="*/ 0 w 21"/>
                <a:gd name="T3" fmla="*/ 1 h 62"/>
                <a:gd name="T4" fmla="*/ 0 w 21"/>
                <a:gd name="T5" fmla="*/ 1 h 62"/>
                <a:gd name="T6" fmla="*/ 0 w 21"/>
                <a:gd name="T7" fmla="*/ 1 h 62"/>
                <a:gd name="T8" fmla="*/ 0 w 21"/>
                <a:gd name="T9" fmla="*/ 1 h 62"/>
                <a:gd name="T10" fmla="*/ 0 w 21"/>
                <a:gd name="T11" fmla="*/ 1 h 62"/>
                <a:gd name="T12" fmla="*/ 0 w 21"/>
                <a:gd name="T13" fmla="*/ 0 h 62"/>
                <a:gd name="T14" fmla="*/ 0 w 21"/>
                <a:gd name="T15" fmla="*/ 1 h 62"/>
                <a:gd name="T16" fmla="*/ 0 w 21"/>
                <a:gd name="T17" fmla="*/ 1 h 62"/>
                <a:gd name="T18" fmla="*/ 0 w 21"/>
                <a:gd name="T19" fmla="*/ 1 h 62"/>
                <a:gd name="T20" fmla="*/ 0 w 21"/>
                <a:gd name="T21" fmla="*/ 1 h 62"/>
                <a:gd name="T22" fmla="*/ 0 w 21"/>
                <a:gd name="T23" fmla="*/ 1 h 62"/>
                <a:gd name="T24" fmla="*/ 0 w 21"/>
                <a:gd name="T25" fmla="*/ 1 h 62"/>
                <a:gd name="T26" fmla="*/ 0 w 21"/>
                <a:gd name="T27" fmla="*/ 1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0" name="Freeform 644"/>
            <p:cNvSpPr>
              <a:spLocks/>
            </p:cNvSpPr>
            <p:nvPr>
              <p:custDataLst>
                <p:tags r:id="rId58"/>
              </p:custDataLst>
            </p:nvPr>
          </p:nvSpPr>
          <p:spPr bwMode="auto">
            <a:xfrm>
              <a:off x="5521" y="2707"/>
              <a:ext cx="9" cy="36"/>
            </a:xfrm>
            <a:custGeom>
              <a:avLst/>
              <a:gdLst>
                <a:gd name="T0" fmla="*/ 0 w 33"/>
                <a:gd name="T1" fmla="*/ 0 h 24"/>
                <a:gd name="T2" fmla="*/ 0 w 33"/>
                <a:gd name="T3" fmla="*/ 17528 h 24"/>
                <a:gd name="T4" fmla="*/ 0 w 33"/>
                <a:gd name="T5" fmla="*/ 32988 h 24"/>
                <a:gd name="T6" fmla="*/ 0 w 33"/>
                <a:gd name="T7" fmla="*/ 42978 h 24"/>
                <a:gd name="T8" fmla="*/ 0 w 33"/>
                <a:gd name="T9" fmla="*/ 53562 h 24"/>
                <a:gd name="T10" fmla="*/ 0 w 33"/>
                <a:gd name="T11" fmla="*/ 67202 h 24"/>
                <a:gd name="T12" fmla="*/ 0 w 33"/>
                <a:gd name="T13" fmla="*/ 80337 h 24"/>
                <a:gd name="T14" fmla="*/ 0 w 33"/>
                <a:gd name="T15" fmla="*/ 0 h 24"/>
                <a:gd name="T16" fmla="*/ 0 w 33"/>
                <a:gd name="T17" fmla="*/ 0 h 24"/>
                <a:gd name="T18" fmla="*/ 0 w 33"/>
                <a:gd name="T19" fmla="*/ 0 h 24"/>
                <a:gd name="T20" fmla="*/ 0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1" name="Freeform 645"/>
            <p:cNvSpPr>
              <a:spLocks/>
            </p:cNvSpPr>
            <p:nvPr>
              <p:custDataLst>
                <p:tags r:id="rId59"/>
              </p:custDataLst>
            </p:nvPr>
          </p:nvSpPr>
          <p:spPr bwMode="auto">
            <a:xfrm>
              <a:off x="5536" y="2713"/>
              <a:ext cx="12" cy="37"/>
            </a:xfrm>
            <a:custGeom>
              <a:avLst/>
              <a:gdLst>
                <a:gd name="T0" fmla="*/ 0 w 33"/>
                <a:gd name="T1" fmla="*/ 63581 h 25"/>
                <a:gd name="T2" fmla="*/ 0 w 33"/>
                <a:gd name="T3" fmla="*/ 57344 h 25"/>
                <a:gd name="T4" fmla="*/ 0 w 33"/>
                <a:gd name="T5" fmla="*/ 46286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6358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2" name="Freeform 646"/>
            <p:cNvSpPr>
              <a:spLocks/>
            </p:cNvSpPr>
            <p:nvPr>
              <p:custDataLst>
                <p:tags r:id="rId60"/>
              </p:custDataLst>
            </p:nvPr>
          </p:nvSpPr>
          <p:spPr bwMode="auto">
            <a:xfrm>
              <a:off x="5068" y="2132"/>
              <a:ext cx="1" cy="35"/>
            </a:xfrm>
            <a:custGeom>
              <a:avLst/>
              <a:gdLst>
                <a:gd name="T0" fmla="*/ 0 w 7"/>
                <a:gd name="T1" fmla="*/ 0 h 35"/>
                <a:gd name="T2" fmla="*/ 0 w 7"/>
                <a:gd name="T3" fmla="*/ 0 h 35"/>
                <a:gd name="T4" fmla="*/ 0 w 7"/>
                <a:gd name="T5" fmla="*/ 0 h 35"/>
                <a:gd name="T6" fmla="*/ 0 60000 65536"/>
                <a:gd name="T7" fmla="*/ 0 60000 65536"/>
                <a:gd name="T8" fmla="*/ 0 60000 65536"/>
                <a:gd name="T9" fmla="*/ 0 w 7"/>
                <a:gd name="T10" fmla="*/ 0 h 35"/>
                <a:gd name="T11" fmla="*/ 7 w 7"/>
                <a:gd name="T12" fmla="*/ 35 h 35"/>
              </a:gdLst>
              <a:ahLst/>
              <a:cxnLst>
                <a:cxn ang="T6">
                  <a:pos x="T0" y="T1"/>
                </a:cxn>
                <a:cxn ang="T7">
                  <a:pos x="T2" y="T3"/>
                </a:cxn>
                <a:cxn ang="T8">
                  <a:pos x="T4" y="T5"/>
                </a:cxn>
              </a:cxnLst>
              <a:rect l="T9" t="T10" r="T11" b="T12"/>
              <a:pathLst>
                <a:path w="7" h="35">
                  <a:moveTo>
                    <a:pt x="0" y="0"/>
                  </a:move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3" name="Freeform 647"/>
            <p:cNvSpPr>
              <a:spLocks/>
            </p:cNvSpPr>
            <p:nvPr>
              <p:custDataLst>
                <p:tags r:id="rId61"/>
              </p:custDataLst>
            </p:nvPr>
          </p:nvSpPr>
          <p:spPr bwMode="auto">
            <a:xfrm>
              <a:off x="5108" y="2097"/>
              <a:ext cx="4" cy="36"/>
            </a:xfrm>
            <a:custGeom>
              <a:avLst/>
              <a:gdLst>
                <a:gd name="T0" fmla="*/ 0 w 16"/>
                <a:gd name="T1" fmla="*/ 0 h 25"/>
                <a:gd name="T2" fmla="*/ 0 w 16"/>
                <a:gd name="T3" fmla="*/ 9256 h 25"/>
                <a:gd name="T4" fmla="*/ 0 w 16"/>
                <a:gd name="T5" fmla="*/ 19194 h 25"/>
                <a:gd name="T6" fmla="*/ 0 w 16"/>
                <a:gd name="T7" fmla="*/ 23610 h 25"/>
                <a:gd name="T8" fmla="*/ 0 w 16"/>
                <a:gd name="T9" fmla="*/ 29591 h 25"/>
                <a:gd name="T10" fmla="*/ 0 w 16"/>
                <a:gd name="T11" fmla="*/ 33998 h 25"/>
                <a:gd name="T12" fmla="*/ 0 w 16"/>
                <a:gd name="T13" fmla="*/ 37107 h 25"/>
                <a:gd name="T14" fmla="*/ 0 w 16"/>
                <a:gd name="T15" fmla="*/ 35628 h 25"/>
                <a:gd name="T16" fmla="*/ 0 w 16"/>
                <a:gd name="T17" fmla="*/ 30354 h 25"/>
                <a:gd name="T18" fmla="*/ 0 w 16"/>
                <a:gd name="T19" fmla="*/ 25849 h 25"/>
                <a:gd name="T20" fmla="*/ 0 w 16"/>
                <a:gd name="T21" fmla="*/ 19194 h 25"/>
                <a:gd name="T22" fmla="*/ 0 w 16"/>
                <a:gd name="T23" fmla="*/ 13329 h 25"/>
                <a:gd name="T24" fmla="*/ 0 w 16"/>
                <a:gd name="T25" fmla="*/ 6428 h 25"/>
                <a:gd name="T26" fmla="*/ 0 w 16"/>
                <a:gd name="T27" fmla="*/ 1 h 25"/>
                <a:gd name="T28" fmla="*/ 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4" name="Freeform 648"/>
            <p:cNvSpPr>
              <a:spLocks/>
            </p:cNvSpPr>
            <p:nvPr>
              <p:custDataLst>
                <p:tags r:id="rId62"/>
              </p:custDataLst>
            </p:nvPr>
          </p:nvSpPr>
          <p:spPr bwMode="auto">
            <a:xfrm>
              <a:off x="5185" y="2027"/>
              <a:ext cx="3" cy="36"/>
            </a:xfrm>
            <a:custGeom>
              <a:avLst/>
              <a:gdLst>
                <a:gd name="T0" fmla="*/ 0 w 14"/>
                <a:gd name="T1" fmla="*/ 0 h 18"/>
                <a:gd name="T2" fmla="*/ 0 w 14"/>
                <a:gd name="T3" fmla="*/ 1048576 h 18"/>
                <a:gd name="T4" fmla="*/ 0 w 14"/>
                <a:gd name="T5" fmla="*/ 2097152 h 18"/>
                <a:gd name="T6" fmla="*/ 0 w 14"/>
                <a:gd name="T7" fmla="*/ 4194304 h 18"/>
                <a:gd name="T8" fmla="*/ 0 w 14"/>
                <a:gd name="T9" fmla="*/ 7340031 h 18"/>
                <a:gd name="T10" fmla="*/ 0 w 14"/>
                <a:gd name="T11" fmla="*/ 13631486 h 18"/>
                <a:gd name="T12" fmla="*/ 0 w 14"/>
                <a:gd name="T13" fmla="*/ 18874368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5" name="Freeform 649"/>
            <p:cNvSpPr>
              <a:spLocks/>
            </p:cNvSpPr>
            <p:nvPr>
              <p:custDataLst>
                <p:tags r:id="rId63"/>
              </p:custDataLst>
            </p:nvPr>
          </p:nvSpPr>
          <p:spPr bwMode="auto">
            <a:xfrm>
              <a:off x="5289" y="2467"/>
              <a:ext cx="18" cy="37"/>
            </a:xfrm>
            <a:custGeom>
              <a:avLst/>
              <a:gdLst>
                <a:gd name="T0" fmla="*/ 0 w 67"/>
                <a:gd name="T1" fmla="*/ 0 h 74"/>
                <a:gd name="T2" fmla="*/ 0 w 67"/>
                <a:gd name="T3" fmla="*/ 1 h 74"/>
                <a:gd name="T4" fmla="*/ 0 w 67"/>
                <a:gd name="T5" fmla="*/ 1 h 74"/>
                <a:gd name="T6" fmla="*/ 0 w 67"/>
                <a:gd name="T7" fmla="*/ 1 h 74"/>
                <a:gd name="T8" fmla="*/ 0 w 67"/>
                <a:gd name="T9" fmla="*/ 1 h 74"/>
                <a:gd name="T10" fmla="*/ 0 w 67"/>
                <a:gd name="T11" fmla="*/ 1 h 74"/>
                <a:gd name="T12" fmla="*/ 0 w 67"/>
                <a:gd name="T13" fmla="*/ 1 h 74"/>
                <a:gd name="T14" fmla="*/ 0 w 67"/>
                <a:gd name="T15" fmla="*/ 1 h 74"/>
                <a:gd name="T16" fmla="*/ 0 w 67"/>
                <a:gd name="T17" fmla="*/ 1 h 74"/>
                <a:gd name="T18" fmla="*/ 0 w 67"/>
                <a:gd name="T19" fmla="*/ 1 h 74"/>
                <a:gd name="T20" fmla="*/ 0 w 67"/>
                <a:gd name="T21" fmla="*/ 1 h 74"/>
                <a:gd name="T22" fmla="*/ 0 w 67"/>
                <a:gd name="T23" fmla="*/ 1 h 74"/>
                <a:gd name="T24" fmla="*/ 0 w 67"/>
                <a:gd name="T25" fmla="*/ 1 h 74"/>
                <a:gd name="T26" fmla="*/ 0 w 67"/>
                <a:gd name="T27" fmla="*/ 1 h 74"/>
                <a:gd name="T28" fmla="*/ 0 w 67"/>
                <a:gd name="T29" fmla="*/ 1 h 74"/>
                <a:gd name="T30" fmla="*/ 0 w 67"/>
                <a:gd name="T31" fmla="*/ 1 h 74"/>
                <a:gd name="T32" fmla="*/ 0 w 67"/>
                <a:gd name="T33" fmla="*/ 1 h 74"/>
                <a:gd name="T34" fmla="*/ 0 w 67"/>
                <a:gd name="T35" fmla="*/ 1 h 74"/>
                <a:gd name="T36" fmla="*/ 0 w 67"/>
                <a:gd name="T37" fmla="*/ 0 h 74"/>
                <a:gd name="T38" fmla="*/ 0 w 67"/>
                <a:gd name="T39" fmla="*/ 0 h 74"/>
                <a:gd name="T40" fmla="*/ 0 w 67"/>
                <a:gd name="T41" fmla="*/ 0 h 74"/>
                <a:gd name="T42" fmla="*/ 0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6" name="Freeform 650"/>
            <p:cNvSpPr>
              <a:spLocks/>
            </p:cNvSpPr>
            <p:nvPr>
              <p:custDataLst>
                <p:tags r:id="rId64"/>
              </p:custDataLst>
            </p:nvPr>
          </p:nvSpPr>
          <p:spPr bwMode="auto">
            <a:xfrm>
              <a:off x="5332" y="2476"/>
              <a:ext cx="9" cy="36"/>
            </a:xfrm>
            <a:custGeom>
              <a:avLst/>
              <a:gdLst>
                <a:gd name="T0" fmla="*/ 0 w 34"/>
                <a:gd name="T1" fmla="*/ 0 h 38"/>
                <a:gd name="T2" fmla="*/ 0 w 34"/>
                <a:gd name="T3" fmla="*/ 3 h 38"/>
                <a:gd name="T4" fmla="*/ 0 w 34"/>
                <a:gd name="T5" fmla="*/ 7 h 38"/>
                <a:gd name="T6" fmla="*/ 0 w 34"/>
                <a:gd name="T7" fmla="*/ 9 h 38"/>
                <a:gd name="T8" fmla="*/ 0 w 34"/>
                <a:gd name="T9" fmla="*/ 9 h 38"/>
                <a:gd name="T10" fmla="*/ 0 w 34"/>
                <a:gd name="T11" fmla="*/ 9 h 38"/>
                <a:gd name="T12" fmla="*/ 0 w 34"/>
                <a:gd name="T13" fmla="*/ 13 h 38"/>
                <a:gd name="T14" fmla="*/ 0 w 34"/>
                <a:gd name="T15" fmla="*/ 12 h 38"/>
                <a:gd name="T16" fmla="*/ 0 w 34"/>
                <a:gd name="T17" fmla="*/ 12 h 38"/>
                <a:gd name="T18" fmla="*/ 0 w 34"/>
                <a:gd name="T19" fmla="*/ 11 h 38"/>
                <a:gd name="T20" fmla="*/ 0 w 34"/>
                <a:gd name="T21" fmla="*/ 9 h 38"/>
                <a:gd name="T22" fmla="*/ 0 w 34"/>
                <a:gd name="T23" fmla="*/ 9 h 38"/>
                <a:gd name="T24" fmla="*/ 0 w 34"/>
                <a:gd name="T25" fmla="*/ 9 h 38"/>
                <a:gd name="T26" fmla="*/ 0 w 34"/>
                <a:gd name="T27" fmla="*/ 9 h 38"/>
                <a:gd name="T28" fmla="*/ 0 w 34"/>
                <a:gd name="T29" fmla="*/ 9 h 38"/>
                <a:gd name="T30" fmla="*/ 0 w 34"/>
                <a:gd name="T31" fmla="*/ 9 h 38"/>
                <a:gd name="T32" fmla="*/ 0 w 34"/>
                <a:gd name="T33" fmla="*/ 9 h 38"/>
                <a:gd name="T34" fmla="*/ 0 w 34"/>
                <a:gd name="T35" fmla="*/ 9 h 38"/>
                <a:gd name="T36" fmla="*/ 0 w 34"/>
                <a:gd name="T37" fmla="*/ 9 h 38"/>
                <a:gd name="T38" fmla="*/ 0 w 34"/>
                <a:gd name="T39" fmla="*/ 6 h 38"/>
                <a:gd name="T40" fmla="*/ 0 w 34"/>
                <a:gd name="T41" fmla="*/ 0 h 38"/>
                <a:gd name="T42" fmla="*/ 0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7" name="Freeform 651"/>
            <p:cNvSpPr>
              <a:spLocks/>
            </p:cNvSpPr>
            <p:nvPr>
              <p:custDataLst>
                <p:tags r:id="rId65"/>
              </p:custDataLst>
            </p:nvPr>
          </p:nvSpPr>
          <p:spPr bwMode="auto">
            <a:xfrm>
              <a:off x="5235" y="2335"/>
              <a:ext cx="17" cy="35"/>
            </a:xfrm>
            <a:custGeom>
              <a:avLst/>
              <a:gdLst>
                <a:gd name="T0" fmla="*/ 0 w 53"/>
                <a:gd name="T1" fmla="*/ 101742 h 23"/>
                <a:gd name="T2" fmla="*/ 0 w 53"/>
                <a:gd name="T3" fmla="*/ 17520 h 23"/>
                <a:gd name="T4" fmla="*/ 0 w 53"/>
                <a:gd name="T5" fmla="*/ 9538 h 23"/>
                <a:gd name="T6" fmla="*/ 0 w 53"/>
                <a:gd name="T7" fmla="*/ 6268 h 23"/>
                <a:gd name="T8" fmla="*/ 0 w 53"/>
                <a:gd name="T9" fmla="*/ 0 h 23"/>
                <a:gd name="T10" fmla="*/ 0 w 53"/>
                <a:gd name="T11" fmla="*/ 0 h 23"/>
                <a:gd name="T12" fmla="*/ 0 w 53"/>
                <a:gd name="T13" fmla="*/ 6268 h 23"/>
                <a:gd name="T14" fmla="*/ 0 w 53"/>
                <a:gd name="T15" fmla="*/ 17520 h 23"/>
                <a:gd name="T16" fmla="*/ 0 w 53"/>
                <a:gd name="T17" fmla="*/ 58100 h 23"/>
                <a:gd name="T18" fmla="*/ 0 w 53"/>
                <a:gd name="T19" fmla="*/ 101742 h 23"/>
                <a:gd name="T20" fmla="*/ 0 w 53"/>
                <a:gd name="T21" fmla="*/ 10174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8" name="Freeform 652"/>
            <p:cNvSpPr>
              <a:spLocks/>
            </p:cNvSpPr>
            <p:nvPr>
              <p:custDataLst>
                <p:tags r:id="rId66"/>
              </p:custDataLst>
            </p:nvPr>
          </p:nvSpPr>
          <p:spPr bwMode="auto">
            <a:xfrm>
              <a:off x="5196" y="2319"/>
              <a:ext cx="7" cy="36"/>
            </a:xfrm>
            <a:custGeom>
              <a:avLst/>
              <a:gdLst>
                <a:gd name="T0" fmla="*/ 0 w 26"/>
                <a:gd name="T1" fmla="*/ 0 h 12"/>
                <a:gd name="T2" fmla="*/ 0 w 26"/>
                <a:gd name="T3" fmla="*/ 2147483647 h 12"/>
                <a:gd name="T4" fmla="*/ 0 w 26"/>
                <a:gd name="T5" fmla="*/ 2147483647 h 12"/>
                <a:gd name="T6" fmla="*/ 0 w 26"/>
                <a:gd name="T7" fmla="*/ 2147483647 h 12"/>
                <a:gd name="T8" fmla="*/ 0 w 26"/>
                <a:gd name="T9" fmla="*/ 2147483647 h 12"/>
                <a:gd name="T10" fmla="*/ 0 w 26"/>
                <a:gd name="T11" fmla="*/ 2147483647 h 12"/>
                <a:gd name="T12" fmla="*/ 0 w 26"/>
                <a:gd name="T13" fmla="*/ 2147483647 h 12"/>
                <a:gd name="T14" fmla="*/ 0 w 26"/>
                <a:gd name="T15" fmla="*/ 2147483647 h 12"/>
                <a:gd name="T16" fmla="*/ 0 w 26"/>
                <a:gd name="T17" fmla="*/ 2147483647 h 12"/>
                <a:gd name="T18" fmla="*/ 0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9" name="Freeform 653"/>
            <p:cNvSpPr>
              <a:spLocks/>
            </p:cNvSpPr>
            <p:nvPr>
              <p:custDataLst>
                <p:tags r:id="rId67"/>
              </p:custDataLst>
            </p:nvPr>
          </p:nvSpPr>
          <p:spPr bwMode="auto">
            <a:xfrm>
              <a:off x="5332" y="2528"/>
              <a:ext cx="22" cy="36"/>
            </a:xfrm>
            <a:custGeom>
              <a:avLst/>
              <a:gdLst>
                <a:gd name="T0" fmla="*/ 0 w 73"/>
                <a:gd name="T1" fmla="*/ 0 h 36"/>
                <a:gd name="T2" fmla="*/ 0 w 73"/>
                <a:gd name="T3" fmla="*/ 0 h 36"/>
                <a:gd name="T4" fmla="*/ 0 w 73"/>
                <a:gd name="T5" fmla="*/ 0 h 36"/>
                <a:gd name="T6" fmla="*/ 0 w 73"/>
                <a:gd name="T7" fmla="*/ 0 h 36"/>
                <a:gd name="T8" fmla="*/ 0 w 73"/>
                <a:gd name="T9" fmla="*/ 0 h 36"/>
                <a:gd name="T10" fmla="*/ 0 60000 65536"/>
                <a:gd name="T11" fmla="*/ 0 60000 65536"/>
                <a:gd name="T12" fmla="*/ 0 60000 65536"/>
                <a:gd name="T13" fmla="*/ 0 60000 65536"/>
                <a:gd name="T14" fmla="*/ 0 60000 65536"/>
                <a:gd name="T15" fmla="*/ 0 w 73"/>
                <a:gd name="T16" fmla="*/ 0 h 36"/>
                <a:gd name="T17" fmla="*/ 73 w 73"/>
                <a:gd name="T18" fmla="*/ 36 h 36"/>
              </a:gdLst>
              <a:ahLst/>
              <a:cxnLst>
                <a:cxn ang="T10">
                  <a:pos x="T0" y="T1"/>
                </a:cxn>
                <a:cxn ang="T11">
                  <a:pos x="T2" y="T3"/>
                </a:cxn>
                <a:cxn ang="T12">
                  <a:pos x="T4" y="T5"/>
                </a:cxn>
                <a:cxn ang="T13">
                  <a:pos x="T6" y="T7"/>
                </a:cxn>
                <a:cxn ang="T14">
                  <a:pos x="T8" y="T9"/>
                </a:cxn>
              </a:cxnLst>
              <a:rect l="T15" t="T16" r="T17" b="T18"/>
              <a:pathLst>
                <a:path w="73" h="36">
                  <a:moveTo>
                    <a:pt x="0" y="0"/>
                  </a:moveTo>
                  <a:lnTo>
                    <a:pt x="20" y="0"/>
                  </a:lnTo>
                  <a:lnTo>
                    <a:pt x="37" y="0"/>
                  </a:lnTo>
                  <a:lnTo>
                    <a:pt x="55"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0" name="Freeform 654"/>
            <p:cNvSpPr>
              <a:spLocks/>
            </p:cNvSpPr>
            <p:nvPr>
              <p:custDataLst>
                <p:tags r:id="rId68"/>
              </p:custDataLst>
            </p:nvPr>
          </p:nvSpPr>
          <p:spPr bwMode="auto">
            <a:xfrm>
              <a:off x="5302" y="2521"/>
              <a:ext cx="15" cy="36"/>
            </a:xfrm>
            <a:custGeom>
              <a:avLst/>
              <a:gdLst>
                <a:gd name="T0" fmla="*/ 0 w 53"/>
                <a:gd name="T1" fmla="*/ 0 h 3"/>
                <a:gd name="T2" fmla="*/ 0 w 53"/>
                <a:gd name="T3" fmla="*/ 0 h 3"/>
                <a:gd name="T4" fmla="*/ 0 w 53"/>
                <a:gd name="T5" fmla="*/ 2147483647 h 3"/>
                <a:gd name="T6" fmla="*/ 0 w 53"/>
                <a:gd name="T7" fmla="*/ 2147483647 h 3"/>
                <a:gd name="T8" fmla="*/ 0 w 53"/>
                <a:gd name="T9" fmla="*/ 2147483647 h 3"/>
                <a:gd name="T10" fmla="*/ 0 w 53"/>
                <a:gd name="T11" fmla="*/ 2147483647 h 3"/>
                <a:gd name="T12" fmla="*/ 0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1" name="Line 655"/>
            <p:cNvSpPr>
              <a:spLocks noChangeShapeType="1"/>
            </p:cNvSpPr>
            <p:nvPr>
              <p:custDataLst>
                <p:tags r:id="rId69"/>
              </p:custDataLst>
            </p:nvPr>
          </p:nvSpPr>
          <p:spPr bwMode="auto">
            <a:xfrm>
              <a:off x="5325" y="2512"/>
              <a:ext cx="1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22" name="Freeform 656"/>
            <p:cNvSpPr>
              <a:spLocks/>
            </p:cNvSpPr>
            <p:nvPr>
              <p:custDataLst>
                <p:tags r:id="rId70"/>
              </p:custDataLst>
            </p:nvPr>
          </p:nvSpPr>
          <p:spPr bwMode="auto">
            <a:xfrm>
              <a:off x="5339" y="2516"/>
              <a:ext cx="1" cy="36"/>
            </a:xfrm>
            <a:custGeom>
              <a:avLst/>
              <a:gdLst>
                <a:gd name="T0" fmla="*/ 0 w 1"/>
                <a:gd name="T1" fmla="*/ 0 h 13"/>
                <a:gd name="T2" fmla="*/ 0 w 1"/>
                <a:gd name="T3" fmla="*/ 2147483647 h 13"/>
                <a:gd name="T4" fmla="*/ 0 w 1"/>
                <a:gd name="T5" fmla="*/ 2147483647 h 13"/>
                <a:gd name="T6" fmla="*/ 0 60000 65536"/>
                <a:gd name="T7" fmla="*/ 0 60000 65536"/>
                <a:gd name="T8" fmla="*/ 0 60000 65536"/>
                <a:gd name="T9" fmla="*/ 0 w 1"/>
                <a:gd name="T10" fmla="*/ 0 h 13"/>
                <a:gd name="T11" fmla="*/ 1 w 1"/>
                <a:gd name="T12" fmla="*/ 13 h 13"/>
              </a:gdLst>
              <a:ahLst/>
              <a:cxnLst>
                <a:cxn ang="T6">
                  <a:pos x="T0" y="T1"/>
                </a:cxn>
                <a:cxn ang="T7">
                  <a:pos x="T2" y="T3"/>
                </a:cxn>
                <a:cxn ang="T8">
                  <a:pos x="T4" y="T5"/>
                </a:cxn>
              </a:cxnLst>
              <a:rect l="T9" t="T10" r="T11" b="T12"/>
              <a:pathLst>
                <a:path w="1" h="13">
                  <a:moveTo>
                    <a:pt x="0" y="0"/>
                  </a:moveTo>
                  <a:lnTo>
                    <a:pt x="0" y="6"/>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3" name="Freeform 657"/>
            <p:cNvSpPr>
              <a:spLocks/>
            </p:cNvSpPr>
            <p:nvPr>
              <p:custDataLst>
                <p:tags r:id="rId71"/>
              </p:custDataLst>
            </p:nvPr>
          </p:nvSpPr>
          <p:spPr bwMode="auto">
            <a:xfrm>
              <a:off x="5307" y="2512"/>
              <a:ext cx="10" cy="37"/>
            </a:xfrm>
            <a:custGeom>
              <a:avLst/>
              <a:gdLst>
                <a:gd name="T0" fmla="*/ 0 w 26"/>
                <a:gd name="T1" fmla="*/ 0 h 37"/>
                <a:gd name="T2" fmla="*/ 0 w 26"/>
                <a:gd name="T3" fmla="*/ 0 h 37"/>
                <a:gd name="T4" fmla="*/ 0 w 26"/>
                <a:gd name="T5" fmla="*/ 0 h 37"/>
                <a:gd name="T6" fmla="*/ 0 60000 65536"/>
                <a:gd name="T7" fmla="*/ 0 60000 65536"/>
                <a:gd name="T8" fmla="*/ 0 60000 65536"/>
                <a:gd name="T9" fmla="*/ 0 w 26"/>
                <a:gd name="T10" fmla="*/ 0 h 37"/>
                <a:gd name="T11" fmla="*/ 26 w 26"/>
                <a:gd name="T12" fmla="*/ 37 h 37"/>
              </a:gdLst>
              <a:ahLst/>
              <a:cxnLst>
                <a:cxn ang="T6">
                  <a:pos x="T0" y="T1"/>
                </a:cxn>
                <a:cxn ang="T7">
                  <a:pos x="T2" y="T3"/>
                </a:cxn>
                <a:cxn ang="T8">
                  <a:pos x="T4" y="T5"/>
                </a:cxn>
              </a:cxnLst>
              <a:rect l="T9" t="T10" r="T11" b="T12"/>
              <a:pathLst>
                <a:path w="26" h="37">
                  <a:moveTo>
                    <a:pt x="0" y="0"/>
                  </a:moveTo>
                  <a:lnTo>
                    <a:pt x="15" y="0"/>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4" name="Freeform 658"/>
            <p:cNvSpPr>
              <a:spLocks/>
            </p:cNvSpPr>
            <p:nvPr>
              <p:custDataLst>
                <p:tags r:id="rId72"/>
              </p:custDataLst>
            </p:nvPr>
          </p:nvSpPr>
          <p:spPr bwMode="auto">
            <a:xfrm>
              <a:off x="5303" y="2500"/>
              <a:ext cx="4" cy="38"/>
            </a:xfrm>
            <a:custGeom>
              <a:avLst/>
              <a:gdLst>
                <a:gd name="T0" fmla="*/ 0 w 20"/>
                <a:gd name="T1" fmla="*/ 0 h 25"/>
                <a:gd name="T2" fmla="*/ 0 w 20"/>
                <a:gd name="T3" fmla="*/ 56561 h 25"/>
                <a:gd name="T4" fmla="*/ 0 w 20"/>
                <a:gd name="T5" fmla="*/ 76363 h 25"/>
                <a:gd name="T6" fmla="*/ 0 w 20"/>
                <a:gd name="T7" fmla="*/ 90630 h 25"/>
                <a:gd name="T8" fmla="*/ 0 w 20"/>
                <a:gd name="T9" fmla="*/ 104100 h 25"/>
                <a:gd name="T10" fmla="*/ 0 w 20"/>
                <a:gd name="T11" fmla="*/ 108878 h 25"/>
                <a:gd name="T12" fmla="*/ 0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5" name="Freeform 659"/>
            <p:cNvSpPr>
              <a:spLocks/>
            </p:cNvSpPr>
            <p:nvPr>
              <p:custDataLst>
                <p:tags r:id="rId73"/>
              </p:custDataLst>
            </p:nvPr>
          </p:nvSpPr>
          <p:spPr bwMode="auto">
            <a:xfrm>
              <a:off x="5358" y="2328"/>
              <a:ext cx="1" cy="36"/>
            </a:xfrm>
            <a:custGeom>
              <a:avLst/>
              <a:gdLst>
                <a:gd name="T0" fmla="*/ 0 w 6"/>
                <a:gd name="T1" fmla="*/ 80337 h 24"/>
                <a:gd name="T2" fmla="*/ 0 w 6"/>
                <a:gd name="T3" fmla="*/ 0 h 24"/>
                <a:gd name="T4" fmla="*/ 0 w 6"/>
                <a:gd name="T5" fmla="*/ 39438 h 24"/>
                <a:gd name="T6" fmla="*/ 0 w 6"/>
                <a:gd name="T7" fmla="*/ 8033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7" name="Group 660"/>
            <p:cNvGrpSpPr>
              <a:grpSpLocks/>
            </p:cNvGrpSpPr>
            <p:nvPr>
              <p:custDataLst>
                <p:tags r:id="rId74"/>
              </p:custDataLst>
            </p:nvPr>
          </p:nvGrpSpPr>
          <p:grpSpPr bwMode="auto">
            <a:xfrm>
              <a:off x="5273" y="2121"/>
              <a:ext cx="111" cy="72"/>
              <a:chOff x="5379" y="2466"/>
              <a:chExt cx="122" cy="71"/>
            </a:xfrm>
            <a:grpFill/>
          </p:grpSpPr>
          <p:sp>
            <p:nvSpPr>
              <p:cNvPr id="18974" name="Freeform 661"/>
              <p:cNvSpPr>
                <a:spLocks/>
              </p:cNvSpPr>
              <p:nvPr/>
            </p:nvSpPr>
            <p:spPr bwMode="auto">
              <a:xfrm>
                <a:off x="5428" y="2492"/>
                <a:ext cx="0"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0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5" name="Freeform 662"/>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6" name="Freeform 663"/>
              <p:cNvSpPr>
                <a:spLocks/>
              </p:cNvSpPr>
              <p:nvPr/>
            </p:nvSpPr>
            <p:spPr bwMode="auto">
              <a:xfrm>
                <a:off x="5392" y="2466"/>
                <a:ext cx="3" cy="6"/>
              </a:xfrm>
              <a:custGeom>
                <a:avLst/>
                <a:gdLst>
                  <a:gd name="T0" fmla="*/ 0 w 13"/>
                  <a:gd name="T1" fmla="*/ 0 h 18"/>
                  <a:gd name="T2" fmla="*/ 0 w 13"/>
                  <a:gd name="T3" fmla="*/ 0 h 18"/>
                  <a:gd name="T4" fmla="*/ 0 w 13"/>
                  <a:gd name="T5" fmla="*/ 0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7" name="Freeform 664"/>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8" name="Freeform 665"/>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9" name="Line 666"/>
              <p:cNvSpPr>
                <a:spLocks noChangeShapeType="1"/>
              </p:cNvSpPr>
              <p:nvPr/>
            </p:nvSpPr>
            <p:spPr bwMode="auto">
              <a:xfrm flipH="1">
                <a:off x="5496" y="2490"/>
                <a:ext cx="5"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0" name="Freeform 667"/>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1" name="Line 668"/>
              <p:cNvSpPr>
                <a:spLocks noChangeShapeType="1"/>
              </p:cNvSpPr>
              <p:nvPr/>
            </p:nvSpPr>
            <p:spPr bwMode="auto">
              <a:xfrm>
                <a:off x="5464" y="2530"/>
                <a:ext cx="1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2" name="Freeform 669"/>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27" name="Freeform 670"/>
            <p:cNvSpPr>
              <a:spLocks/>
            </p:cNvSpPr>
            <p:nvPr>
              <p:custDataLst>
                <p:tags r:id="rId75"/>
              </p:custDataLst>
            </p:nvPr>
          </p:nvSpPr>
          <p:spPr bwMode="auto">
            <a:xfrm>
              <a:off x="4306" y="2034"/>
              <a:ext cx="5" cy="36"/>
            </a:xfrm>
            <a:custGeom>
              <a:avLst/>
              <a:gdLst>
                <a:gd name="T0" fmla="*/ 0 w 26"/>
                <a:gd name="T1" fmla="*/ 0 h 111"/>
                <a:gd name="T2" fmla="*/ 0 w 26"/>
                <a:gd name="T3" fmla="*/ 0 h 111"/>
                <a:gd name="T4" fmla="*/ 0 w 26"/>
                <a:gd name="T5" fmla="*/ 0 h 111"/>
                <a:gd name="T6" fmla="*/ 0 w 26"/>
                <a:gd name="T7" fmla="*/ 0 h 111"/>
                <a:gd name="T8" fmla="*/ 0 w 26"/>
                <a:gd name="T9" fmla="*/ 0 h 111"/>
                <a:gd name="T10" fmla="*/ 0 w 26"/>
                <a:gd name="T11" fmla="*/ 0 h 111"/>
                <a:gd name="T12" fmla="*/ 0 w 26"/>
                <a:gd name="T13" fmla="*/ 0 h 111"/>
                <a:gd name="T14" fmla="*/ 0 w 26"/>
                <a:gd name="T15" fmla="*/ 0 h 111"/>
                <a:gd name="T16" fmla="*/ 0 w 26"/>
                <a:gd name="T17" fmla="*/ 0 h 111"/>
                <a:gd name="T18" fmla="*/ 0 w 26"/>
                <a:gd name="T19" fmla="*/ 0 h 111"/>
                <a:gd name="T20" fmla="*/ 0 w 26"/>
                <a:gd name="T21" fmla="*/ 0 h 111"/>
                <a:gd name="T22" fmla="*/ 0 w 26"/>
                <a:gd name="T23" fmla="*/ 0 h 111"/>
                <a:gd name="T24" fmla="*/ 0 w 26"/>
                <a:gd name="T25" fmla="*/ 0 h 111"/>
                <a:gd name="T26" fmla="*/ 0 w 26"/>
                <a:gd name="T27" fmla="*/ 0 h 111"/>
                <a:gd name="T28" fmla="*/ 0 w 26"/>
                <a:gd name="T29" fmla="*/ 0 h 111"/>
                <a:gd name="T30" fmla="*/ 0 w 26"/>
                <a:gd name="T31" fmla="*/ 0 h 111"/>
                <a:gd name="T32" fmla="*/ 0 w 26"/>
                <a:gd name="T33" fmla="*/ 0 h 111"/>
                <a:gd name="T34" fmla="*/ 0 w 26"/>
                <a:gd name="T35" fmla="*/ 0 h 111"/>
                <a:gd name="T36" fmla="*/ 0 w 26"/>
                <a:gd name="T37" fmla="*/ 0 h 111"/>
                <a:gd name="T38" fmla="*/ 0 w 26"/>
                <a:gd name="T39" fmla="*/ 0 h 111"/>
                <a:gd name="T40" fmla="*/ 0 w 26"/>
                <a:gd name="T41" fmla="*/ 0 h 111"/>
                <a:gd name="T42" fmla="*/ 0 w 26"/>
                <a:gd name="T43" fmla="*/ 0 h 111"/>
                <a:gd name="T44" fmla="*/ 0 w 26"/>
                <a:gd name="T45" fmla="*/ 0 h 111"/>
                <a:gd name="T46" fmla="*/ 0 w 26"/>
                <a:gd name="T47" fmla="*/ 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8" name="Freeform 671"/>
            <p:cNvSpPr>
              <a:spLocks/>
            </p:cNvSpPr>
            <p:nvPr>
              <p:custDataLst>
                <p:tags r:id="rId76"/>
              </p:custDataLst>
            </p:nvPr>
          </p:nvSpPr>
          <p:spPr bwMode="auto">
            <a:xfrm>
              <a:off x="2191" y="3382"/>
              <a:ext cx="36" cy="37"/>
            </a:xfrm>
            <a:custGeom>
              <a:avLst/>
              <a:gdLst>
                <a:gd name="T0" fmla="*/ 0 w 126"/>
                <a:gd name="T1" fmla="*/ 1 h 62"/>
                <a:gd name="T2" fmla="*/ 0 w 126"/>
                <a:gd name="T3" fmla="*/ 1 h 62"/>
                <a:gd name="T4" fmla="*/ 0 w 126"/>
                <a:gd name="T5" fmla="*/ 1 h 62"/>
                <a:gd name="T6" fmla="*/ 0 w 126"/>
                <a:gd name="T7" fmla="*/ 1 h 62"/>
                <a:gd name="T8" fmla="*/ 0 w 126"/>
                <a:gd name="T9" fmla="*/ 1 h 62"/>
                <a:gd name="T10" fmla="*/ 0 w 126"/>
                <a:gd name="T11" fmla="*/ 1 h 62"/>
                <a:gd name="T12" fmla="*/ 0 w 126"/>
                <a:gd name="T13" fmla="*/ 1 h 62"/>
                <a:gd name="T14" fmla="*/ 0 w 126"/>
                <a:gd name="T15" fmla="*/ 1 h 62"/>
                <a:gd name="T16" fmla="*/ 0 w 126"/>
                <a:gd name="T17" fmla="*/ 1 h 62"/>
                <a:gd name="T18" fmla="*/ 0 w 126"/>
                <a:gd name="T19" fmla="*/ 1 h 62"/>
                <a:gd name="T20" fmla="*/ 0 w 126"/>
                <a:gd name="T21" fmla="*/ 1 h 62"/>
                <a:gd name="T22" fmla="*/ 0 w 126"/>
                <a:gd name="T23" fmla="*/ 1 h 62"/>
                <a:gd name="T24" fmla="*/ 0 w 126"/>
                <a:gd name="T25" fmla="*/ 1 h 62"/>
                <a:gd name="T26" fmla="*/ 0 w 126"/>
                <a:gd name="T27" fmla="*/ 1 h 62"/>
                <a:gd name="T28" fmla="*/ 0 w 126"/>
                <a:gd name="T29" fmla="*/ 1 h 62"/>
                <a:gd name="T30" fmla="*/ 0 w 126"/>
                <a:gd name="T31" fmla="*/ 1 h 62"/>
                <a:gd name="T32" fmla="*/ 0 w 126"/>
                <a:gd name="T33" fmla="*/ 1 h 62"/>
                <a:gd name="T34" fmla="*/ 0 w 126"/>
                <a:gd name="T35" fmla="*/ 1 h 62"/>
                <a:gd name="T36" fmla="*/ 0 w 126"/>
                <a:gd name="T37" fmla="*/ 1 h 62"/>
                <a:gd name="T38" fmla="*/ 0 w 126"/>
                <a:gd name="T39" fmla="*/ 1 h 62"/>
                <a:gd name="T40" fmla="*/ 0 w 126"/>
                <a:gd name="T41" fmla="*/ 1 h 62"/>
                <a:gd name="T42" fmla="*/ 0 w 126"/>
                <a:gd name="T43" fmla="*/ 1 h 62"/>
                <a:gd name="T44" fmla="*/ 0 w 126"/>
                <a:gd name="T45" fmla="*/ 1 h 62"/>
                <a:gd name="T46" fmla="*/ 0 w 126"/>
                <a:gd name="T47" fmla="*/ 1 h 62"/>
                <a:gd name="T48" fmla="*/ 0 w 126"/>
                <a:gd name="T49" fmla="*/ 0 h 62"/>
                <a:gd name="T50" fmla="*/ 0 w 126"/>
                <a:gd name="T51" fmla="*/ 0 h 62"/>
                <a:gd name="T52" fmla="*/ 0 w 126"/>
                <a:gd name="T53" fmla="*/ 1 h 62"/>
                <a:gd name="T54" fmla="*/ 0 w 126"/>
                <a:gd name="T55" fmla="*/ 1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9" name="Freeform 672"/>
            <p:cNvSpPr>
              <a:spLocks/>
            </p:cNvSpPr>
            <p:nvPr>
              <p:custDataLst>
                <p:tags r:id="rId77"/>
              </p:custDataLst>
            </p:nvPr>
          </p:nvSpPr>
          <p:spPr bwMode="auto">
            <a:xfrm>
              <a:off x="3761" y="3280"/>
              <a:ext cx="21" cy="35"/>
            </a:xfrm>
            <a:custGeom>
              <a:avLst/>
              <a:gdLst>
                <a:gd name="T0" fmla="*/ 0 w 66"/>
                <a:gd name="T1" fmla="*/ 0 h 44"/>
                <a:gd name="T2" fmla="*/ 0 w 66"/>
                <a:gd name="T3" fmla="*/ 1 h 44"/>
                <a:gd name="T4" fmla="*/ 0 w 66"/>
                <a:gd name="T5" fmla="*/ 2 h 44"/>
                <a:gd name="T6" fmla="*/ 0 w 66"/>
                <a:gd name="T7" fmla="*/ 2 h 44"/>
                <a:gd name="T8" fmla="*/ 0 w 66"/>
                <a:gd name="T9" fmla="*/ 2 h 44"/>
                <a:gd name="T10" fmla="*/ 0 w 66"/>
                <a:gd name="T11" fmla="*/ 2 h 44"/>
                <a:gd name="T12" fmla="*/ 0 w 66"/>
                <a:gd name="T13" fmla="*/ 2 h 44"/>
                <a:gd name="T14" fmla="*/ 0 w 66"/>
                <a:gd name="T15" fmla="*/ 2 h 44"/>
                <a:gd name="T16" fmla="*/ 0 w 66"/>
                <a:gd name="T17" fmla="*/ 2 h 44"/>
                <a:gd name="T18" fmla="*/ 0 w 66"/>
                <a:gd name="T19" fmla="*/ 2 h 44"/>
                <a:gd name="T20" fmla="*/ 0 w 66"/>
                <a:gd name="T21" fmla="*/ 2 h 44"/>
                <a:gd name="T22" fmla="*/ 0 w 66"/>
                <a:gd name="T23" fmla="*/ 2 h 44"/>
                <a:gd name="T24" fmla="*/ 0 w 66"/>
                <a:gd name="T25" fmla="*/ 2 h 44"/>
                <a:gd name="T26" fmla="*/ 0 w 66"/>
                <a:gd name="T27" fmla="*/ 2 h 44"/>
                <a:gd name="T28" fmla="*/ 0 w 66"/>
                <a:gd name="T29" fmla="*/ 2 h 44"/>
                <a:gd name="T30" fmla="*/ 0 w 66"/>
                <a:gd name="T31" fmla="*/ 2 h 44"/>
                <a:gd name="T32" fmla="*/ 0 w 66"/>
                <a:gd name="T33" fmla="*/ 2 h 44"/>
                <a:gd name="T34" fmla="*/ 0 w 66"/>
                <a:gd name="T35" fmla="*/ 2 h 44"/>
                <a:gd name="T36" fmla="*/ 0 w 66"/>
                <a:gd name="T37" fmla="*/ 2 h 44"/>
                <a:gd name="T38" fmla="*/ 0 w 66"/>
                <a:gd name="T39" fmla="*/ 2 h 44"/>
                <a:gd name="T40" fmla="*/ 0 w 66"/>
                <a:gd name="T41" fmla="*/ 2 h 44"/>
                <a:gd name="T42" fmla="*/ 0 w 66"/>
                <a:gd name="T43" fmla="*/ 2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0" name="Freeform 673"/>
            <p:cNvSpPr>
              <a:spLocks/>
            </p:cNvSpPr>
            <p:nvPr>
              <p:custDataLst>
                <p:tags r:id="rId78"/>
              </p:custDataLst>
            </p:nvPr>
          </p:nvSpPr>
          <p:spPr bwMode="auto">
            <a:xfrm>
              <a:off x="5231" y="1246"/>
              <a:ext cx="15" cy="36"/>
            </a:xfrm>
            <a:custGeom>
              <a:avLst/>
              <a:gdLst>
                <a:gd name="T0" fmla="*/ 0 w 46"/>
                <a:gd name="T1" fmla="*/ 0 h 16"/>
                <a:gd name="T2" fmla="*/ 0 w 46"/>
                <a:gd name="T3" fmla="*/ 78393167 h 16"/>
                <a:gd name="T4" fmla="*/ 0 w 46"/>
                <a:gd name="T5" fmla="*/ 141472193 h 16"/>
                <a:gd name="T6" fmla="*/ 0 w 46"/>
                <a:gd name="T7" fmla="*/ 152179775 h 16"/>
                <a:gd name="T8" fmla="*/ 0 w 46"/>
                <a:gd name="T9" fmla="*/ 166012841 h 16"/>
                <a:gd name="T10" fmla="*/ 0 w 46"/>
                <a:gd name="T11" fmla="*/ 176384580 h 16"/>
                <a:gd name="T12" fmla="*/ 0 w 46"/>
                <a:gd name="T13" fmla="*/ 176384580 h 16"/>
                <a:gd name="T14" fmla="*/ 0 w 46"/>
                <a:gd name="T15" fmla="*/ 152179775 h 16"/>
                <a:gd name="T16" fmla="*/ 0 w 46"/>
                <a:gd name="T17" fmla="*/ 122109098 h 16"/>
                <a:gd name="T18" fmla="*/ 0 w 46"/>
                <a:gd name="T19" fmla="*/ 62876580 h 16"/>
                <a:gd name="T20" fmla="*/ 0 w 46"/>
                <a:gd name="T21" fmla="*/ 0 h 16"/>
                <a:gd name="T22" fmla="*/ 0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1" name="Freeform 674"/>
            <p:cNvSpPr>
              <a:spLocks/>
            </p:cNvSpPr>
            <p:nvPr>
              <p:custDataLst>
                <p:tags r:id="rId79"/>
              </p:custDataLst>
            </p:nvPr>
          </p:nvSpPr>
          <p:spPr bwMode="auto">
            <a:xfrm>
              <a:off x="5352" y="1267"/>
              <a:ext cx="11" cy="36"/>
            </a:xfrm>
            <a:custGeom>
              <a:avLst/>
              <a:gdLst>
                <a:gd name="T0" fmla="*/ 0 w 39"/>
                <a:gd name="T1" fmla="*/ 16578 h 26"/>
                <a:gd name="T2" fmla="*/ 0 w 39"/>
                <a:gd name="T3" fmla="*/ 17529 h 26"/>
                <a:gd name="T4" fmla="*/ 0 w 39"/>
                <a:gd name="T5" fmla="*/ 17529 h 26"/>
                <a:gd name="T6" fmla="*/ 0 w 39"/>
                <a:gd name="T7" fmla="*/ 17529 h 26"/>
                <a:gd name="T8" fmla="*/ 0 w 39"/>
                <a:gd name="T9" fmla="*/ 16578 h 26"/>
                <a:gd name="T10" fmla="*/ 0 w 39"/>
                <a:gd name="T11" fmla="*/ 14638 h 26"/>
                <a:gd name="T12" fmla="*/ 0 w 39"/>
                <a:gd name="T13" fmla="*/ 11973 h 26"/>
                <a:gd name="T14" fmla="*/ 0 w 39"/>
                <a:gd name="T15" fmla="*/ 8647 h 26"/>
                <a:gd name="T16" fmla="*/ 0 w 39"/>
                <a:gd name="T17" fmla="*/ 4769 h 26"/>
                <a:gd name="T18" fmla="*/ 0 w 39"/>
                <a:gd name="T19" fmla="*/ 1959 h 26"/>
                <a:gd name="T20" fmla="*/ 0 w 39"/>
                <a:gd name="T21" fmla="*/ 0 h 26"/>
                <a:gd name="T22" fmla="*/ 0 w 39"/>
                <a:gd name="T23" fmla="*/ 3755 h 26"/>
                <a:gd name="T24" fmla="*/ 0 w 39"/>
                <a:gd name="T25" fmla="*/ 8647 h 26"/>
                <a:gd name="T26" fmla="*/ 0 w 39"/>
                <a:gd name="T27" fmla="*/ 13698 h 26"/>
                <a:gd name="T28" fmla="*/ 0 w 39"/>
                <a:gd name="T29" fmla="*/ 16578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2" name="Freeform 675"/>
            <p:cNvSpPr>
              <a:spLocks/>
            </p:cNvSpPr>
            <p:nvPr>
              <p:custDataLst>
                <p:tags r:id="rId80"/>
              </p:custDataLst>
            </p:nvPr>
          </p:nvSpPr>
          <p:spPr bwMode="auto">
            <a:xfrm>
              <a:off x="4976" y="1412"/>
              <a:ext cx="3" cy="37"/>
            </a:xfrm>
            <a:custGeom>
              <a:avLst/>
              <a:gdLst>
                <a:gd name="T0" fmla="*/ 0 w 11"/>
                <a:gd name="T1" fmla="*/ 0 h 25"/>
                <a:gd name="T2" fmla="*/ 0 w 11"/>
                <a:gd name="T3" fmla="*/ 11952 h 25"/>
                <a:gd name="T4" fmla="*/ 0 w 11"/>
                <a:gd name="T5" fmla="*/ 31274 h 25"/>
                <a:gd name="T6" fmla="*/ 0 w 11"/>
                <a:gd name="T7" fmla="*/ 50835 h 25"/>
                <a:gd name="T8" fmla="*/ 0 w 11"/>
                <a:gd name="T9" fmla="*/ 63581 h 25"/>
                <a:gd name="T10" fmla="*/ 0 w 11"/>
                <a:gd name="T11" fmla="*/ 58284 h 25"/>
                <a:gd name="T12" fmla="*/ 0 w 11"/>
                <a:gd name="T13" fmla="*/ 50835 h 25"/>
                <a:gd name="T14" fmla="*/ 0 w 11"/>
                <a:gd name="T15" fmla="*/ 38746 h 25"/>
                <a:gd name="T16" fmla="*/ 0 w 11"/>
                <a:gd name="T17" fmla="*/ 31274 h 25"/>
                <a:gd name="T18" fmla="*/ 0 w 11"/>
                <a:gd name="T19" fmla="*/ 21780 h 25"/>
                <a:gd name="T20" fmla="*/ 0 w 11"/>
                <a:gd name="T21" fmla="*/ 11952 h 25"/>
                <a:gd name="T22" fmla="*/ 0 w 11"/>
                <a:gd name="T23" fmla="*/ 4539 h 25"/>
                <a:gd name="T24" fmla="*/ 0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3" name="Freeform 676"/>
            <p:cNvSpPr>
              <a:spLocks/>
            </p:cNvSpPr>
            <p:nvPr>
              <p:custDataLst>
                <p:tags r:id="rId81"/>
              </p:custDataLst>
            </p:nvPr>
          </p:nvSpPr>
          <p:spPr bwMode="auto">
            <a:xfrm>
              <a:off x="4849" y="1766"/>
              <a:ext cx="10" cy="37"/>
            </a:xfrm>
            <a:custGeom>
              <a:avLst/>
              <a:gdLst>
                <a:gd name="T0" fmla="*/ 1 w 20"/>
                <a:gd name="T1" fmla="*/ 0 h 31"/>
                <a:gd name="T2" fmla="*/ 1 w 20"/>
                <a:gd name="T3" fmla="*/ 423 h 31"/>
                <a:gd name="T4" fmla="*/ 1 w 20"/>
                <a:gd name="T5" fmla="*/ 720 h 31"/>
                <a:gd name="T6" fmla="*/ 1 w 20"/>
                <a:gd name="T7" fmla="*/ 898 h 31"/>
                <a:gd name="T8" fmla="*/ 0 w 20"/>
                <a:gd name="T9" fmla="*/ 1072 h 31"/>
                <a:gd name="T10" fmla="*/ 0 w 20"/>
                <a:gd name="T11" fmla="*/ 869 h 31"/>
                <a:gd name="T12" fmla="*/ 1 w 20"/>
                <a:gd name="T13" fmla="*/ 640 h 31"/>
                <a:gd name="T14" fmla="*/ 1 w 20"/>
                <a:gd name="T15" fmla="*/ 449 h 31"/>
                <a:gd name="T16" fmla="*/ 1 w 20"/>
                <a:gd name="T17" fmla="*/ 315 h 31"/>
                <a:gd name="T18" fmla="*/ 1 w 20"/>
                <a:gd name="T19" fmla="*/ 209 h 31"/>
                <a:gd name="T20" fmla="*/ 1 w 20"/>
                <a:gd name="T21" fmla="*/ 123 h 31"/>
                <a:gd name="T22" fmla="*/ 1 w 20"/>
                <a:gd name="T23" fmla="*/ 0 h 31"/>
                <a:gd name="T24" fmla="*/ 1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4" name="Freeform 677"/>
            <p:cNvSpPr>
              <a:spLocks/>
            </p:cNvSpPr>
            <p:nvPr>
              <p:custDataLst>
                <p:tags r:id="rId82"/>
              </p:custDataLst>
            </p:nvPr>
          </p:nvSpPr>
          <p:spPr bwMode="auto">
            <a:xfrm>
              <a:off x="4861" y="1725"/>
              <a:ext cx="11" cy="36"/>
            </a:xfrm>
            <a:custGeom>
              <a:avLst/>
              <a:gdLst>
                <a:gd name="T0" fmla="*/ 0 w 26"/>
                <a:gd name="T1" fmla="*/ 18 h 37"/>
                <a:gd name="T2" fmla="*/ 0 w 26"/>
                <a:gd name="T3" fmla="*/ 12 h 37"/>
                <a:gd name="T4" fmla="*/ 0 w 26"/>
                <a:gd name="T5" fmla="*/ 7 h 37"/>
                <a:gd name="T6" fmla="*/ 0 w 26"/>
                <a:gd name="T7" fmla="*/ 4 h 37"/>
                <a:gd name="T8" fmla="*/ 0 w 26"/>
                <a:gd name="T9" fmla="*/ 1 h 37"/>
                <a:gd name="T10" fmla="*/ 0 w 26"/>
                <a:gd name="T11" fmla="*/ 0 h 37"/>
                <a:gd name="T12" fmla="*/ 0 w 26"/>
                <a:gd name="T13" fmla="*/ 6 h 37"/>
                <a:gd name="T14" fmla="*/ 0 w 26"/>
                <a:gd name="T15" fmla="*/ 11 h 37"/>
                <a:gd name="T16" fmla="*/ 0 w 26"/>
                <a:gd name="T17" fmla="*/ 17 h 37"/>
                <a:gd name="T18" fmla="*/ 0 w 26"/>
                <a:gd name="T19" fmla="*/ 18 h 37"/>
                <a:gd name="T20" fmla="*/ 0 w 26"/>
                <a:gd name="T21" fmla="*/ 18 h 37"/>
                <a:gd name="T22" fmla="*/ 0 w 26"/>
                <a:gd name="T23" fmla="*/ 18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5" name="Freeform 678"/>
            <p:cNvSpPr>
              <a:spLocks/>
            </p:cNvSpPr>
            <p:nvPr>
              <p:custDataLst>
                <p:tags r:id="rId83"/>
              </p:custDataLst>
            </p:nvPr>
          </p:nvSpPr>
          <p:spPr bwMode="auto">
            <a:xfrm>
              <a:off x="4785" y="1630"/>
              <a:ext cx="1" cy="38"/>
            </a:xfrm>
            <a:custGeom>
              <a:avLst/>
              <a:gdLst>
                <a:gd name="T0" fmla="*/ 0 w 7"/>
                <a:gd name="T1" fmla="*/ 55599432 h 18"/>
                <a:gd name="T2" fmla="*/ 0 w 7"/>
                <a:gd name="T3" fmla="*/ 0 h 18"/>
                <a:gd name="T4" fmla="*/ 0 w 7"/>
                <a:gd name="T5" fmla="*/ 36716378 h 18"/>
                <a:gd name="T6" fmla="*/ 0 w 7"/>
                <a:gd name="T7" fmla="*/ 55599432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6" name="Freeform 679"/>
            <p:cNvSpPr>
              <a:spLocks/>
            </p:cNvSpPr>
            <p:nvPr>
              <p:custDataLst>
                <p:tags r:id="rId84"/>
              </p:custDataLst>
            </p:nvPr>
          </p:nvSpPr>
          <p:spPr bwMode="auto">
            <a:xfrm>
              <a:off x="2637" y="1080"/>
              <a:ext cx="6" cy="36"/>
            </a:xfrm>
            <a:custGeom>
              <a:avLst/>
              <a:gdLst>
                <a:gd name="T0" fmla="*/ 0 w 33"/>
                <a:gd name="T1" fmla="*/ 247 h 31"/>
                <a:gd name="T2" fmla="*/ 0 w 33"/>
                <a:gd name="T3" fmla="*/ 0 h 31"/>
                <a:gd name="T4" fmla="*/ 0 w 33"/>
                <a:gd name="T5" fmla="*/ 101 h 31"/>
                <a:gd name="T6" fmla="*/ 0 w 33"/>
                <a:gd name="T7" fmla="*/ 247 h 31"/>
                <a:gd name="T8" fmla="*/ 0 w 33"/>
                <a:gd name="T9" fmla="*/ 449 h 31"/>
                <a:gd name="T10" fmla="*/ 0 w 33"/>
                <a:gd name="T11" fmla="*/ 619 h 31"/>
                <a:gd name="T12" fmla="*/ 0 w 33"/>
                <a:gd name="T13" fmla="*/ 605 h 31"/>
                <a:gd name="T14" fmla="*/ 0 w 33"/>
                <a:gd name="T15" fmla="*/ 553 h 31"/>
                <a:gd name="T16" fmla="*/ 0 w 33"/>
                <a:gd name="T17" fmla="*/ 487 h 31"/>
                <a:gd name="T18" fmla="*/ 0 w 33"/>
                <a:gd name="T19" fmla="*/ 449 h 31"/>
                <a:gd name="T20" fmla="*/ 0 w 33"/>
                <a:gd name="T21" fmla="*/ 293 h 31"/>
                <a:gd name="T22" fmla="*/ 0 w 33"/>
                <a:gd name="T23" fmla="*/ 2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7" name="Freeform 680"/>
            <p:cNvSpPr>
              <a:spLocks/>
            </p:cNvSpPr>
            <p:nvPr>
              <p:custDataLst>
                <p:tags r:id="rId85"/>
              </p:custDataLst>
            </p:nvPr>
          </p:nvSpPr>
          <p:spPr bwMode="auto">
            <a:xfrm>
              <a:off x="2627" y="934"/>
              <a:ext cx="2" cy="36"/>
            </a:xfrm>
            <a:custGeom>
              <a:avLst/>
              <a:gdLst>
                <a:gd name="T0" fmla="*/ 0 w 14"/>
                <a:gd name="T1" fmla="*/ 0 h 6"/>
                <a:gd name="T2" fmla="*/ 0 w 14"/>
                <a:gd name="T3" fmla="*/ 2147483647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8" name="Freeform 681"/>
            <p:cNvSpPr>
              <a:spLocks/>
            </p:cNvSpPr>
            <p:nvPr>
              <p:custDataLst>
                <p:tags r:id="rId86"/>
              </p:custDataLst>
            </p:nvPr>
          </p:nvSpPr>
          <p:spPr bwMode="auto">
            <a:xfrm>
              <a:off x="3638" y="2054"/>
              <a:ext cx="17" cy="35"/>
            </a:xfrm>
            <a:custGeom>
              <a:avLst/>
              <a:gdLst>
                <a:gd name="T0" fmla="*/ 0 w 59"/>
                <a:gd name="T1" fmla="*/ 68 h 31"/>
                <a:gd name="T2" fmla="*/ 0 w 59"/>
                <a:gd name="T3" fmla="*/ 125 h 31"/>
                <a:gd name="T4" fmla="*/ 0 w 59"/>
                <a:gd name="T5" fmla="*/ 164 h 31"/>
                <a:gd name="T6" fmla="*/ 0 w 59"/>
                <a:gd name="T7" fmla="*/ 209 h 31"/>
                <a:gd name="T8" fmla="*/ 0 w 59"/>
                <a:gd name="T9" fmla="*/ 266 h 31"/>
                <a:gd name="T10" fmla="*/ 0 w 59"/>
                <a:gd name="T11" fmla="*/ 300 h 31"/>
                <a:gd name="T12" fmla="*/ 0 w 59"/>
                <a:gd name="T13" fmla="*/ 330 h 31"/>
                <a:gd name="T14" fmla="*/ 0 w 59"/>
                <a:gd name="T15" fmla="*/ 353 h 31"/>
                <a:gd name="T16" fmla="*/ 0 w 59"/>
                <a:gd name="T17" fmla="*/ 353 h 31"/>
                <a:gd name="T18" fmla="*/ 0 w 59"/>
                <a:gd name="T19" fmla="*/ 353 h 31"/>
                <a:gd name="T20" fmla="*/ 0 w 59"/>
                <a:gd name="T21" fmla="*/ 339 h 31"/>
                <a:gd name="T22" fmla="*/ 0 w 59"/>
                <a:gd name="T23" fmla="*/ 330 h 31"/>
                <a:gd name="T24" fmla="*/ 0 w 59"/>
                <a:gd name="T25" fmla="*/ 300 h 31"/>
                <a:gd name="T26" fmla="*/ 0 w 59"/>
                <a:gd name="T27" fmla="*/ 229 h 31"/>
                <a:gd name="T28" fmla="*/ 0 w 59"/>
                <a:gd name="T29" fmla="*/ 141 h 31"/>
                <a:gd name="T30" fmla="*/ 0 w 59"/>
                <a:gd name="T31" fmla="*/ 98 h 31"/>
                <a:gd name="T32" fmla="*/ 0 w 59"/>
                <a:gd name="T33" fmla="*/ 68 h 31"/>
                <a:gd name="T34" fmla="*/ 0 w 59"/>
                <a:gd name="T35" fmla="*/ 53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53 h 31"/>
                <a:gd name="T48" fmla="*/ 0 w 59"/>
                <a:gd name="T49" fmla="*/ 68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9" name="Freeform 682"/>
            <p:cNvSpPr>
              <a:spLocks/>
            </p:cNvSpPr>
            <p:nvPr>
              <p:custDataLst>
                <p:tags r:id="rId87"/>
              </p:custDataLst>
            </p:nvPr>
          </p:nvSpPr>
          <p:spPr bwMode="auto">
            <a:xfrm>
              <a:off x="3435" y="1967"/>
              <a:ext cx="13" cy="37"/>
            </a:xfrm>
            <a:custGeom>
              <a:avLst/>
              <a:gdLst>
                <a:gd name="T0" fmla="*/ 0 w 47"/>
                <a:gd name="T1" fmla="*/ 0 h 68"/>
                <a:gd name="T2" fmla="*/ 0 w 47"/>
                <a:gd name="T3" fmla="*/ 1 h 68"/>
                <a:gd name="T4" fmla="*/ 0 w 47"/>
                <a:gd name="T5" fmla="*/ 1 h 68"/>
                <a:gd name="T6" fmla="*/ 0 w 47"/>
                <a:gd name="T7" fmla="*/ 1 h 68"/>
                <a:gd name="T8" fmla="*/ 0 w 47"/>
                <a:gd name="T9" fmla="*/ 1 h 68"/>
                <a:gd name="T10" fmla="*/ 0 w 47"/>
                <a:gd name="T11" fmla="*/ 1 h 68"/>
                <a:gd name="T12" fmla="*/ 0 w 47"/>
                <a:gd name="T13" fmla="*/ 1 h 68"/>
                <a:gd name="T14" fmla="*/ 0 w 47"/>
                <a:gd name="T15" fmla="*/ 1 h 68"/>
                <a:gd name="T16" fmla="*/ 0 w 47"/>
                <a:gd name="T17" fmla="*/ 1 h 68"/>
                <a:gd name="T18" fmla="*/ 0 w 47"/>
                <a:gd name="T19" fmla="*/ 1 h 68"/>
                <a:gd name="T20" fmla="*/ 0 w 47"/>
                <a:gd name="T21" fmla="*/ 1 h 68"/>
                <a:gd name="T22" fmla="*/ 0 w 47"/>
                <a:gd name="T23" fmla="*/ 1 h 68"/>
                <a:gd name="T24" fmla="*/ 0 w 47"/>
                <a:gd name="T25" fmla="*/ 1 h 68"/>
                <a:gd name="T26" fmla="*/ 0 w 47"/>
                <a:gd name="T27" fmla="*/ 1 h 68"/>
                <a:gd name="T28" fmla="*/ 0 w 47"/>
                <a:gd name="T29" fmla="*/ 1 h 68"/>
                <a:gd name="T30" fmla="*/ 0 w 47"/>
                <a:gd name="T31" fmla="*/ 1 h 68"/>
                <a:gd name="T32" fmla="*/ 0 w 47"/>
                <a:gd name="T33" fmla="*/ 1 h 68"/>
                <a:gd name="T34" fmla="*/ 0 w 47"/>
                <a:gd name="T35" fmla="*/ 1 h 68"/>
                <a:gd name="T36" fmla="*/ 0 w 47"/>
                <a:gd name="T37" fmla="*/ 1 h 68"/>
                <a:gd name="T38" fmla="*/ 0 w 47"/>
                <a:gd name="T39" fmla="*/ 1 h 68"/>
                <a:gd name="T40" fmla="*/ 0 w 47"/>
                <a:gd name="T41" fmla="*/ 1 h 68"/>
                <a:gd name="T42" fmla="*/ 0 w 47"/>
                <a:gd name="T43" fmla="*/ 1 h 68"/>
                <a:gd name="T44" fmla="*/ 0 w 47"/>
                <a:gd name="T45" fmla="*/ 1 h 68"/>
                <a:gd name="T46" fmla="*/ 0 w 47"/>
                <a:gd name="T47" fmla="*/ 1 h 68"/>
                <a:gd name="T48" fmla="*/ 0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8" name="Group 683"/>
            <p:cNvGrpSpPr>
              <a:grpSpLocks/>
            </p:cNvGrpSpPr>
            <p:nvPr>
              <p:custDataLst>
                <p:tags r:id="rId88"/>
              </p:custDataLst>
            </p:nvPr>
          </p:nvGrpSpPr>
          <p:grpSpPr bwMode="auto">
            <a:xfrm>
              <a:off x="3962" y="2085"/>
              <a:ext cx="31" cy="236"/>
              <a:chOff x="3950" y="2430"/>
              <a:chExt cx="36" cy="234"/>
            </a:xfrm>
            <a:grpFill/>
          </p:grpSpPr>
          <p:sp>
            <p:nvSpPr>
              <p:cNvPr id="18943" name="Freeform 684"/>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4" name="Freeform 685"/>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5" name="Freeform 686"/>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6" name="Rectangle 687"/>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47" name="Line 688"/>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48" name="Freeform 689"/>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9" name="Freeform 690"/>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0" name="Line 691"/>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1" name="Freeform 692"/>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2" name="Freeform 693"/>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3" name="Line 694"/>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4" name="Freeform 695"/>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5" name="Freeform 696"/>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6" name="Freeform 697"/>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7" name="Freeform 698"/>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8" name="Freeform 699"/>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9" name="Freeform 700"/>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0" name="Freeform 701"/>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1" name="Rectangle 702"/>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62" name="Line 703"/>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3" name="Freeform 704"/>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4" name="Freeform 705"/>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5" name="Line 706"/>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6" name="Freeform 707"/>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7" name="Freeform 708"/>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8" name="Line 709"/>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9" name="Freeform 710"/>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0" name="Freeform 711"/>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1" name="Freeform 712"/>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2" name="Freeform 713"/>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3" name="Freeform 714"/>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9" name="Group 715"/>
            <p:cNvGrpSpPr>
              <a:grpSpLocks/>
            </p:cNvGrpSpPr>
            <p:nvPr>
              <p:custDataLst>
                <p:tags r:id="rId89"/>
              </p:custDataLst>
            </p:nvPr>
          </p:nvGrpSpPr>
          <p:grpSpPr bwMode="auto">
            <a:xfrm>
              <a:off x="5371" y="2400"/>
              <a:ext cx="127" cy="135"/>
              <a:chOff x="5486" y="2743"/>
              <a:chExt cx="137" cy="132"/>
            </a:xfrm>
            <a:grpFill/>
          </p:grpSpPr>
          <p:sp>
            <p:nvSpPr>
              <p:cNvPr id="18934" name="Freeform 716"/>
              <p:cNvSpPr>
                <a:spLocks/>
              </p:cNvSpPr>
              <p:nvPr/>
            </p:nvSpPr>
            <p:spPr bwMode="auto">
              <a:xfrm>
                <a:off x="5595" y="2806"/>
                <a:ext cx="13" cy="28"/>
              </a:xfrm>
              <a:custGeom>
                <a:avLst/>
                <a:gdLst>
                  <a:gd name="T0" fmla="*/ 0 w 40"/>
                  <a:gd name="T1" fmla="*/ 0 h 87"/>
                  <a:gd name="T2" fmla="*/ 0 w 40"/>
                  <a:gd name="T3" fmla="*/ 0 h 87"/>
                  <a:gd name="T4" fmla="*/ 0 w 40"/>
                  <a:gd name="T5" fmla="*/ 0 h 87"/>
                  <a:gd name="T6" fmla="*/ 0 w 40"/>
                  <a:gd name="T7" fmla="*/ 0 h 87"/>
                  <a:gd name="T8" fmla="*/ 0 w 40"/>
                  <a:gd name="T9" fmla="*/ 0 h 87"/>
                  <a:gd name="T10" fmla="*/ 0 w 40"/>
                  <a:gd name="T11" fmla="*/ 0 h 87"/>
                  <a:gd name="T12" fmla="*/ 0 w 40"/>
                  <a:gd name="T13" fmla="*/ 0 h 87"/>
                  <a:gd name="T14" fmla="*/ 0 w 40"/>
                  <a:gd name="T15" fmla="*/ 0 h 87"/>
                  <a:gd name="T16" fmla="*/ 0 w 40"/>
                  <a:gd name="T17" fmla="*/ 0 h 87"/>
                  <a:gd name="T18" fmla="*/ 0 w 40"/>
                  <a:gd name="T19" fmla="*/ 0 h 87"/>
                  <a:gd name="T20" fmla="*/ 0 w 40"/>
                  <a:gd name="T21" fmla="*/ 0 h 87"/>
                  <a:gd name="T22" fmla="*/ 0 w 40"/>
                  <a:gd name="T23" fmla="*/ 0 h 87"/>
                  <a:gd name="T24" fmla="*/ 0 w 40"/>
                  <a:gd name="T25" fmla="*/ 0 h 87"/>
                  <a:gd name="T26" fmla="*/ 0 w 40"/>
                  <a:gd name="T27" fmla="*/ 0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5" name="Freeform 717"/>
              <p:cNvSpPr>
                <a:spLocks/>
              </p:cNvSpPr>
              <p:nvPr/>
            </p:nvSpPr>
            <p:spPr bwMode="auto">
              <a:xfrm>
                <a:off x="5603" y="2842"/>
                <a:ext cx="20" cy="20"/>
              </a:xfrm>
              <a:custGeom>
                <a:avLst/>
                <a:gdLst>
                  <a:gd name="T0" fmla="*/ 0 w 61"/>
                  <a:gd name="T1" fmla="*/ 0 h 37"/>
                  <a:gd name="T2" fmla="*/ 0 w 61"/>
                  <a:gd name="T3" fmla="*/ 0 h 37"/>
                  <a:gd name="T4" fmla="*/ 0 w 61"/>
                  <a:gd name="T5" fmla="*/ 0 h 37"/>
                  <a:gd name="T6" fmla="*/ 0 w 61"/>
                  <a:gd name="T7" fmla="*/ 0 h 37"/>
                  <a:gd name="T8" fmla="*/ 0 w 61"/>
                  <a:gd name="T9" fmla="*/ 0 h 37"/>
                  <a:gd name="T10" fmla="*/ 0 w 61"/>
                  <a:gd name="T11" fmla="*/ 0 h 37"/>
                  <a:gd name="T12" fmla="*/ 0 w 61"/>
                  <a:gd name="T13" fmla="*/ 0 h 37"/>
                  <a:gd name="T14" fmla="*/ 0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6" name="Freeform 718"/>
              <p:cNvSpPr>
                <a:spLocks/>
              </p:cNvSpPr>
              <p:nvPr/>
            </p:nvSpPr>
            <p:spPr bwMode="auto">
              <a:xfrm>
                <a:off x="5568" y="2865"/>
                <a:ext cx="13" cy="10"/>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7" name="Freeform 719"/>
              <p:cNvSpPr>
                <a:spLocks/>
              </p:cNvSpPr>
              <p:nvPr/>
            </p:nvSpPr>
            <p:spPr bwMode="auto">
              <a:xfrm>
                <a:off x="5515" y="2789"/>
                <a:ext cx="24" cy="26"/>
              </a:xfrm>
              <a:custGeom>
                <a:avLst/>
                <a:gdLst>
                  <a:gd name="T0" fmla="*/ 0 w 74"/>
                  <a:gd name="T1" fmla="*/ 0 h 80"/>
                  <a:gd name="T2" fmla="*/ 0 w 74"/>
                  <a:gd name="T3" fmla="*/ 0 h 80"/>
                  <a:gd name="T4" fmla="*/ 0 w 74"/>
                  <a:gd name="T5" fmla="*/ 0 h 80"/>
                  <a:gd name="T6" fmla="*/ 0 w 74"/>
                  <a:gd name="T7" fmla="*/ 0 h 80"/>
                  <a:gd name="T8" fmla="*/ 0 w 74"/>
                  <a:gd name="T9" fmla="*/ 0 h 80"/>
                  <a:gd name="T10" fmla="*/ 0 w 74"/>
                  <a:gd name="T11" fmla="*/ 0 h 80"/>
                  <a:gd name="T12" fmla="*/ 0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0 h 80"/>
                  <a:gd name="T40" fmla="*/ 0 w 74"/>
                  <a:gd name="T41" fmla="*/ 0 h 80"/>
                  <a:gd name="T42" fmla="*/ 0 w 74"/>
                  <a:gd name="T43" fmla="*/ 0 h 80"/>
                  <a:gd name="T44" fmla="*/ 0 w 74"/>
                  <a:gd name="T45" fmla="*/ 0 h 80"/>
                  <a:gd name="T46" fmla="*/ 0 w 74"/>
                  <a:gd name="T47" fmla="*/ 0 h 80"/>
                  <a:gd name="T48" fmla="*/ 0 w 74"/>
                  <a:gd name="T49" fmla="*/ 0 h 80"/>
                  <a:gd name="T50" fmla="*/ 0 w 74"/>
                  <a:gd name="T51" fmla="*/ 0 h 80"/>
                  <a:gd name="T52" fmla="*/ 0 w 74"/>
                  <a:gd name="T53" fmla="*/ 0 h 80"/>
                  <a:gd name="T54" fmla="*/ 0 w 74"/>
                  <a:gd name="T55" fmla="*/ 0 h 80"/>
                  <a:gd name="T56" fmla="*/ 0 w 74"/>
                  <a:gd name="T57" fmla="*/ 0 h 80"/>
                  <a:gd name="T58" fmla="*/ 0 w 74"/>
                  <a:gd name="T59" fmla="*/ 0 h 80"/>
                  <a:gd name="T60" fmla="*/ 0 w 74"/>
                  <a:gd name="T61" fmla="*/ 0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8" name="Freeform 720"/>
              <p:cNvSpPr>
                <a:spLocks/>
              </p:cNvSpPr>
              <p:nvPr/>
            </p:nvSpPr>
            <p:spPr bwMode="auto">
              <a:xfrm>
                <a:off x="5555" y="2785"/>
                <a:ext cx="26" cy="27"/>
              </a:xfrm>
              <a:custGeom>
                <a:avLst/>
                <a:gdLst>
                  <a:gd name="T0" fmla="*/ 0 w 86"/>
                  <a:gd name="T1" fmla="*/ 0 h 80"/>
                  <a:gd name="T2" fmla="*/ 0 w 86"/>
                  <a:gd name="T3" fmla="*/ 0 h 80"/>
                  <a:gd name="T4" fmla="*/ 0 w 86"/>
                  <a:gd name="T5" fmla="*/ 0 h 80"/>
                  <a:gd name="T6" fmla="*/ 0 w 86"/>
                  <a:gd name="T7" fmla="*/ 0 h 80"/>
                  <a:gd name="T8" fmla="*/ 0 w 86"/>
                  <a:gd name="T9" fmla="*/ 0 h 80"/>
                  <a:gd name="T10" fmla="*/ 0 w 86"/>
                  <a:gd name="T11" fmla="*/ 0 h 80"/>
                  <a:gd name="T12" fmla="*/ 0 w 86"/>
                  <a:gd name="T13" fmla="*/ 0 h 80"/>
                  <a:gd name="T14" fmla="*/ 0 w 86"/>
                  <a:gd name="T15" fmla="*/ 0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0 h 80"/>
                  <a:gd name="T34" fmla="*/ 0 w 86"/>
                  <a:gd name="T35" fmla="*/ 0 h 80"/>
                  <a:gd name="T36" fmla="*/ 0 w 86"/>
                  <a:gd name="T37" fmla="*/ 0 h 80"/>
                  <a:gd name="T38" fmla="*/ 0 w 86"/>
                  <a:gd name="T39" fmla="*/ 0 h 80"/>
                  <a:gd name="T40" fmla="*/ 0 w 86"/>
                  <a:gd name="T41" fmla="*/ 0 h 80"/>
                  <a:gd name="T42" fmla="*/ 0 w 86"/>
                  <a:gd name="T43" fmla="*/ 0 h 80"/>
                  <a:gd name="T44" fmla="*/ 0 w 86"/>
                  <a:gd name="T45" fmla="*/ 0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9" name="Freeform 721"/>
              <p:cNvSpPr>
                <a:spLocks/>
              </p:cNvSpPr>
              <p:nvPr/>
            </p:nvSpPr>
            <p:spPr bwMode="auto">
              <a:xfrm>
                <a:off x="5570" y="2825"/>
                <a:ext cx="25" cy="11"/>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0 w 74"/>
                  <a:gd name="T19" fmla="*/ 0 h 31"/>
                  <a:gd name="T20" fmla="*/ 0 w 74"/>
                  <a:gd name="T21" fmla="*/ 0 h 31"/>
                  <a:gd name="T22" fmla="*/ 0 w 74"/>
                  <a:gd name="T23" fmla="*/ 0 h 31"/>
                  <a:gd name="T24" fmla="*/ 0 w 74"/>
                  <a:gd name="T25" fmla="*/ 0 h 31"/>
                  <a:gd name="T26" fmla="*/ 0 w 74"/>
                  <a:gd name="T27" fmla="*/ 0 h 31"/>
                  <a:gd name="T28" fmla="*/ 0 w 74"/>
                  <a:gd name="T29" fmla="*/ 0 h 31"/>
                  <a:gd name="T30" fmla="*/ 0 w 74"/>
                  <a:gd name="T31" fmla="*/ 0 h 31"/>
                  <a:gd name="T32" fmla="*/ 0 w 74"/>
                  <a:gd name="T33" fmla="*/ 0 h 31"/>
                  <a:gd name="T34" fmla="*/ 0 w 74"/>
                  <a:gd name="T35" fmla="*/ 0 h 31"/>
                  <a:gd name="T36" fmla="*/ 0 w 74"/>
                  <a:gd name="T37" fmla="*/ 0 h 31"/>
                  <a:gd name="T38" fmla="*/ 0 w 74"/>
                  <a:gd name="T39" fmla="*/ 0 h 31"/>
                  <a:gd name="T40" fmla="*/ 0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0" name="Freeform 722"/>
              <p:cNvSpPr>
                <a:spLocks/>
              </p:cNvSpPr>
              <p:nvPr/>
            </p:nvSpPr>
            <p:spPr bwMode="auto">
              <a:xfrm>
                <a:off x="5562" y="2819"/>
                <a:ext cx="6" cy="1"/>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1" name="Freeform 723"/>
              <p:cNvSpPr>
                <a:spLocks/>
              </p:cNvSpPr>
              <p:nvPr/>
            </p:nvSpPr>
            <p:spPr bwMode="auto">
              <a:xfrm>
                <a:off x="5509" y="2769"/>
                <a:ext cx="32" cy="21"/>
              </a:xfrm>
              <a:custGeom>
                <a:avLst/>
                <a:gdLst>
                  <a:gd name="T0" fmla="*/ 0 w 100"/>
                  <a:gd name="T1" fmla="*/ 0 h 65"/>
                  <a:gd name="T2" fmla="*/ 0 w 100"/>
                  <a:gd name="T3" fmla="*/ 0 h 65"/>
                  <a:gd name="T4" fmla="*/ 0 w 100"/>
                  <a:gd name="T5" fmla="*/ 0 h 65"/>
                  <a:gd name="T6" fmla="*/ 0 w 100"/>
                  <a:gd name="T7" fmla="*/ 0 h 65"/>
                  <a:gd name="T8" fmla="*/ 0 w 100"/>
                  <a:gd name="T9" fmla="*/ 0 h 65"/>
                  <a:gd name="T10" fmla="*/ 0 w 100"/>
                  <a:gd name="T11" fmla="*/ 0 h 65"/>
                  <a:gd name="T12" fmla="*/ 0 w 100"/>
                  <a:gd name="T13" fmla="*/ 0 h 65"/>
                  <a:gd name="T14" fmla="*/ 0 w 100"/>
                  <a:gd name="T15" fmla="*/ 0 h 65"/>
                  <a:gd name="T16" fmla="*/ 0 w 100"/>
                  <a:gd name="T17" fmla="*/ 0 h 65"/>
                  <a:gd name="T18" fmla="*/ 0 w 100"/>
                  <a:gd name="T19" fmla="*/ 0 h 65"/>
                  <a:gd name="T20" fmla="*/ 0 w 100"/>
                  <a:gd name="T21" fmla="*/ 0 h 65"/>
                  <a:gd name="T22" fmla="*/ 0 w 100"/>
                  <a:gd name="T23" fmla="*/ 0 h 65"/>
                  <a:gd name="T24" fmla="*/ 0 w 100"/>
                  <a:gd name="T25" fmla="*/ 0 h 65"/>
                  <a:gd name="T26" fmla="*/ 0 w 100"/>
                  <a:gd name="T27" fmla="*/ 0 h 65"/>
                  <a:gd name="T28" fmla="*/ 0 w 100"/>
                  <a:gd name="T29" fmla="*/ 0 h 65"/>
                  <a:gd name="T30" fmla="*/ 0 w 100"/>
                  <a:gd name="T31" fmla="*/ 0 h 65"/>
                  <a:gd name="T32" fmla="*/ 0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2" name="Freeform 724"/>
              <p:cNvSpPr>
                <a:spLocks/>
              </p:cNvSpPr>
              <p:nvPr/>
            </p:nvSpPr>
            <p:spPr bwMode="auto">
              <a:xfrm>
                <a:off x="5486" y="2743"/>
                <a:ext cx="24" cy="34"/>
              </a:xfrm>
              <a:custGeom>
                <a:avLst/>
                <a:gdLst>
                  <a:gd name="T0" fmla="*/ 0 w 79"/>
                  <a:gd name="T1" fmla="*/ 0 h 104"/>
                  <a:gd name="T2" fmla="*/ 0 w 79"/>
                  <a:gd name="T3" fmla="*/ 0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0 h 104"/>
                  <a:gd name="T18" fmla="*/ 0 w 79"/>
                  <a:gd name="T19" fmla="*/ 0 h 104"/>
                  <a:gd name="T20" fmla="*/ 0 w 79"/>
                  <a:gd name="T21" fmla="*/ 0 h 104"/>
                  <a:gd name="T22" fmla="*/ 0 w 79"/>
                  <a:gd name="T23" fmla="*/ 0 h 104"/>
                  <a:gd name="T24" fmla="*/ 0 w 79"/>
                  <a:gd name="T25" fmla="*/ 0 h 104"/>
                  <a:gd name="T26" fmla="*/ 0 w 79"/>
                  <a:gd name="T27" fmla="*/ 0 h 104"/>
                  <a:gd name="T28" fmla="*/ 0 w 79"/>
                  <a:gd name="T29" fmla="*/ 0 h 104"/>
                  <a:gd name="T30" fmla="*/ 0 w 79"/>
                  <a:gd name="T31" fmla="*/ 0 h 104"/>
                  <a:gd name="T32" fmla="*/ 0 w 79"/>
                  <a:gd name="T33" fmla="*/ 0 h 104"/>
                  <a:gd name="T34" fmla="*/ 0 w 79"/>
                  <a:gd name="T35" fmla="*/ 0 h 104"/>
                  <a:gd name="T36" fmla="*/ 0 w 79"/>
                  <a:gd name="T37" fmla="*/ 0 h 104"/>
                  <a:gd name="T38" fmla="*/ 0 w 79"/>
                  <a:gd name="T39" fmla="*/ 0 h 104"/>
                  <a:gd name="T40" fmla="*/ 0 w 79"/>
                  <a:gd name="T41" fmla="*/ 0 h 104"/>
                  <a:gd name="T42" fmla="*/ 0 w 79"/>
                  <a:gd name="T43" fmla="*/ 0 h 104"/>
                  <a:gd name="T44" fmla="*/ 0 w 79"/>
                  <a:gd name="T45" fmla="*/ 0 h 104"/>
                  <a:gd name="T46" fmla="*/ 0 w 79"/>
                  <a:gd name="T47" fmla="*/ 0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2" name="Freeform 725"/>
            <p:cNvSpPr>
              <a:spLocks/>
            </p:cNvSpPr>
            <p:nvPr>
              <p:custDataLst>
                <p:tags r:id="rId90"/>
              </p:custDataLst>
            </p:nvPr>
          </p:nvSpPr>
          <p:spPr bwMode="auto">
            <a:xfrm>
              <a:off x="2877" y="2235"/>
              <a:ext cx="8" cy="35"/>
            </a:xfrm>
            <a:custGeom>
              <a:avLst/>
              <a:gdLst>
                <a:gd name="T0" fmla="*/ 0 w 27"/>
                <a:gd name="T1" fmla="*/ 0 h 19"/>
                <a:gd name="T2" fmla="*/ 0 w 27"/>
                <a:gd name="T3" fmla="*/ 2460517 h 19"/>
                <a:gd name="T4" fmla="*/ 0 w 27"/>
                <a:gd name="T5" fmla="*/ 3819818 h 19"/>
                <a:gd name="T6" fmla="*/ 0 w 27"/>
                <a:gd name="T7" fmla="*/ 3819818 h 19"/>
                <a:gd name="T8" fmla="*/ 0 w 27"/>
                <a:gd name="T9" fmla="*/ 3819818 h 19"/>
                <a:gd name="T10" fmla="*/ 0 w 27"/>
                <a:gd name="T11" fmla="*/ 246051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3" name="Freeform 726"/>
            <p:cNvSpPr>
              <a:spLocks/>
            </p:cNvSpPr>
            <p:nvPr>
              <p:custDataLst>
                <p:tags r:id="rId91"/>
              </p:custDataLst>
            </p:nvPr>
          </p:nvSpPr>
          <p:spPr bwMode="auto">
            <a:xfrm>
              <a:off x="2825" y="2323"/>
              <a:ext cx="10" cy="36"/>
            </a:xfrm>
            <a:custGeom>
              <a:avLst/>
              <a:gdLst>
                <a:gd name="T0" fmla="*/ 0 w 39"/>
                <a:gd name="T1" fmla="*/ 0 h 35"/>
                <a:gd name="T2" fmla="*/ 0 w 39"/>
                <a:gd name="T3" fmla="*/ 0 h 35"/>
                <a:gd name="T4" fmla="*/ 0 w 39"/>
                <a:gd name="T5" fmla="*/ 9 h 35"/>
                <a:gd name="T6" fmla="*/ 0 w 39"/>
                <a:gd name="T7" fmla="*/ 39 h 35"/>
                <a:gd name="T8" fmla="*/ 0 w 39"/>
                <a:gd name="T9" fmla="*/ 48 h 35"/>
                <a:gd name="T10" fmla="*/ 0 w 39"/>
                <a:gd name="T11" fmla="*/ 55 h 35"/>
                <a:gd name="T12" fmla="*/ 0 w 39"/>
                <a:gd name="T13" fmla="*/ 57 h 35"/>
                <a:gd name="T14" fmla="*/ 0 w 39"/>
                <a:gd name="T15" fmla="*/ 57 h 35"/>
                <a:gd name="T16" fmla="*/ 0 w 39"/>
                <a:gd name="T17" fmla="*/ 55 h 35"/>
                <a:gd name="T18" fmla="*/ 0 w 39"/>
                <a:gd name="T19" fmla="*/ 51 h 35"/>
                <a:gd name="T20" fmla="*/ 0 w 39"/>
                <a:gd name="T21" fmla="*/ 46 h 35"/>
                <a:gd name="T22" fmla="*/ 0 w 39"/>
                <a:gd name="T23" fmla="*/ 40 h 35"/>
                <a:gd name="T24" fmla="*/ 0 w 39"/>
                <a:gd name="T25" fmla="*/ 1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4" name="Freeform 727"/>
            <p:cNvSpPr>
              <a:spLocks/>
            </p:cNvSpPr>
            <p:nvPr>
              <p:custDataLst>
                <p:tags r:id="rId92"/>
              </p:custDataLst>
            </p:nvPr>
          </p:nvSpPr>
          <p:spPr bwMode="auto">
            <a:xfrm>
              <a:off x="4053" y="1269"/>
              <a:ext cx="497" cy="209"/>
            </a:xfrm>
            <a:custGeom>
              <a:avLst/>
              <a:gdLst>
                <a:gd name="T0" fmla="*/ 0 w 1688"/>
                <a:gd name="T1" fmla="*/ 0 h 630"/>
                <a:gd name="T2" fmla="*/ 0 w 1688"/>
                <a:gd name="T3" fmla="*/ 0 h 630"/>
                <a:gd name="T4" fmla="*/ 0 w 1688"/>
                <a:gd name="T5" fmla="*/ 0 h 630"/>
                <a:gd name="T6" fmla="*/ 0 w 1688"/>
                <a:gd name="T7" fmla="*/ 0 h 630"/>
                <a:gd name="T8" fmla="*/ 0 w 1688"/>
                <a:gd name="T9" fmla="*/ 0 h 630"/>
                <a:gd name="T10" fmla="*/ 0 w 1688"/>
                <a:gd name="T11" fmla="*/ 0 h 630"/>
                <a:gd name="T12" fmla="*/ 0 w 1688"/>
                <a:gd name="T13" fmla="*/ 0 h 630"/>
                <a:gd name="T14" fmla="*/ 0 w 1688"/>
                <a:gd name="T15" fmla="*/ 0 h 630"/>
                <a:gd name="T16" fmla="*/ 0 w 1688"/>
                <a:gd name="T17" fmla="*/ 0 h 630"/>
                <a:gd name="T18" fmla="*/ 0 w 1688"/>
                <a:gd name="T19" fmla="*/ 0 h 630"/>
                <a:gd name="T20" fmla="*/ 0 w 1688"/>
                <a:gd name="T21" fmla="*/ 0 h 630"/>
                <a:gd name="T22" fmla="*/ 0 w 1688"/>
                <a:gd name="T23" fmla="*/ 0 h 630"/>
                <a:gd name="T24" fmla="*/ 0 w 1688"/>
                <a:gd name="T25" fmla="*/ 0 h 630"/>
                <a:gd name="T26" fmla="*/ 0 w 1688"/>
                <a:gd name="T27" fmla="*/ 0 h 630"/>
                <a:gd name="T28" fmla="*/ 0 w 1688"/>
                <a:gd name="T29" fmla="*/ 0 h 630"/>
                <a:gd name="T30" fmla="*/ 0 w 1688"/>
                <a:gd name="T31" fmla="*/ 0 h 630"/>
                <a:gd name="T32" fmla="*/ 0 w 1688"/>
                <a:gd name="T33" fmla="*/ 0 h 630"/>
                <a:gd name="T34" fmla="*/ 0 w 1688"/>
                <a:gd name="T35" fmla="*/ 0 h 630"/>
                <a:gd name="T36" fmla="*/ 0 w 1688"/>
                <a:gd name="T37" fmla="*/ 0 h 630"/>
                <a:gd name="T38" fmla="*/ 0 w 1688"/>
                <a:gd name="T39" fmla="*/ 0 h 630"/>
                <a:gd name="T40" fmla="*/ 0 w 1688"/>
                <a:gd name="T41" fmla="*/ 0 h 630"/>
                <a:gd name="T42" fmla="*/ 0 w 1688"/>
                <a:gd name="T43" fmla="*/ 0 h 630"/>
                <a:gd name="T44" fmla="*/ 0 w 1688"/>
                <a:gd name="T45" fmla="*/ 0 h 630"/>
                <a:gd name="T46" fmla="*/ 0 w 1688"/>
                <a:gd name="T47" fmla="*/ 0 h 630"/>
                <a:gd name="T48" fmla="*/ 0 w 1688"/>
                <a:gd name="T49" fmla="*/ 0 h 630"/>
                <a:gd name="T50" fmla="*/ 0 w 1688"/>
                <a:gd name="T51" fmla="*/ 0 h 630"/>
                <a:gd name="T52" fmla="*/ 0 w 1688"/>
                <a:gd name="T53" fmla="*/ 0 h 630"/>
                <a:gd name="T54" fmla="*/ 0 w 1688"/>
                <a:gd name="T55" fmla="*/ 0 h 630"/>
                <a:gd name="T56" fmla="*/ 0 w 1688"/>
                <a:gd name="T57" fmla="*/ 0 h 630"/>
                <a:gd name="T58" fmla="*/ 0 w 1688"/>
                <a:gd name="T59" fmla="*/ 0 h 630"/>
                <a:gd name="T60" fmla="*/ 0 w 1688"/>
                <a:gd name="T61" fmla="*/ 0 h 630"/>
                <a:gd name="T62" fmla="*/ 0 w 1688"/>
                <a:gd name="T63" fmla="*/ 0 h 630"/>
                <a:gd name="T64" fmla="*/ 0 w 1688"/>
                <a:gd name="T65" fmla="*/ 0 h 630"/>
                <a:gd name="T66" fmla="*/ 0 w 1688"/>
                <a:gd name="T67" fmla="*/ 0 h 630"/>
                <a:gd name="T68" fmla="*/ 0 w 1688"/>
                <a:gd name="T69" fmla="*/ 0 h 630"/>
                <a:gd name="T70" fmla="*/ 0 w 1688"/>
                <a:gd name="T71" fmla="*/ 0 h 630"/>
                <a:gd name="T72" fmla="*/ 0 w 1688"/>
                <a:gd name="T73" fmla="*/ 0 h 630"/>
                <a:gd name="T74" fmla="*/ 0 w 1688"/>
                <a:gd name="T75" fmla="*/ 0 h 630"/>
                <a:gd name="T76" fmla="*/ 0 w 1688"/>
                <a:gd name="T77" fmla="*/ 0 h 630"/>
                <a:gd name="T78" fmla="*/ 0 w 1688"/>
                <a:gd name="T79" fmla="*/ 0 h 630"/>
                <a:gd name="T80" fmla="*/ 0 w 1688"/>
                <a:gd name="T81" fmla="*/ 0 h 630"/>
                <a:gd name="T82" fmla="*/ 0 w 1688"/>
                <a:gd name="T83" fmla="*/ 0 h 630"/>
                <a:gd name="T84" fmla="*/ 0 w 1688"/>
                <a:gd name="T85" fmla="*/ 0 h 630"/>
                <a:gd name="T86" fmla="*/ 0 w 1688"/>
                <a:gd name="T87" fmla="*/ 0 h 630"/>
                <a:gd name="T88" fmla="*/ 0 w 1688"/>
                <a:gd name="T89" fmla="*/ 0 h 630"/>
                <a:gd name="T90" fmla="*/ 0 w 1688"/>
                <a:gd name="T91" fmla="*/ 0 h 630"/>
                <a:gd name="T92" fmla="*/ 0 w 1688"/>
                <a:gd name="T93" fmla="*/ 0 h 630"/>
                <a:gd name="T94" fmla="*/ 0 w 1688"/>
                <a:gd name="T95" fmla="*/ 0 h 630"/>
                <a:gd name="T96" fmla="*/ 0 w 1688"/>
                <a:gd name="T97" fmla="*/ 0 h 630"/>
                <a:gd name="T98" fmla="*/ 0 w 1688"/>
                <a:gd name="T99" fmla="*/ 0 h 630"/>
                <a:gd name="T100" fmla="*/ 0 w 1688"/>
                <a:gd name="T101" fmla="*/ 0 h 630"/>
                <a:gd name="T102" fmla="*/ 0 w 1688"/>
                <a:gd name="T103" fmla="*/ 0 h 630"/>
                <a:gd name="T104" fmla="*/ 0 w 1688"/>
                <a:gd name="T105" fmla="*/ 0 h 630"/>
                <a:gd name="T106" fmla="*/ 0 w 1688"/>
                <a:gd name="T107" fmla="*/ 0 h 630"/>
                <a:gd name="T108" fmla="*/ 0 w 1688"/>
                <a:gd name="T109" fmla="*/ 0 h 630"/>
                <a:gd name="T110" fmla="*/ 0 w 1688"/>
                <a:gd name="T111" fmla="*/ 0 h 630"/>
                <a:gd name="T112" fmla="*/ 0 w 1688"/>
                <a:gd name="T113" fmla="*/ 0 h 630"/>
                <a:gd name="T114" fmla="*/ 0 w 1688"/>
                <a:gd name="T115" fmla="*/ 0 h 630"/>
                <a:gd name="T116" fmla="*/ 0 w 1688"/>
                <a:gd name="T117" fmla="*/ 0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5" name="Freeform 728"/>
            <p:cNvSpPr>
              <a:spLocks/>
            </p:cNvSpPr>
            <p:nvPr>
              <p:custDataLst>
                <p:tags r:id="rId93"/>
              </p:custDataLst>
            </p:nvPr>
          </p:nvSpPr>
          <p:spPr bwMode="auto">
            <a:xfrm>
              <a:off x="1546" y="2508"/>
              <a:ext cx="224" cy="262"/>
            </a:xfrm>
            <a:custGeom>
              <a:avLst/>
              <a:gdLst>
                <a:gd name="T0" fmla="*/ 0 w 758"/>
                <a:gd name="T1" fmla="*/ 0 h 795"/>
                <a:gd name="T2" fmla="*/ 0 w 758"/>
                <a:gd name="T3" fmla="*/ 0 h 795"/>
                <a:gd name="T4" fmla="*/ 0 w 758"/>
                <a:gd name="T5" fmla="*/ 0 h 795"/>
                <a:gd name="T6" fmla="*/ 0 w 758"/>
                <a:gd name="T7" fmla="*/ 0 h 795"/>
                <a:gd name="T8" fmla="*/ 0 w 758"/>
                <a:gd name="T9" fmla="*/ 0 h 795"/>
                <a:gd name="T10" fmla="*/ 0 w 758"/>
                <a:gd name="T11" fmla="*/ 0 h 795"/>
                <a:gd name="T12" fmla="*/ 0 w 758"/>
                <a:gd name="T13" fmla="*/ 0 h 795"/>
                <a:gd name="T14" fmla="*/ 0 w 758"/>
                <a:gd name="T15" fmla="*/ 0 h 795"/>
                <a:gd name="T16" fmla="*/ 0 w 758"/>
                <a:gd name="T17" fmla="*/ 0 h 795"/>
                <a:gd name="T18" fmla="*/ 0 w 758"/>
                <a:gd name="T19" fmla="*/ 0 h 795"/>
                <a:gd name="T20" fmla="*/ 0 w 758"/>
                <a:gd name="T21" fmla="*/ 0 h 795"/>
                <a:gd name="T22" fmla="*/ 0 w 758"/>
                <a:gd name="T23" fmla="*/ 0 h 795"/>
                <a:gd name="T24" fmla="*/ 0 w 758"/>
                <a:gd name="T25" fmla="*/ 0 h 795"/>
                <a:gd name="T26" fmla="*/ 0 w 758"/>
                <a:gd name="T27" fmla="*/ 0 h 795"/>
                <a:gd name="T28" fmla="*/ 0 w 758"/>
                <a:gd name="T29" fmla="*/ 0 h 795"/>
                <a:gd name="T30" fmla="*/ 0 w 758"/>
                <a:gd name="T31" fmla="*/ 0 h 795"/>
                <a:gd name="T32" fmla="*/ 0 w 758"/>
                <a:gd name="T33" fmla="*/ 0 h 795"/>
                <a:gd name="T34" fmla="*/ 0 w 758"/>
                <a:gd name="T35" fmla="*/ 0 h 795"/>
                <a:gd name="T36" fmla="*/ 0 w 758"/>
                <a:gd name="T37" fmla="*/ 0 h 795"/>
                <a:gd name="T38" fmla="*/ 0 w 758"/>
                <a:gd name="T39" fmla="*/ 0 h 795"/>
                <a:gd name="T40" fmla="*/ 0 w 758"/>
                <a:gd name="T41" fmla="*/ 0 h 795"/>
                <a:gd name="T42" fmla="*/ 0 w 758"/>
                <a:gd name="T43" fmla="*/ 0 h 795"/>
                <a:gd name="T44" fmla="*/ 0 w 758"/>
                <a:gd name="T45" fmla="*/ 0 h 795"/>
                <a:gd name="T46" fmla="*/ 0 w 758"/>
                <a:gd name="T47" fmla="*/ 0 h 795"/>
                <a:gd name="T48" fmla="*/ 0 w 758"/>
                <a:gd name="T49" fmla="*/ 0 h 795"/>
                <a:gd name="T50" fmla="*/ 0 w 758"/>
                <a:gd name="T51" fmla="*/ 0 h 795"/>
                <a:gd name="T52" fmla="*/ 0 w 758"/>
                <a:gd name="T53" fmla="*/ 0 h 795"/>
                <a:gd name="T54" fmla="*/ 0 w 758"/>
                <a:gd name="T55" fmla="*/ 0 h 795"/>
                <a:gd name="T56" fmla="*/ 0 w 758"/>
                <a:gd name="T57" fmla="*/ 0 h 795"/>
                <a:gd name="T58" fmla="*/ 0 w 758"/>
                <a:gd name="T59" fmla="*/ 0 h 795"/>
                <a:gd name="T60" fmla="*/ 0 w 758"/>
                <a:gd name="T61" fmla="*/ 0 h 795"/>
                <a:gd name="T62" fmla="*/ 0 w 758"/>
                <a:gd name="T63" fmla="*/ 0 h 795"/>
                <a:gd name="T64" fmla="*/ 0 w 758"/>
                <a:gd name="T65" fmla="*/ 0 h 795"/>
                <a:gd name="T66" fmla="*/ 0 w 758"/>
                <a:gd name="T67" fmla="*/ 0 h 795"/>
                <a:gd name="T68" fmla="*/ 0 w 758"/>
                <a:gd name="T69" fmla="*/ 0 h 795"/>
                <a:gd name="T70" fmla="*/ 0 w 758"/>
                <a:gd name="T71" fmla="*/ 0 h 795"/>
                <a:gd name="T72" fmla="*/ 0 w 758"/>
                <a:gd name="T73" fmla="*/ 0 h 795"/>
                <a:gd name="T74" fmla="*/ 0 w 758"/>
                <a:gd name="T75" fmla="*/ 0 h 795"/>
                <a:gd name="T76" fmla="*/ 0 w 758"/>
                <a:gd name="T77" fmla="*/ 0 h 795"/>
                <a:gd name="T78" fmla="*/ 0 w 758"/>
                <a:gd name="T79" fmla="*/ 0 h 795"/>
                <a:gd name="T80" fmla="*/ 0 w 758"/>
                <a:gd name="T81" fmla="*/ 0 h 795"/>
                <a:gd name="T82" fmla="*/ 0 w 758"/>
                <a:gd name="T83" fmla="*/ 0 h 795"/>
                <a:gd name="T84" fmla="*/ 0 w 758"/>
                <a:gd name="T85" fmla="*/ 0 h 795"/>
                <a:gd name="T86" fmla="*/ 0 w 758"/>
                <a:gd name="T87" fmla="*/ 0 h 795"/>
                <a:gd name="T88" fmla="*/ 0 w 758"/>
                <a:gd name="T89" fmla="*/ 0 h 795"/>
                <a:gd name="T90" fmla="*/ 0 w 758"/>
                <a:gd name="T91" fmla="*/ 0 h 795"/>
                <a:gd name="T92" fmla="*/ 0 w 758"/>
                <a:gd name="T93" fmla="*/ 0 h 795"/>
                <a:gd name="T94" fmla="*/ 0 w 758"/>
                <a:gd name="T95" fmla="*/ 0 h 795"/>
                <a:gd name="T96" fmla="*/ 0 w 758"/>
                <a:gd name="T97" fmla="*/ 0 h 795"/>
                <a:gd name="T98" fmla="*/ 0 w 758"/>
                <a:gd name="T99" fmla="*/ 0 h 795"/>
                <a:gd name="T100" fmla="*/ 0 w 758"/>
                <a:gd name="T101" fmla="*/ 0 h 795"/>
                <a:gd name="T102" fmla="*/ 0 w 758"/>
                <a:gd name="T103" fmla="*/ 0 h 795"/>
                <a:gd name="T104" fmla="*/ 0 w 758"/>
                <a:gd name="T105" fmla="*/ 0 h 795"/>
                <a:gd name="T106" fmla="*/ 0 w 758"/>
                <a:gd name="T107" fmla="*/ 0 h 795"/>
                <a:gd name="T108" fmla="*/ 0 w 758"/>
                <a:gd name="T109" fmla="*/ 0 h 795"/>
                <a:gd name="T110" fmla="*/ 0 w 758"/>
                <a:gd name="T111" fmla="*/ 0 h 795"/>
                <a:gd name="T112" fmla="*/ 0 w 758"/>
                <a:gd name="T113" fmla="*/ 0 h 795"/>
                <a:gd name="T114" fmla="*/ 0 w 758"/>
                <a:gd name="T115" fmla="*/ 0 h 795"/>
                <a:gd name="T116" fmla="*/ 0 w 758"/>
                <a:gd name="T117" fmla="*/ 0 h 795"/>
                <a:gd name="T118" fmla="*/ 0 w 758"/>
                <a:gd name="T119" fmla="*/ 0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6" name="Freeform 729"/>
            <p:cNvSpPr>
              <a:spLocks/>
            </p:cNvSpPr>
            <p:nvPr>
              <p:custDataLst>
                <p:tags r:id="rId94"/>
              </p:custDataLst>
            </p:nvPr>
          </p:nvSpPr>
          <p:spPr bwMode="auto">
            <a:xfrm>
              <a:off x="1692" y="2149"/>
              <a:ext cx="81" cy="136"/>
            </a:xfrm>
            <a:custGeom>
              <a:avLst/>
              <a:gdLst>
                <a:gd name="T0" fmla="*/ 0 w 273"/>
                <a:gd name="T1" fmla="*/ 0 h 414"/>
                <a:gd name="T2" fmla="*/ 0 w 273"/>
                <a:gd name="T3" fmla="*/ 0 h 414"/>
                <a:gd name="T4" fmla="*/ 0 w 273"/>
                <a:gd name="T5" fmla="*/ 0 h 414"/>
                <a:gd name="T6" fmla="*/ 0 w 273"/>
                <a:gd name="T7" fmla="*/ 0 h 414"/>
                <a:gd name="T8" fmla="*/ 0 w 273"/>
                <a:gd name="T9" fmla="*/ 0 h 414"/>
                <a:gd name="T10" fmla="*/ 0 w 273"/>
                <a:gd name="T11" fmla="*/ 0 h 414"/>
                <a:gd name="T12" fmla="*/ 0 w 273"/>
                <a:gd name="T13" fmla="*/ 0 h 414"/>
                <a:gd name="T14" fmla="*/ 0 w 273"/>
                <a:gd name="T15" fmla="*/ 0 h 414"/>
                <a:gd name="T16" fmla="*/ 0 w 273"/>
                <a:gd name="T17" fmla="*/ 0 h 414"/>
                <a:gd name="T18" fmla="*/ 0 w 273"/>
                <a:gd name="T19" fmla="*/ 0 h 414"/>
                <a:gd name="T20" fmla="*/ 0 w 273"/>
                <a:gd name="T21" fmla="*/ 0 h 414"/>
                <a:gd name="T22" fmla="*/ 0 w 273"/>
                <a:gd name="T23" fmla="*/ 0 h 414"/>
                <a:gd name="T24" fmla="*/ 0 w 273"/>
                <a:gd name="T25" fmla="*/ 0 h 414"/>
                <a:gd name="T26" fmla="*/ 0 w 273"/>
                <a:gd name="T27" fmla="*/ 0 h 414"/>
                <a:gd name="T28" fmla="*/ 0 w 273"/>
                <a:gd name="T29" fmla="*/ 0 h 414"/>
                <a:gd name="T30" fmla="*/ 0 w 273"/>
                <a:gd name="T31" fmla="*/ 0 h 414"/>
                <a:gd name="T32" fmla="*/ 0 w 273"/>
                <a:gd name="T33" fmla="*/ 0 h 414"/>
                <a:gd name="T34" fmla="*/ 0 w 273"/>
                <a:gd name="T35" fmla="*/ 0 h 414"/>
                <a:gd name="T36" fmla="*/ 0 w 273"/>
                <a:gd name="T37" fmla="*/ 0 h 414"/>
                <a:gd name="T38" fmla="*/ 0 w 273"/>
                <a:gd name="T39" fmla="*/ 0 h 414"/>
                <a:gd name="T40" fmla="*/ 0 w 273"/>
                <a:gd name="T41" fmla="*/ 0 h 414"/>
                <a:gd name="T42" fmla="*/ 0 w 273"/>
                <a:gd name="T43" fmla="*/ 0 h 414"/>
                <a:gd name="T44" fmla="*/ 0 w 273"/>
                <a:gd name="T45" fmla="*/ 0 h 414"/>
                <a:gd name="T46" fmla="*/ 0 w 273"/>
                <a:gd name="T47" fmla="*/ 0 h 414"/>
                <a:gd name="T48" fmla="*/ 0 w 273"/>
                <a:gd name="T49" fmla="*/ 0 h 414"/>
                <a:gd name="T50" fmla="*/ 0 w 273"/>
                <a:gd name="T51" fmla="*/ 0 h 414"/>
                <a:gd name="T52" fmla="*/ 0 w 273"/>
                <a:gd name="T53" fmla="*/ 0 h 414"/>
                <a:gd name="T54" fmla="*/ 0 w 273"/>
                <a:gd name="T55" fmla="*/ 0 h 414"/>
                <a:gd name="T56" fmla="*/ 0 w 273"/>
                <a:gd name="T57" fmla="*/ 0 h 414"/>
                <a:gd name="T58" fmla="*/ 0 w 273"/>
                <a:gd name="T59" fmla="*/ 0 h 414"/>
                <a:gd name="T60" fmla="*/ 0 w 273"/>
                <a:gd name="T61" fmla="*/ 0 h 414"/>
                <a:gd name="T62" fmla="*/ 0 w 273"/>
                <a:gd name="T63" fmla="*/ 0 h 414"/>
                <a:gd name="T64" fmla="*/ 0 w 273"/>
                <a:gd name="T65" fmla="*/ 0 h 414"/>
                <a:gd name="T66" fmla="*/ 0 w 273"/>
                <a:gd name="T67" fmla="*/ 0 h 414"/>
                <a:gd name="T68" fmla="*/ 0 w 273"/>
                <a:gd name="T69" fmla="*/ 0 h 414"/>
                <a:gd name="T70" fmla="*/ 0 w 273"/>
                <a:gd name="T71" fmla="*/ 0 h 414"/>
                <a:gd name="T72" fmla="*/ 0 w 273"/>
                <a:gd name="T73" fmla="*/ 0 h 414"/>
                <a:gd name="T74" fmla="*/ 0 w 273"/>
                <a:gd name="T75" fmla="*/ 0 h 414"/>
                <a:gd name="T76" fmla="*/ 0 w 273"/>
                <a:gd name="T77" fmla="*/ 0 h 414"/>
                <a:gd name="T78" fmla="*/ 0 w 273"/>
                <a:gd name="T79" fmla="*/ 0 h 414"/>
                <a:gd name="T80" fmla="*/ 0 w 273"/>
                <a:gd name="T81" fmla="*/ 0 h 414"/>
                <a:gd name="T82" fmla="*/ 0 w 273"/>
                <a:gd name="T83" fmla="*/ 0 h 414"/>
                <a:gd name="T84" fmla="*/ 0 w 273"/>
                <a:gd name="T85" fmla="*/ 0 h 414"/>
                <a:gd name="T86" fmla="*/ 0 w 273"/>
                <a:gd name="T87" fmla="*/ 0 h 414"/>
                <a:gd name="T88" fmla="*/ 0 w 273"/>
                <a:gd name="T89" fmla="*/ 0 h 414"/>
                <a:gd name="T90" fmla="*/ 0 w 273"/>
                <a:gd name="T91" fmla="*/ 0 h 414"/>
                <a:gd name="T92" fmla="*/ 0 w 273"/>
                <a:gd name="T93" fmla="*/ 0 h 414"/>
                <a:gd name="T94" fmla="*/ 0 w 273"/>
                <a:gd name="T95" fmla="*/ 0 h 414"/>
                <a:gd name="T96" fmla="*/ 0 w 273"/>
                <a:gd name="T97" fmla="*/ 0 h 414"/>
                <a:gd name="T98" fmla="*/ 0 w 273"/>
                <a:gd name="T99" fmla="*/ 0 h 414"/>
                <a:gd name="T100" fmla="*/ 0 w 273"/>
                <a:gd name="T101" fmla="*/ 0 h 414"/>
                <a:gd name="T102" fmla="*/ 0 w 273"/>
                <a:gd name="T103" fmla="*/ 0 h 414"/>
                <a:gd name="T104" fmla="*/ 0 w 273"/>
                <a:gd name="T105" fmla="*/ 0 h 414"/>
                <a:gd name="T106" fmla="*/ 0 w 273"/>
                <a:gd name="T107" fmla="*/ 0 h 414"/>
                <a:gd name="T108" fmla="*/ 0 w 273"/>
                <a:gd name="T109" fmla="*/ 0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0" name="Group 730"/>
            <p:cNvGrpSpPr>
              <a:grpSpLocks/>
            </p:cNvGrpSpPr>
            <p:nvPr>
              <p:custDataLst>
                <p:tags r:id="rId95"/>
              </p:custDataLst>
            </p:nvPr>
          </p:nvGrpSpPr>
          <p:grpSpPr bwMode="auto">
            <a:xfrm>
              <a:off x="1497" y="2045"/>
              <a:ext cx="221" cy="253"/>
              <a:chOff x="1486" y="2412"/>
              <a:chExt cx="244" cy="256"/>
            </a:xfrm>
            <a:grpFill/>
          </p:grpSpPr>
          <p:sp>
            <p:nvSpPr>
              <p:cNvPr id="18930" name="Freeform 731"/>
              <p:cNvSpPr>
                <a:spLocks/>
              </p:cNvSpPr>
              <p:nvPr/>
            </p:nvSpPr>
            <p:spPr bwMode="auto">
              <a:xfrm>
                <a:off x="1639" y="2457"/>
                <a:ext cx="18" cy="7"/>
              </a:xfrm>
              <a:custGeom>
                <a:avLst/>
                <a:gdLst>
                  <a:gd name="T0" fmla="*/ 0 w 54"/>
                  <a:gd name="T1" fmla="*/ 0 h 22"/>
                  <a:gd name="T2" fmla="*/ 0 w 54"/>
                  <a:gd name="T3" fmla="*/ 0 h 22"/>
                  <a:gd name="T4" fmla="*/ 0 w 54"/>
                  <a:gd name="T5" fmla="*/ 0 h 22"/>
                  <a:gd name="T6" fmla="*/ 0 w 54"/>
                  <a:gd name="T7" fmla="*/ 0 h 22"/>
                  <a:gd name="T8" fmla="*/ 0 w 54"/>
                  <a:gd name="T9" fmla="*/ 0 h 22"/>
                  <a:gd name="T10" fmla="*/ 0 w 54"/>
                  <a:gd name="T11" fmla="*/ 0 h 22"/>
                  <a:gd name="T12" fmla="*/ 0 w 54"/>
                  <a:gd name="T13" fmla="*/ 0 h 22"/>
                  <a:gd name="T14" fmla="*/ 0 w 54"/>
                  <a:gd name="T15" fmla="*/ 0 h 22"/>
                  <a:gd name="T16" fmla="*/ 0 w 54"/>
                  <a:gd name="T17" fmla="*/ 0 h 22"/>
                  <a:gd name="T18" fmla="*/ 0 w 54"/>
                  <a:gd name="T19" fmla="*/ 0 h 22"/>
                  <a:gd name="T20" fmla="*/ 0 w 54"/>
                  <a:gd name="T21" fmla="*/ 0 h 22"/>
                  <a:gd name="T22" fmla="*/ 0 w 54"/>
                  <a:gd name="T23" fmla="*/ 0 h 22"/>
                  <a:gd name="T24" fmla="*/ 0 w 54"/>
                  <a:gd name="T25" fmla="*/ 0 h 22"/>
                  <a:gd name="T26" fmla="*/ 0 w 54"/>
                  <a:gd name="T27" fmla="*/ 0 h 22"/>
                  <a:gd name="T28" fmla="*/ 0 w 54"/>
                  <a:gd name="T29" fmla="*/ 0 h 22"/>
                  <a:gd name="T30" fmla="*/ 0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1" name="Freeform 732"/>
              <p:cNvSpPr>
                <a:spLocks/>
              </p:cNvSpPr>
              <p:nvPr/>
            </p:nvSpPr>
            <p:spPr bwMode="auto">
              <a:xfrm>
                <a:off x="1526" y="2412"/>
                <a:ext cx="2" cy="8"/>
              </a:xfrm>
              <a:custGeom>
                <a:avLst/>
                <a:gdLst>
                  <a:gd name="T0" fmla="*/ 0 w 6"/>
                  <a:gd name="T1" fmla="*/ 0 h 24"/>
                  <a:gd name="T2" fmla="*/ 0 w 6"/>
                  <a:gd name="T3" fmla="*/ 0 h 24"/>
                  <a:gd name="T4" fmla="*/ 0 w 6"/>
                  <a:gd name="T5" fmla="*/ 0 h 24"/>
                  <a:gd name="T6" fmla="*/ 0 w 6"/>
                  <a:gd name="T7" fmla="*/ 0 h 24"/>
                  <a:gd name="T8" fmla="*/ 0 w 6"/>
                  <a:gd name="T9" fmla="*/ 0 h 24"/>
                  <a:gd name="T10" fmla="*/ 0 w 6"/>
                  <a:gd name="T11" fmla="*/ 0 h 24"/>
                  <a:gd name="T12" fmla="*/ 0 w 6"/>
                  <a:gd name="T13" fmla="*/ 0 h 24"/>
                  <a:gd name="T14" fmla="*/ 0 w 6"/>
                  <a:gd name="T15" fmla="*/ 0 h 24"/>
                  <a:gd name="T16" fmla="*/ 0 w 6"/>
                  <a:gd name="T17" fmla="*/ 0 h 24"/>
                  <a:gd name="T18" fmla="*/ 0 w 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2" name="Freeform 733"/>
              <p:cNvSpPr>
                <a:spLocks/>
              </p:cNvSpPr>
              <p:nvPr/>
            </p:nvSpPr>
            <p:spPr bwMode="auto">
              <a:xfrm>
                <a:off x="1557" y="2438"/>
                <a:ext cx="9" cy="4"/>
              </a:xfrm>
              <a:custGeom>
                <a:avLst/>
                <a:gdLst>
                  <a:gd name="T0" fmla="*/ 0 w 27"/>
                  <a:gd name="T1" fmla="*/ 0 h 12"/>
                  <a:gd name="T2" fmla="*/ 0 w 27"/>
                  <a:gd name="T3" fmla="*/ 0 h 12"/>
                  <a:gd name="T4" fmla="*/ 0 w 27"/>
                  <a:gd name="T5" fmla="*/ 0 h 12"/>
                  <a:gd name="T6" fmla="*/ 0 w 27"/>
                  <a:gd name="T7" fmla="*/ 0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3" name="Freeform 734"/>
              <p:cNvSpPr>
                <a:spLocks/>
              </p:cNvSpPr>
              <p:nvPr/>
            </p:nvSpPr>
            <p:spPr bwMode="auto">
              <a:xfrm>
                <a:off x="1486" y="2444"/>
                <a:ext cx="244" cy="224"/>
              </a:xfrm>
              <a:custGeom>
                <a:avLst/>
                <a:gdLst>
                  <a:gd name="T0" fmla="*/ 0 w 743"/>
                  <a:gd name="T1" fmla="*/ 0 h 672"/>
                  <a:gd name="T2" fmla="*/ 0 w 743"/>
                  <a:gd name="T3" fmla="*/ 0 h 672"/>
                  <a:gd name="T4" fmla="*/ 0 w 743"/>
                  <a:gd name="T5" fmla="*/ 0 h 672"/>
                  <a:gd name="T6" fmla="*/ 0 w 743"/>
                  <a:gd name="T7" fmla="*/ 0 h 672"/>
                  <a:gd name="T8" fmla="*/ 0 w 743"/>
                  <a:gd name="T9" fmla="*/ 0 h 672"/>
                  <a:gd name="T10" fmla="*/ 0 w 743"/>
                  <a:gd name="T11" fmla="*/ 0 h 672"/>
                  <a:gd name="T12" fmla="*/ 0 w 743"/>
                  <a:gd name="T13" fmla="*/ 0 h 672"/>
                  <a:gd name="T14" fmla="*/ 0 w 743"/>
                  <a:gd name="T15" fmla="*/ 0 h 672"/>
                  <a:gd name="T16" fmla="*/ 0 w 743"/>
                  <a:gd name="T17" fmla="*/ 0 h 672"/>
                  <a:gd name="T18" fmla="*/ 0 w 743"/>
                  <a:gd name="T19" fmla="*/ 0 h 672"/>
                  <a:gd name="T20" fmla="*/ 0 w 743"/>
                  <a:gd name="T21" fmla="*/ 0 h 672"/>
                  <a:gd name="T22" fmla="*/ 0 w 743"/>
                  <a:gd name="T23" fmla="*/ 0 h 672"/>
                  <a:gd name="T24" fmla="*/ 0 w 743"/>
                  <a:gd name="T25" fmla="*/ 0 h 672"/>
                  <a:gd name="T26" fmla="*/ 0 w 743"/>
                  <a:gd name="T27" fmla="*/ 0 h 672"/>
                  <a:gd name="T28" fmla="*/ 0 w 743"/>
                  <a:gd name="T29" fmla="*/ 0 h 672"/>
                  <a:gd name="T30" fmla="*/ 0 w 743"/>
                  <a:gd name="T31" fmla="*/ 0 h 672"/>
                  <a:gd name="T32" fmla="*/ 0 w 743"/>
                  <a:gd name="T33" fmla="*/ 0 h 672"/>
                  <a:gd name="T34" fmla="*/ 0 w 743"/>
                  <a:gd name="T35" fmla="*/ 0 h 672"/>
                  <a:gd name="T36" fmla="*/ 0 w 743"/>
                  <a:gd name="T37" fmla="*/ 0 h 672"/>
                  <a:gd name="T38" fmla="*/ 0 w 743"/>
                  <a:gd name="T39" fmla="*/ 0 h 672"/>
                  <a:gd name="T40" fmla="*/ 0 w 743"/>
                  <a:gd name="T41" fmla="*/ 0 h 672"/>
                  <a:gd name="T42" fmla="*/ 0 w 743"/>
                  <a:gd name="T43" fmla="*/ 0 h 672"/>
                  <a:gd name="T44" fmla="*/ 0 w 743"/>
                  <a:gd name="T45" fmla="*/ 0 h 672"/>
                  <a:gd name="T46" fmla="*/ 0 w 743"/>
                  <a:gd name="T47" fmla="*/ 0 h 672"/>
                  <a:gd name="T48" fmla="*/ 0 w 743"/>
                  <a:gd name="T49" fmla="*/ 0 h 672"/>
                  <a:gd name="T50" fmla="*/ 0 w 743"/>
                  <a:gd name="T51" fmla="*/ 0 h 672"/>
                  <a:gd name="T52" fmla="*/ 0 w 743"/>
                  <a:gd name="T53" fmla="*/ 0 h 672"/>
                  <a:gd name="T54" fmla="*/ 0 w 743"/>
                  <a:gd name="T55" fmla="*/ 0 h 672"/>
                  <a:gd name="T56" fmla="*/ 0 w 743"/>
                  <a:gd name="T57" fmla="*/ 0 h 672"/>
                  <a:gd name="T58" fmla="*/ 0 w 743"/>
                  <a:gd name="T59" fmla="*/ 0 h 672"/>
                  <a:gd name="T60" fmla="*/ 0 w 743"/>
                  <a:gd name="T61" fmla="*/ 0 h 672"/>
                  <a:gd name="T62" fmla="*/ 0 w 743"/>
                  <a:gd name="T63" fmla="*/ 0 h 672"/>
                  <a:gd name="T64" fmla="*/ 0 w 743"/>
                  <a:gd name="T65" fmla="*/ 0 h 672"/>
                  <a:gd name="T66" fmla="*/ 0 w 743"/>
                  <a:gd name="T67" fmla="*/ 0 h 672"/>
                  <a:gd name="T68" fmla="*/ 0 w 743"/>
                  <a:gd name="T69" fmla="*/ 0 h 672"/>
                  <a:gd name="T70" fmla="*/ 0 w 743"/>
                  <a:gd name="T71" fmla="*/ 0 h 672"/>
                  <a:gd name="T72" fmla="*/ 0 w 743"/>
                  <a:gd name="T73" fmla="*/ 0 h 672"/>
                  <a:gd name="T74" fmla="*/ 0 w 743"/>
                  <a:gd name="T75" fmla="*/ 0 h 672"/>
                  <a:gd name="T76" fmla="*/ 0 w 743"/>
                  <a:gd name="T77" fmla="*/ 0 h 672"/>
                  <a:gd name="T78" fmla="*/ 0 w 743"/>
                  <a:gd name="T79" fmla="*/ 0 h 672"/>
                  <a:gd name="T80" fmla="*/ 0 w 743"/>
                  <a:gd name="T81" fmla="*/ 0 h 672"/>
                  <a:gd name="T82" fmla="*/ 0 w 743"/>
                  <a:gd name="T83" fmla="*/ 0 h 672"/>
                  <a:gd name="T84" fmla="*/ 0 w 743"/>
                  <a:gd name="T85" fmla="*/ 0 h 672"/>
                  <a:gd name="T86" fmla="*/ 0 w 743"/>
                  <a:gd name="T87" fmla="*/ 0 h 672"/>
                  <a:gd name="T88" fmla="*/ 0 w 743"/>
                  <a:gd name="T89" fmla="*/ 0 h 672"/>
                  <a:gd name="T90" fmla="*/ 0 w 743"/>
                  <a:gd name="T91" fmla="*/ 0 h 672"/>
                  <a:gd name="T92" fmla="*/ 0 w 743"/>
                  <a:gd name="T93" fmla="*/ 0 h 672"/>
                  <a:gd name="T94" fmla="*/ 0 w 743"/>
                  <a:gd name="T95" fmla="*/ 0 h 672"/>
                  <a:gd name="T96" fmla="*/ 0 w 743"/>
                  <a:gd name="T97" fmla="*/ 0 h 672"/>
                  <a:gd name="T98" fmla="*/ 0 w 743"/>
                  <a:gd name="T99" fmla="*/ 0 h 672"/>
                  <a:gd name="T100" fmla="*/ 0 w 743"/>
                  <a:gd name="T101" fmla="*/ 0 h 672"/>
                  <a:gd name="T102" fmla="*/ 0 w 743"/>
                  <a:gd name="T103" fmla="*/ 0 h 672"/>
                  <a:gd name="T104" fmla="*/ 0 w 743"/>
                  <a:gd name="T105" fmla="*/ 0 h 672"/>
                  <a:gd name="T106" fmla="*/ 0 w 743"/>
                  <a:gd name="T107" fmla="*/ 0 h 672"/>
                  <a:gd name="T108" fmla="*/ 0 w 743"/>
                  <a:gd name="T109" fmla="*/ 0 h 672"/>
                  <a:gd name="T110" fmla="*/ 0 w 743"/>
                  <a:gd name="T111" fmla="*/ 0 h 672"/>
                  <a:gd name="T112" fmla="*/ 0 w 743"/>
                  <a:gd name="T113" fmla="*/ 0 h 672"/>
                  <a:gd name="T114" fmla="*/ 0 w 743"/>
                  <a:gd name="T115" fmla="*/ 0 h 672"/>
                  <a:gd name="T116" fmla="*/ 0 w 743"/>
                  <a:gd name="T117" fmla="*/ 0 h 672"/>
                  <a:gd name="T118" fmla="*/ 0 w 743"/>
                  <a:gd name="T119" fmla="*/ 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8" name="Freeform 735"/>
            <p:cNvSpPr>
              <a:spLocks/>
            </p:cNvSpPr>
            <p:nvPr>
              <p:custDataLst>
                <p:tags r:id="rId96"/>
              </p:custDataLst>
            </p:nvPr>
          </p:nvSpPr>
          <p:spPr bwMode="auto">
            <a:xfrm>
              <a:off x="4924" y="3015"/>
              <a:ext cx="21" cy="7"/>
            </a:xfrm>
            <a:custGeom>
              <a:avLst/>
              <a:gdLst>
                <a:gd name="T0" fmla="*/ 0 w 79"/>
                <a:gd name="T1" fmla="*/ 0 h 23"/>
                <a:gd name="T2" fmla="*/ 0 w 79"/>
                <a:gd name="T3" fmla="*/ 0 h 23"/>
                <a:gd name="T4" fmla="*/ 0 w 79"/>
                <a:gd name="T5" fmla="*/ 0 h 23"/>
                <a:gd name="T6" fmla="*/ 0 w 79"/>
                <a:gd name="T7" fmla="*/ 0 h 23"/>
                <a:gd name="T8" fmla="*/ 0 w 79"/>
                <a:gd name="T9" fmla="*/ 0 h 23"/>
                <a:gd name="T10" fmla="*/ 0 w 79"/>
                <a:gd name="T11" fmla="*/ 0 h 23"/>
                <a:gd name="T12" fmla="*/ 0 w 79"/>
                <a:gd name="T13" fmla="*/ 0 h 23"/>
                <a:gd name="T14" fmla="*/ 0 w 79"/>
                <a:gd name="T15" fmla="*/ 0 h 23"/>
                <a:gd name="T16" fmla="*/ 0 w 79"/>
                <a:gd name="T17" fmla="*/ 0 h 23"/>
                <a:gd name="T18" fmla="*/ 0 w 79"/>
                <a:gd name="T19" fmla="*/ 0 h 23"/>
                <a:gd name="T20" fmla="*/ 0 w 79"/>
                <a:gd name="T21" fmla="*/ 0 h 23"/>
                <a:gd name="T22" fmla="*/ 0 w 79"/>
                <a:gd name="T23" fmla="*/ 0 h 23"/>
                <a:gd name="T24" fmla="*/ 0 w 79"/>
                <a:gd name="T25" fmla="*/ 0 h 23"/>
                <a:gd name="T26" fmla="*/ 0 w 79"/>
                <a:gd name="T27" fmla="*/ 0 h 23"/>
                <a:gd name="T28" fmla="*/ 0 w 79"/>
                <a:gd name="T29" fmla="*/ 0 h 23"/>
                <a:gd name="T30" fmla="*/ 0 w 79"/>
                <a:gd name="T31" fmla="*/ 0 h 23"/>
                <a:gd name="T32" fmla="*/ 0 w 79"/>
                <a:gd name="T33" fmla="*/ 0 h 23"/>
                <a:gd name="T34" fmla="*/ 0 w 79"/>
                <a:gd name="T35" fmla="*/ 0 h 23"/>
                <a:gd name="T36" fmla="*/ 0 w 79"/>
                <a:gd name="T37" fmla="*/ 0 h 23"/>
                <a:gd name="T38" fmla="*/ 0 w 79"/>
                <a:gd name="T39" fmla="*/ 0 h 23"/>
                <a:gd name="T40" fmla="*/ 0 w 79"/>
                <a:gd name="T41" fmla="*/ 0 h 23"/>
                <a:gd name="T42" fmla="*/ 0 w 79"/>
                <a:gd name="T43" fmla="*/ 0 h 23"/>
                <a:gd name="T44" fmla="*/ 0 w 79"/>
                <a:gd name="T45" fmla="*/ 0 h 23"/>
                <a:gd name="T46" fmla="*/ 0 w 79"/>
                <a:gd name="T47" fmla="*/ 0 h 23"/>
                <a:gd name="T48" fmla="*/ 0 w 79"/>
                <a:gd name="T49" fmla="*/ 0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9" name="Freeform 736"/>
            <p:cNvSpPr>
              <a:spLocks/>
            </p:cNvSpPr>
            <p:nvPr>
              <p:custDataLst>
                <p:tags r:id="rId97"/>
              </p:custDataLst>
            </p:nvPr>
          </p:nvSpPr>
          <p:spPr bwMode="auto">
            <a:xfrm>
              <a:off x="5003" y="3099"/>
              <a:ext cx="1" cy="3"/>
            </a:xfrm>
            <a:custGeom>
              <a:avLst/>
              <a:gdLst>
                <a:gd name="T0" fmla="*/ 0 w 1"/>
                <a:gd name="T1" fmla="*/ 0 h 6"/>
                <a:gd name="T2" fmla="*/ 0 w 1"/>
                <a:gd name="T3" fmla="*/ 1 h 6"/>
                <a:gd name="T4" fmla="*/ 0 w 1"/>
                <a:gd name="T5" fmla="*/ 0 h 6"/>
                <a:gd name="T6" fmla="*/ 0 60000 65536"/>
                <a:gd name="T7" fmla="*/ 0 60000 65536"/>
                <a:gd name="T8" fmla="*/ 0 60000 65536"/>
                <a:gd name="T9" fmla="*/ 0 w 1"/>
                <a:gd name="T10" fmla="*/ 0 h 6"/>
                <a:gd name="T11" fmla="*/ 1 w 1"/>
                <a:gd name="T12" fmla="*/ 6 h 6"/>
              </a:gdLst>
              <a:ahLst/>
              <a:cxnLst>
                <a:cxn ang="T6">
                  <a:pos x="T0" y="T1"/>
                </a:cxn>
                <a:cxn ang="T7">
                  <a:pos x="T2" y="T3"/>
                </a:cxn>
                <a:cxn ang="T8">
                  <a:pos x="T4" y="T5"/>
                </a:cxn>
              </a:cxnLst>
              <a:rect l="T9" t="T10" r="T11" b="T12"/>
              <a:pathLst>
                <a:path w="1" h="6">
                  <a:moveTo>
                    <a:pt x="0" y="0"/>
                  </a:moveTo>
                  <a:lnTo>
                    <a:pt x="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0" name="Line 737"/>
            <p:cNvSpPr>
              <a:spLocks noChangeShapeType="1"/>
            </p:cNvSpPr>
            <p:nvPr>
              <p:custDataLst>
                <p:tags r:id="rId98"/>
              </p:custDataLst>
            </p:nvPr>
          </p:nvSpPr>
          <p:spPr bwMode="auto">
            <a:xfrm flipV="1">
              <a:off x="5065" y="3098"/>
              <a:ext cx="1"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1" name="Freeform 738"/>
            <p:cNvSpPr>
              <a:spLocks/>
            </p:cNvSpPr>
            <p:nvPr>
              <p:custDataLst>
                <p:tags r:id="rId99"/>
              </p:custDataLst>
            </p:nvPr>
          </p:nvSpPr>
          <p:spPr bwMode="auto">
            <a:xfrm>
              <a:off x="5065" y="3098"/>
              <a:ext cx="2" cy="10"/>
            </a:xfrm>
            <a:custGeom>
              <a:avLst/>
              <a:gdLst>
                <a:gd name="T0" fmla="*/ 0 w 5"/>
                <a:gd name="T1" fmla="*/ 0 h 30"/>
                <a:gd name="T2" fmla="*/ 0 w 5"/>
                <a:gd name="T3" fmla="*/ 0 h 30"/>
                <a:gd name="T4" fmla="*/ 0 w 5"/>
                <a:gd name="T5" fmla="*/ 0 h 30"/>
                <a:gd name="T6" fmla="*/ 0 w 5"/>
                <a:gd name="T7" fmla="*/ 0 h 30"/>
                <a:gd name="T8" fmla="*/ 0 w 5"/>
                <a:gd name="T9" fmla="*/ 0 h 30"/>
                <a:gd name="T10" fmla="*/ 0 w 5"/>
                <a:gd name="T11" fmla="*/ 0 h 30"/>
                <a:gd name="T12" fmla="*/ 0 w 5"/>
                <a:gd name="T13" fmla="*/ 0 h 30"/>
                <a:gd name="T14" fmla="*/ 0 w 5"/>
                <a:gd name="T15" fmla="*/ 0 h 30"/>
                <a:gd name="T16" fmla="*/ 0 w 5"/>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2" name="Freeform 739"/>
            <p:cNvSpPr>
              <a:spLocks/>
            </p:cNvSpPr>
            <p:nvPr>
              <p:custDataLst>
                <p:tags r:id="rId100"/>
              </p:custDataLst>
            </p:nvPr>
          </p:nvSpPr>
          <p:spPr bwMode="auto">
            <a:xfrm>
              <a:off x="5268" y="2764"/>
              <a:ext cx="15" cy="18"/>
            </a:xfrm>
            <a:custGeom>
              <a:avLst/>
              <a:gdLst>
                <a:gd name="T0" fmla="*/ 0 w 53"/>
                <a:gd name="T1" fmla="*/ 0 h 55"/>
                <a:gd name="T2" fmla="*/ 0 w 53"/>
                <a:gd name="T3" fmla="*/ 0 h 55"/>
                <a:gd name="T4" fmla="*/ 0 w 53"/>
                <a:gd name="T5" fmla="*/ 0 h 55"/>
                <a:gd name="T6" fmla="*/ 0 w 53"/>
                <a:gd name="T7" fmla="*/ 0 h 55"/>
                <a:gd name="T8" fmla="*/ 0 w 53"/>
                <a:gd name="T9" fmla="*/ 0 h 55"/>
                <a:gd name="T10" fmla="*/ 0 w 53"/>
                <a:gd name="T11" fmla="*/ 0 h 55"/>
                <a:gd name="T12" fmla="*/ 0 w 53"/>
                <a:gd name="T13" fmla="*/ 0 h 55"/>
                <a:gd name="T14" fmla="*/ 0 w 53"/>
                <a:gd name="T15" fmla="*/ 0 h 55"/>
                <a:gd name="T16" fmla="*/ 0 w 53"/>
                <a:gd name="T17" fmla="*/ 0 h 55"/>
                <a:gd name="T18" fmla="*/ 0 w 53"/>
                <a:gd name="T19" fmla="*/ 0 h 55"/>
                <a:gd name="T20" fmla="*/ 0 w 53"/>
                <a:gd name="T21" fmla="*/ 0 h 55"/>
                <a:gd name="T22" fmla="*/ 0 w 53"/>
                <a:gd name="T23" fmla="*/ 0 h 55"/>
                <a:gd name="T24" fmla="*/ 0 w 53"/>
                <a:gd name="T25" fmla="*/ 0 h 55"/>
                <a:gd name="T26" fmla="*/ 0 w 53"/>
                <a:gd name="T27" fmla="*/ 0 h 55"/>
                <a:gd name="T28" fmla="*/ 0 w 53"/>
                <a:gd name="T29" fmla="*/ 0 h 55"/>
                <a:gd name="T30" fmla="*/ 0 w 53"/>
                <a:gd name="T31" fmla="*/ 0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3" name="Freeform 740"/>
            <p:cNvSpPr>
              <a:spLocks/>
            </p:cNvSpPr>
            <p:nvPr>
              <p:custDataLst>
                <p:tags r:id="rId101"/>
              </p:custDataLst>
            </p:nvPr>
          </p:nvSpPr>
          <p:spPr bwMode="auto">
            <a:xfrm>
              <a:off x="5273" y="2718"/>
              <a:ext cx="18" cy="25"/>
            </a:xfrm>
            <a:custGeom>
              <a:avLst/>
              <a:gdLst>
                <a:gd name="T0" fmla="*/ 0 w 65"/>
                <a:gd name="T1" fmla="*/ 0 h 75"/>
                <a:gd name="T2" fmla="*/ 0 w 65"/>
                <a:gd name="T3" fmla="*/ 0 h 75"/>
                <a:gd name="T4" fmla="*/ 0 w 65"/>
                <a:gd name="T5" fmla="*/ 0 h 75"/>
                <a:gd name="T6" fmla="*/ 0 w 65"/>
                <a:gd name="T7" fmla="*/ 0 h 75"/>
                <a:gd name="T8" fmla="*/ 0 w 65"/>
                <a:gd name="T9" fmla="*/ 0 h 75"/>
                <a:gd name="T10" fmla="*/ 0 w 65"/>
                <a:gd name="T11" fmla="*/ 0 h 75"/>
                <a:gd name="T12" fmla="*/ 0 w 65"/>
                <a:gd name="T13" fmla="*/ 0 h 75"/>
                <a:gd name="T14" fmla="*/ 0 w 65"/>
                <a:gd name="T15" fmla="*/ 0 h 75"/>
                <a:gd name="T16" fmla="*/ 0 w 65"/>
                <a:gd name="T17" fmla="*/ 0 h 75"/>
                <a:gd name="T18" fmla="*/ 0 w 65"/>
                <a:gd name="T19" fmla="*/ 0 h 75"/>
                <a:gd name="T20" fmla="*/ 0 w 65"/>
                <a:gd name="T21" fmla="*/ 0 h 75"/>
                <a:gd name="T22" fmla="*/ 0 w 65"/>
                <a:gd name="T23" fmla="*/ 0 h 75"/>
                <a:gd name="T24" fmla="*/ 0 w 65"/>
                <a:gd name="T25" fmla="*/ 0 h 75"/>
                <a:gd name="T26" fmla="*/ 0 w 65"/>
                <a:gd name="T27" fmla="*/ 0 h 75"/>
                <a:gd name="T28" fmla="*/ 0 w 65"/>
                <a:gd name="T29" fmla="*/ 0 h 75"/>
                <a:gd name="T30" fmla="*/ 0 w 65"/>
                <a:gd name="T31" fmla="*/ 0 h 75"/>
                <a:gd name="T32" fmla="*/ 0 w 65"/>
                <a:gd name="T33" fmla="*/ 0 h 75"/>
                <a:gd name="T34" fmla="*/ 0 w 65"/>
                <a:gd name="T35" fmla="*/ 0 h 75"/>
                <a:gd name="T36" fmla="*/ 0 w 65"/>
                <a:gd name="T37" fmla="*/ 0 h 75"/>
                <a:gd name="T38" fmla="*/ 0 w 65"/>
                <a:gd name="T39" fmla="*/ 0 h 75"/>
                <a:gd name="T40" fmla="*/ 0 w 65"/>
                <a:gd name="T41" fmla="*/ 0 h 75"/>
                <a:gd name="T42" fmla="*/ 0 w 65"/>
                <a:gd name="T43" fmla="*/ 0 h 75"/>
                <a:gd name="T44" fmla="*/ 0 w 65"/>
                <a:gd name="T45" fmla="*/ 0 h 75"/>
                <a:gd name="T46" fmla="*/ 0 w 65"/>
                <a:gd name="T47" fmla="*/ 0 h 75"/>
                <a:gd name="T48" fmla="*/ 0 w 65"/>
                <a:gd name="T49" fmla="*/ 0 h 75"/>
                <a:gd name="T50" fmla="*/ 0 w 65"/>
                <a:gd name="T51" fmla="*/ 0 h 75"/>
                <a:gd name="T52" fmla="*/ 0 w 65"/>
                <a:gd name="T53" fmla="*/ 0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4" name="Freeform 741"/>
            <p:cNvSpPr>
              <a:spLocks/>
            </p:cNvSpPr>
            <p:nvPr>
              <p:custDataLst>
                <p:tags r:id="rId102"/>
              </p:custDataLst>
            </p:nvPr>
          </p:nvSpPr>
          <p:spPr bwMode="auto">
            <a:xfrm>
              <a:off x="5256" y="2703"/>
              <a:ext cx="12" cy="19"/>
            </a:xfrm>
            <a:custGeom>
              <a:avLst/>
              <a:gdLst>
                <a:gd name="T0" fmla="*/ 0 w 40"/>
                <a:gd name="T1" fmla="*/ 0 h 62"/>
                <a:gd name="T2" fmla="*/ 0 w 40"/>
                <a:gd name="T3" fmla="*/ 0 h 62"/>
                <a:gd name="T4" fmla="*/ 0 w 40"/>
                <a:gd name="T5" fmla="*/ 0 h 62"/>
                <a:gd name="T6" fmla="*/ 0 w 40"/>
                <a:gd name="T7" fmla="*/ 0 h 62"/>
                <a:gd name="T8" fmla="*/ 0 w 40"/>
                <a:gd name="T9" fmla="*/ 0 h 62"/>
                <a:gd name="T10" fmla="*/ 0 w 40"/>
                <a:gd name="T11" fmla="*/ 0 h 62"/>
                <a:gd name="T12" fmla="*/ 0 w 40"/>
                <a:gd name="T13" fmla="*/ 0 h 62"/>
                <a:gd name="T14" fmla="*/ 0 w 40"/>
                <a:gd name="T15" fmla="*/ 0 h 62"/>
                <a:gd name="T16" fmla="*/ 0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5" name="Freeform 742"/>
            <p:cNvSpPr>
              <a:spLocks/>
            </p:cNvSpPr>
            <p:nvPr>
              <p:custDataLst>
                <p:tags r:id="rId103"/>
              </p:custDataLst>
            </p:nvPr>
          </p:nvSpPr>
          <p:spPr bwMode="auto">
            <a:xfrm>
              <a:off x="5201" y="2626"/>
              <a:ext cx="47" cy="87"/>
            </a:xfrm>
            <a:custGeom>
              <a:avLst/>
              <a:gdLst>
                <a:gd name="T0" fmla="*/ 0 w 159"/>
                <a:gd name="T1" fmla="*/ 0 h 259"/>
                <a:gd name="T2" fmla="*/ 0 w 159"/>
                <a:gd name="T3" fmla="*/ 0 h 259"/>
                <a:gd name="T4" fmla="*/ 0 w 159"/>
                <a:gd name="T5" fmla="*/ 0 h 259"/>
                <a:gd name="T6" fmla="*/ 0 w 159"/>
                <a:gd name="T7" fmla="*/ 0 h 259"/>
                <a:gd name="T8" fmla="*/ 0 w 159"/>
                <a:gd name="T9" fmla="*/ 0 h 259"/>
                <a:gd name="T10" fmla="*/ 0 w 159"/>
                <a:gd name="T11" fmla="*/ 0 h 259"/>
                <a:gd name="T12" fmla="*/ 0 w 159"/>
                <a:gd name="T13" fmla="*/ 0 h 259"/>
                <a:gd name="T14" fmla="*/ 0 w 159"/>
                <a:gd name="T15" fmla="*/ 0 h 259"/>
                <a:gd name="T16" fmla="*/ 0 w 159"/>
                <a:gd name="T17" fmla="*/ 0 h 259"/>
                <a:gd name="T18" fmla="*/ 0 w 159"/>
                <a:gd name="T19" fmla="*/ 0 h 259"/>
                <a:gd name="T20" fmla="*/ 0 w 159"/>
                <a:gd name="T21" fmla="*/ 0 h 259"/>
                <a:gd name="T22" fmla="*/ 0 w 159"/>
                <a:gd name="T23" fmla="*/ 0 h 259"/>
                <a:gd name="T24" fmla="*/ 0 w 159"/>
                <a:gd name="T25" fmla="*/ 0 h 259"/>
                <a:gd name="T26" fmla="*/ 0 w 159"/>
                <a:gd name="T27" fmla="*/ 0 h 259"/>
                <a:gd name="T28" fmla="*/ 0 w 159"/>
                <a:gd name="T29" fmla="*/ 0 h 259"/>
                <a:gd name="T30" fmla="*/ 0 w 159"/>
                <a:gd name="T31" fmla="*/ 0 h 259"/>
                <a:gd name="T32" fmla="*/ 0 w 159"/>
                <a:gd name="T33" fmla="*/ 0 h 259"/>
                <a:gd name="T34" fmla="*/ 0 w 159"/>
                <a:gd name="T35" fmla="*/ 0 h 259"/>
                <a:gd name="T36" fmla="*/ 0 w 159"/>
                <a:gd name="T37" fmla="*/ 0 h 259"/>
                <a:gd name="T38" fmla="*/ 0 w 159"/>
                <a:gd name="T39" fmla="*/ 0 h 259"/>
                <a:gd name="T40" fmla="*/ 0 w 159"/>
                <a:gd name="T41" fmla="*/ 0 h 259"/>
                <a:gd name="T42" fmla="*/ 0 w 159"/>
                <a:gd name="T43" fmla="*/ 0 h 259"/>
                <a:gd name="T44" fmla="*/ 0 w 159"/>
                <a:gd name="T45" fmla="*/ 0 h 259"/>
                <a:gd name="T46" fmla="*/ 0 w 159"/>
                <a:gd name="T47" fmla="*/ 0 h 259"/>
                <a:gd name="T48" fmla="*/ 0 w 159"/>
                <a:gd name="T49" fmla="*/ 0 h 259"/>
                <a:gd name="T50" fmla="*/ 0 w 159"/>
                <a:gd name="T51" fmla="*/ 0 h 259"/>
                <a:gd name="T52" fmla="*/ 0 w 159"/>
                <a:gd name="T53" fmla="*/ 0 h 259"/>
                <a:gd name="T54" fmla="*/ 0 w 159"/>
                <a:gd name="T55" fmla="*/ 0 h 259"/>
                <a:gd name="T56" fmla="*/ 0 w 159"/>
                <a:gd name="T57" fmla="*/ 0 h 259"/>
                <a:gd name="T58" fmla="*/ 0 w 159"/>
                <a:gd name="T59" fmla="*/ 0 h 259"/>
                <a:gd name="T60" fmla="*/ 0 w 159"/>
                <a:gd name="T61" fmla="*/ 0 h 259"/>
                <a:gd name="T62" fmla="*/ 0 w 159"/>
                <a:gd name="T63" fmla="*/ 0 h 259"/>
                <a:gd name="T64" fmla="*/ 0 w 159"/>
                <a:gd name="T65" fmla="*/ 0 h 259"/>
                <a:gd name="T66" fmla="*/ 0 w 159"/>
                <a:gd name="T67" fmla="*/ 0 h 259"/>
                <a:gd name="T68" fmla="*/ 0 w 159"/>
                <a:gd name="T69" fmla="*/ 0 h 259"/>
                <a:gd name="T70" fmla="*/ 0 w 159"/>
                <a:gd name="T71" fmla="*/ 0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6" name="Line 743"/>
            <p:cNvSpPr>
              <a:spLocks noChangeShapeType="1"/>
            </p:cNvSpPr>
            <p:nvPr>
              <p:custDataLst>
                <p:tags r:id="rId104"/>
              </p:custDataLst>
            </p:nvPr>
          </p:nvSpPr>
          <p:spPr bwMode="auto">
            <a:xfrm flipH="1" flipV="1">
              <a:off x="5197" y="2605"/>
              <a:ext cx="4" cy="2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7" name="Freeform 744"/>
            <p:cNvSpPr>
              <a:spLocks/>
            </p:cNvSpPr>
            <p:nvPr>
              <p:custDataLst>
                <p:tags r:id="rId105"/>
              </p:custDataLst>
            </p:nvPr>
          </p:nvSpPr>
          <p:spPr bwMode="auto">
            <a:xfrm>
              <a:off x="5197" y="2595"/>
              <a:ext cx="4" cy="10"/>
            </a:xfrm>
            <a:custGeom>
              <a:avLst/>
              <a:gdLst>
                <a:gd name="T0" fmla="*/ 0 w 13"/>
                <a:gd name="T1" fmla="*/ 0 h 25"/>
                <a:gd name="T2" fmla="*/ 0 w 13"/>
                <a:gd name="T3" fmla="*/ 0 h 25"/>
                <a:gd name="T4" fmla="*/ 0 w 13"/>
                <a:gd name="T5" fmla="*/ 0 h 25"/>
                <a:gd name="T6" fmla="*/ 0 w 13"/>
                <a:gd name="T7" fmla="*/ 0 h 25"/>
                <a:gd name="T8" fmla="*/ 0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8" name="Line 745"/>
            <p:cNvSpPr>
              <a:spLocks noChangeShapeType="1"/>
            </p:cNvSpPr>
            <p:nvPr>
              <p:custDataLst>
                <p:tags r:id="rId106"/>
              </p:custDataLst>
            </p:nvPr>
          </p:nvSpPr>
          <p:spPr bwMode="auto">
            <a:xfrm flipV="1">
              <a:off x="5201" y="2587"/>
              <a:ext cx="0"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9" name="Freeform 746"/>
            <p:cNvSpPr>
              <a:spLocks/>
            </p:cNvSpPr>
            <p:nvPr>
              <p:custDataLst>
                <p:tags r:id="rId107"/>
              </p:custDataLst>
            </p:nvPr>
          </p:nvSpPr>
          <p:spPr bwMode="auto">
            <a:xfrm>
              <a:off x="5170" y="2545"/>
              <a:ext cx="31" cy="42"/>
            </a:xfrm>
            <a:custGeom>
              <a:avLst/>
              <a:gdLst>
                <a:gd name="T0" fmla="*/ 0 w 100"/>
                <a:gd name="T1" fmla="*/ 0 h 123"/>
                <a:gd name="T2" fmla="*/ 0 w 100"/>
                <a:gd name="T3" fmla="*/ 0 h 123"/>
                <a:gd name="T4" fmla="*/ 0 w 100"/>
                <a:gd name="T5" fmla="*/ 0 h 123"/>
                <a:gd name="T6" fmla="*/ 0 w 100"/>
                <a:gd name="T7" fmla="*/ 0 h 123"/>
                <a:gd name="T8" fmla="*/ 0 w 100"/>
                <a:gd name="T9" fmla="*/ 0 h 123"/>
                <a:gd name="T10" fmla="*/ 0 w 100"/>
                <a:gd name="T11" fmla="*/ 0 h 123"/>
                <a:gd name="T12" fmla="*/ 0 w 100"/>
                <a:gd name="T13" fmla="*/ 0 h 123"/>
                <a:gd name="T14" fmla="*/ 0 w 100"/>
                <a:gd name="T15" fmla="*/ 0 h 123"/>
                <a:gd name="T16" fmla="*/ 0 w 100"/>
                <a:gd name="T17" fmla="*/ 0 h 123"/>
                <a:gd name="T18" fmla="*/ 0 w 100"/>
                <a:gd name="T19" fmla="*/ 0 h 123"/>
                <a:gd name="T20" fmla="*/ 0 w 100"/>
                <a:gd name="T21" fmla="*/ 0 h 123"/>
                <a:gd name="T22" fmla="*/ 0 w 100"/>
                <a:gd name="T23" fmla="*/ 0 h 123"/>
                <a:gd name="T24" fmla="*/ 0 w 100"/>
                <a:gd name="T25" fmla="*/ 0 h 123"/>
                <a:gd name="T26" fmla="*/ 0 w 100"/>
                <a:gd name="T27" fmla="*/ 0 h 123"/>
                <a:gd name="T28" fmla="*/ 0 w 100"/>
                <a:gd name="T29" fmla="*/ 0 h 123"/>
                <a:gd name="T30" fmla="*/ 0 w 100"/>
                <a:gd name="T31" fmla="*/ 0 h 123"/>
                <a:gd name="T32" fmla="*/ 0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0" name="Freeform 747"/>
            <p:cNvSpPr>
              <a:spLocks/>
            </p:cNvSpPr>
            <p:nvPr>
              <p:custDataLst>
                <p:tags r:id="rId108"/>
              </p:custDataLst>
            </p:nvPr>
          </p:nvSpPr>
          <p:spPr bwMode="auto">
            <a:xfrm>
              <a:off x="5179" y="2509"/>
              <a:ext cx="2" cy="32"/>
            </a:xfrm>
            <a:custGeom>
              <a:avLst/>
              <a:gdLst>
                <a:gd name="T0" fmla="*/ 0 w 5"/>
                <a:gd name="T1" fmla="*/ 0 h 99"/>
                <a:gd name="T2" fmla="*/ 0 w 5"/>
                <a:gd name="T3" fmla="*/ 0 h 99"/>
                <a:gd name="T4" fmla="*/ 0 w 5"/>
                <a:gd name="T5" fmla="*/ 0 h 99"/>
                <a:gd name="T6" fmla="*/ 0 w 5"/>
                <a:gd name="T7" fmla="*/ 0 h 99"/>
                <a:gd name="T8" fmla="*/ 0 w 5"/>
                <a:gd name="T9" fmla="*/ 0 h 99"/>
                <a:gd name="T10" fmla="*/ 0 w 5"/>
                <a:gd name="T11" fmla="*/ 0 h 99"/>
                <a:gd name="T12" fmla="*/ 0 w 5"/>
                <a:gd name="T13" fmla="*/ 0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1" name="Freeform 748"/>
            <p:cNvSpPr>
              <a:spLocks/>
            </p:cNvSpPr>
            <p:nvPr>
              <p:custDataLst>
                <p:tags r:id="rId109"/>
              </p:custDataLst>
            </p:nvPr>
          </p:nvSpPr>
          <p:spPr bwMode="auto">
            <a:xfrm>
              <a:off x="5184" y="2505"/>
              <a:ext cx="5" cy="23"/>
            </a:xfrm>
            <a:custGeom>
              <a:avLst/>
              <a:gdLst>
                <a:gd name="T0" fmla="*/ 0 w 14"/>
                <a:gd name="T1" fmla="*/ 0 h 68"/>
                <a:gd name="T2" fmla="*/ 0 w 14"/>
                <a:gd name="T3" fmla="*/ 0 h 68"/>
                <a:gd name="T4" fmla="*/ 0 w 14"/>
                <a:gd name="T5" fmla="*/ 0 h 68"/>
                <a:gd name="T6" fmla="*/ 0 w 14"/>
                <a:gd name="T7" fmla="*/ 0 h 68"/>
                <a:gd name="T8" fmla="*/ 0 w 14"/>
                <a:gd name="T9" fmla="*/ 0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2" name="Freeform 749"/>
            <p:cNvSpPr>
              <a:spLocks/>
            </p:cNvSpPr>
            <p:nvPr>
              <p:custDataLst>
                <p:tags r:id="rId110"/>
              </p:custDataLst>
            </p:nvPr>
          </p:nvSpPr>
          <p:spPr bwMode="auto">
            <a:xfrm>
              <a:off x="5195" y="2493"/>
              <a:ext cx="1" cy="14"/>
            </a:xfrm>
            <a:custGeom>
              <a:avLst/>
              <a:gdLst>
                <a:gd name="T0" fmla="*/ 0 w 1"/>
                <a:gd name="T1" fmla="*/ 0 h 43"/>
                <a:gd name="T2" fmla="*/ 0 w 1"/>
                <a:gd name="T3" fmla="*/ 0 h 43"/>
                <a:gd name="T4" fmla="*/ 0 w 1"/>
                <a:gd name="T5" fmla="*/ 0 h 43"/>
                <a:gd name="T6" fmla="*/ 0 w 1"/>
                <a:gd name="T7" fmla="*/ 0 h 43"/>
                <a:gd name="T8" fmla="*/ 0 w 1"/>
                <a:gd name="T9" fmla="*/ 0 h 43"/>
                <a:gd name="T10" fmla="*/ 0 60000 65536"/>
                <a:gd name="T11" fmla="*/ 0 60000 65536"/>
                <a:gd name="T12" fmla="*/ 0 60000 65536"/>
                <a:gd name="T13" fmla="*/ 0 60000 65536"/>
                <a:gd name="T14" fmla="*/ 0 60000 65536"/>
                <a:gd name="T15" fmla="*/ 0 w 1"/>
                <a:gd name="T16" fmla="*/ 0 h 43"/>
                <a:gd name="T17" fmla="*/ 1 w 1"/>
                <a:gd name="T18" fmla="*/ 43 h 43"/>
              </a:gdLst>
              <a:ahLst/>
              <a:cxnLst>
                <a:cxn ang="T10">
                  <a:pos x="T0" y="T1"/>
                </a:cxn>
                <a:cxn ang="T11">
                  <a:pos x="T2" y="T3"/>
                </a:cxn>
                <a:cxn ang="T12">
                  <a:pos x="T4" y="T5"/>
                </a:cxn>
                <a:cxn ang="T13">
                  <a:pos x="T6" y="T7"/>
                </a:cxn>
                <a:cxn ang="T14">
                  <a:pos x="T8" y="T9"/>
                </a:cxn>
              </a:cxnLst>
              <a:rect l="T15" t="T16" r="T17" b="T18"/>
              <a:pathLst>
                <a:path w="1" h="43">
                  <a:moveTo>
                    <a:pt x="0" y="0"/>
                  </a:moveTo>
                  <a:lnTo>
                    <a:pt x="0" y="13"/>
                  </a:lnTo>
                  <a:lnTo>
                    <a:pt x="0" y="26"/>
                  </a:lnTo>
                  <a:lnTo>
                    <a:pt x="0"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3" name="Line 750"/>
            <p:cNvSpPr>
              <a:spLocks noChangeShapeType="1"/>
            </p:cNvSpPr>
            <p:nvPr>
              <p:custDataLst>
                <p:tags r:id="rId111"/>
              </p:custDataLst>
            </p:nvPr>
          </p:nvSpPr>
          <p:spPr bwMode="auto">
            <a:xfrm flipV="1">
              <a:off x="5195" y="2505"/>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64" name="Freeform 751"/>
            <p:cNvSpPr>
              <a:spLocks/>
            </p:cNvSpPr>
            <p:nvPr>
              <p:custDataLst>
                <p:tags r:id="rId112"/>
              </p:custDataLst>
            </p:nvPr>
          </p:nvSpPr>
          <p:spPr bwMode="auto">
            <a:xfrm>
              <a:off x="5184" y="2495"/>
              <a:ext cx="1" cy="10"/>
            </a:xfrm>
            <a:custGeom>
              <a:avLst/>
              <a:gdLst>
                <a:gd name="T0" fmla="*/ 0 w 1"/>
                <a:gd name="T1" fmla="*/ 0 h 31"/>
                <a:gd name="T2" fmla="*/ 0 w 1"/>
                <a:gd name="T3" fmla="*/ 0 h 31"/>
                <a:gd name="T4" fmla="*/ 0 w 1"/>
                <a:gd name="T5" fmla="*/ 0 h 31"/>
                <a:gd name="T6" fmla="*/ 0 w 1"/>
                <a:gd name="T7" fmla="*/ 0 h 31"/>
                <a:gd name="T8" fmla="*/ 0 w 1"/>
                <a:gd name="T9" fmla="*/ 0 h 31"/>
                <a:gd name="T10" fmla="*/ 0 60000 65536"/>
                <a:gd name="T11" fmla="*/ 0 60000 65536"/>
                <a:gd name="T12" fmla="*/ 0 60000 65536"/>
                <a:gd name="T13" fmla="*/ 0 60000 65536"/>
                <a:gd name="T14" fmla="*/ 0 60000 65536"/>
                <a:gd name="T15" fmla="*/ 0 w 1"/>
                <a:gd name="T16" fmla="*/ 0 h 31"/>
                <a:gd name="T17" fmla="*/ 1 w 1"/>
                <a:gd name="T18" fmla="*/ 31 h 31"/>
              </a:gdLst>
              <a:ahLst/>
              <a:cxnLst>
                <a:cxn ang="T10">
                  <a:pos x="T0" y="T1"/>
                </a:cxn>
                <a:cxn ang="T11">
                  <a:pos x="T2" y="T3"/>
                </a:cxn>
                <a:cxn ang="T12">
                  <a:pos x="T4" y="T5"/>
                </a:cxn>
                <a:cxn ang="T13">
                  <a:pos x="T6" y="T7"/>
                </a:cxn>
                <a:cxn ang="T14">
                  <a:pos x="T8" y="T9"/>
                </a:cxn>
              </a:cxnLst>
              <a:rect l="T15" t="T16" r="T17" b="T18"/>
              <a:pathLst>
                <a:path w="1" h="31">
                  <a:moveTo>
                    <a:pt x="0" y="31"/>
                  </a:moveTo>
                  <a:lnTo>
                    <a:pt x="0" y="22"/>
                  </a:lnTo>
                  <a:lnTo>
                    <a:pt x="0"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5" name="Freeform 752"/>
            <p:cNvSpPr>
              <a:spLocks/>
            </p:cNvSpPr>
            <p:nvPr>
              <p:custDataLst>
                <p:tags r:id="rId113"/>
              </p:custDataLst>
            </p:nvPr>
          </p:nvSpPr>
          <p:spPr bwMode="auto">
            <a:xfrm>
              <a:off x="4993" y="3118"/>
              <a:ext cx="66" cy="55"/>
            </a:xfrm>
            <a:custGeom>
              <a:avLst/>
              <a:gdLst>
                <a:gd name="T0" fmla="*/ 0 w 225"/>
                <a:gd name="T1" fmla="*/ 0 h 167"/>
                <a:gd name="T2" fmla="*/ 0 w 225"/>
                <a:gd name="T3" fmla="*/ 0 h 167"/>
                <a:gd name="T4" fmla="*/ 0 w 225"/>
                <a:gd name="T5" fmla="*/ 0 h 167"/>
                <a:gd name="T6" fmla="*/ 0 w 225"/>
                <a:gd name="T7" fmla="*/ 0 h 167"/>
                <a:gd name="T8" fmla="*/ 0 w 225"/>
                <a:gd name="T9" fmla="*/ 0 h 167"/>
                <a:gd name="T10" fmla="*/ 0 w 225"/>
                <a:gd name="T11" fmla="*/ 0 h 167"/>
                <a:gd name="T12" fmla="*/ 0 w 225"/>
                <a:gd name="T13" fmla="*/ 0 h 167"/>
                <a:gd name="T14" fmla="*/ 0 w 225"/>
                <a:gd name="T15" fmla="*/ 0 h 167"/>
                <a:gd name="T16" fmla="*/ 0 w 225"/>
                <a:gd name="T17" fmla="*/ 0 h 167"/>
                <a:gd name="T18" fmla="*/ 0 w 225"/>
                <a:gd name="T19" fmla="*/ 0 h 167"/>
                <a:gd name="T20" fmla="*/ 0 w 225"/>
                <a:gd name="T21" fmla="*/ 0 h 167"/>
                <a:gd name="T22" fmla="*/ 0 w 225"/>
                <a:gd name="T23" fmla="*/ 0 h 167"/>
                <a:gd name="T24" fmla="*/ 0 w 225"/>
                <a:gd name="T25" fmla="*/ 0 h 167"/>
                <a:gd name="T26" fmla="*/ 0 w 225"/>
                <a:gd name="T27" fmla="*/ 0 h 167"/>
                <a:gd name="T28" fmla="*/ 0 w 225"/>
                <a:gd name="T29" fmla="*/ 0 h 167"/>
                <a:gd name="T30" fmla="*/ 0 w 225"/>
                <a:gd name="T31" fmla="*/ 0 h 167"/>
                <a:gd name="T32" fmla="*/ 0 w 225"/>
                <a:gd name="T33" fmla="*/ 0 h 167"/>
                <a:gd name="T34" fmla="*/ 0 w 225"/>
                <a:gd name="T35" fmla="*/ 0 h 167"/>
                <a:gd name="T36" fmla="*/ 0 w 225"/>
                <a:gd name="T37" fmla="*/ 0 h 167"/>
                <a:gd name="T38" fmla="*/ 0 w 225"/>
                <a:gd name="T39" fmla="*/ 0 h 167"/>
                <a:gd name="T40" fmla="*/ 0 w 225"/>
                <a:gd name="T41" fmla="*/ 0 h 167"/>
                <a:gd name="T42" fmla="*/ 0 w 225"/>
                <a:gd name="T43" fmla="*/ 0 h 167"/>
                <a:gd name="T44" fmla="*/ 0 w 225"/>
                <a:gd name="T45" fmla="*/ 0 h 167"/>
                <a:gd name="T46" fmla="*/ 0 w 225"/>
                <a:gd name="T47" fmla="*/ 0 h 167"/>
                <a:gd name="T48" fmla="*/ 0 w 225"/>
                <a:gd name="T49" fmla="*/ 0 h 167"/>
                <a:gd name="T50" fmla="*/ 0 w 225"/>
                <a:gd name="T51" fmla="*/ 0 h 167"/>
                <a:gd name="T52" fmla="*/ 0 w 225"/>
                <a:gd name="T53" fmla="*/ 0 h 167"/>
                <a:gd name="T54" fmla="*/ 0 w 225"/>
                <a:gd name="T55" fmla="*/ 0 h 167"/>
                <a:gd name="T56" fmla="*/ 0 w 225"/>
                <a:gd name="T57" fmla="*/ 0 h 167"/>
                <a:gd name="T58" fmla="*/ 0 w 225"/>
                <a:gd name="T59" fmla="*/ 0 h 167"/>
                <a:gd name="T60" fmla="*/ 0 w 225"/>
                <a:gd name="T61" fmla="*/ 0 h 167"/>
                <a:gd name="T62" fmla="*/ 0 w 225"/>
                <a:gd name="T63" fmla="*/ 0 h 167"/>
                <a:gd name="T64" fmla="*/ 0 w 225"/>
                <a:gd name="T65" fmla="*/ 0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6" name="Freeform 753"/>
            <p:cNvSpPr>
              <a:spLocks/>
            </p:cNvSpPr>
            <p:nvPr>
              <p:custDataLst>
                <p:tags r:id="rId114"/>
              </p:custDataLst>
            </p:nvPr>
          </p:nvSpPr>
          <p:spPr bwMode="auto">
            <a:xfrm>
              <a:off x="5087" y="2626"/>
              <a:ext cx="3" cy="11"/>
            </a:xfrm>
            <a:custGeom>
              <a:avLst/>
              <a:gdLst>
                <a:gd name="T0" fmla="*/ 0 w 7"/>
                <a:gd name="T1" fmla="*/ 0 h 31"/>
                <a:gd name="T2" fmla="*/ 0 w 7"/>
                <a:gd name="T3" fmla="*/ 0 h 31"/>
                <a:gd name="T4" fmla="*/ 0 w 7"/>
                <a:gd name="T5" fmla="*/ 0 h 31"/>
                <a:gd name="T6" fmla="*/ 0 w 7"/>
                <a:gd name="T7" fmla="*/ 0 h 31"/>
                <a:gd name="T8" fmla="*/ 0 w 7"/>
                <a:gd name="T9" fmla="*/ 0 h 31"/>
                <a:gd name="T10" fmla="*/ 0 w 7"/>
                <a:gd name="T11" fmla="*/ 0 h 31"/>
                <a:gd name="T12" fmla="*/ 0 w 7"/>
                <a:gd name="T13" fmla="*/ 0 h 31"/>
                <a:gd name="T14" fmla="*/ 0 w 7"/>
                <a:gd name="T15" fmla="*/ 0 h 31"/>
                <a:gd name="T16" fmla="*/ 0 w 7"/>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7" name="Freeform 754"/>
            <p:cNvSpPr>
              <a:spLocks/>
            </p:cNvSpPr>
            <p:nvPr>
              <p:custDataLst>
                <p:tags r:id="rId115"/>
              </p:custDataLst>
            </p:nvPr>
          </p:nvSpPr>
          <p:spPr bwMode="auto">
            <a:xfrm>
              <a:off x="5042" y="2577"/>
              <a:ext cx="11" cy="10"/>
            </a:xfrm>
            <a:custGeom>
              <a:avLst/>
              <a:gdLst>
                <a:gd name="T0" fmla="*/ 0 w 33"/>
                <a:gd name="T1" fmla="*/ 0 h 31"/>
                <a:gd name="T2" fmla="*/ 0 w 33"/>
                <a:gd name="T3" fmla="*/ 0 h 31"/>
                <a:gd name="T4" fmla="*/ 0 w 33"/>
                <a:gd name="T5" fmla="*/ 0 h 31"/>
                <a:gd name="T6" fmla="*/ 0 w 33"/>
                <a:gd name="T7" fmla="*/ 0 h 31"/>
                <a:gd name="T8" fmla="*/ 0 w 33"/>
                <a:gd name="T9" fmla="*/ 0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0 h 31"/>
                <a:gd name="T22" fmla="*/ 0 w 33"/>
                <a:gd name="T23" fmla="*/ 0 h 31"/>
                <a:gd name="T24" fmla="*/ 0 w 33"/>
                <a:gd name="T25" fmla="*/ 0 h 31"/>
                <a:gd name="T26" fmla="*/ 0 w 33"/>
                <a:gd name="T27" fmla="*/ 0 h 31"/>
                <a:gd name="T28" fmla="*/ 0 w 33"/>
                <a:gd name="T29" fmla="*/ 0 h 31"/>
                <a:gd name="T30" fmla="*/ 0 w 33"/>
                <a:gd name="T31" fmla="*/ 0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8" name="Freeform 755"/>
            <p:cNvSpPr>
              <a:spLocks/>
            </p:cNvSpPr>
            <p:nvPr>
              <p:custDataLst>
                <p:tags r:id="rId116"/>
              </p:custDataLst>
            </p:nvPr>
          </p:nvSpPr>
          <p:spPr bwMode="auto">
            <a:xfrm>
              <a:off x="5053" y="2522"/>
              <a:ext cx="2" cy="6"/>
            </a:xfrm>
            <a:custGeom>
              <a:avLst/>
              <a:gdLst>
                <a:gd name="T0" fmla="*/ 0 w 13"/>
                <a:gd name="T1" fmla="*/ 0 h 19"/>
                <a:gd name="T2" fmla="*/ 0 w 13"/>
                <a:gd name="T3" fmla="*/ 0 h 19"/>
                <a:gd name="T4" fmla="*/ 0 w 13"/>
                <a:gd name="T5" fmla="*/ 0 h 19"/>
                <a:gd name="T6" fmla="*/ 0 w 13"/>
                <a:gd name="T7" fmla="*/ 0 h 19"/>
                <a:gd name="T8" fmla="*/ 0 w 13"/>
                <a:gd name="T9" fmla="*/ 0 h 19"/>
                <a:gd name="T10" fmla="*/ 0 w 13"/>
                <a:gd name="T11" fmla="*/ 0 h 19"/>
                <a:gd name="T12" fmla="*/ 0 w 13"/>
                <a:gd name="T13" fmla="*/ 0 h 19"/>
                <a:gd name="T14" fmla="*/ 0 w 13"/>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9" name="Freeform 756"/>
            <p:cNvSpPr>
              <a:spLocks/>
            </p:cNvSpPr>
            <p:nvPr>
              <p:custDataLst>
                <p:tags r:id="rId117"/>
              </p:custDataLst>
            </p:nvPr>
          </p:nvSpPr>
          <p:spPr bwMode="auto">
            <a:xfrm>
              <a:off x="4943" y="2524"/>
              <a:ext cx="25" cy="14"/>
            </a:xfrm>
            <a:custGeom>
              <a:avLst/>
              <a:gdLst>
                <a:gd name="T0" fmla="*/ 0 w 87"/>
                <a:gd name="T1" fmla="*/ 0 h 42"/>
                <a:gd name="T2" fmla="*/ 0 w 87"/>
                <a:gd name="T3" fmla="*/ 0 h 42"/>
                <a:gd name="T4" fmla="*/ 0 w 87"/>
                <a:gd name="T5" fmla="*/ 0 h 42"/>
                <a:gd name="T6" fmla="*/ 0 w 87"/>
                <a:gd name="T7" fmla="*/ 0 h 42"/>
                <a:gd name="T8" fmla="*/ 0 w 87"/>
                <a:gd name="T9" fmla="*/ 0 h 42"/>
                <a:gd name="T10" fmla="*/ 0 w 87"/>
                <a:gd name="T11" fmla="*/ 0 h 42"/>
                <a:gd name="T12" fmla="*/ 0 w 87"/>
                <a:gd name="T13" fmla="*/ 0 h 42"/>
                <a:gd name="T14" fmla="*/ 0 w 87"/>
                <a:gd name="T15" fmla="*/ 0 h 42"/>
                <a:gd name="T16" fmla="*/ 0 w 87"/>
                <a:gd name="T17" fmla="*/ 0 h 42"/>
                <a:gd name="T18" fmla="*/ 0 w 87"/>
                <a:gd name="T19" fmla="*/ 0 h 42"/>
                <a:gd name="T20" fmla="*/ 0 w 87"/>
                <a:gd name="T21" fmla="*/ 0 h 42"/>
                <a:gd name="T22" fmla="*/ 0 w 87"/>
                <a:gd name="T23" fmla="*/ 0 h 42"/>
                <a:gd name="T24" fmla="*/ 0 w 87"/>
                <a:gd name="T25" fmla="*/ 0 h 42"/>
                <a:gd name="T26" fmla="*/ 0 w 87"/>
                <a:gd name="T27" fmla="*/ 0 h 42"/>
                <a:gd name="T28" fmla="*/ 0 w 87"/>
                <a:gd name="T29" fmla="*/ 0 h 42"/>
                <a:gd name="T30" fmla="*/ 0 w 87"/>
                <a:gd name="T31" fmla="*/ 0 h 42"/>
                <a:gd name="T32" fmla="*/ 0 w 87"/>
                <a:gd name="T33" fmla="*/ 0 h 42"/>
                <a:gd name="T34" fmla="*/ 0 w 87"/>
                <a:gd name="T35" fmla="*/ 0 h 42"/>
                <a:gd name="T36" fmla="*/ 0 w 87"/>
                <a:gd name="T37" fmla="*/ 0 h 42"/>
                <a:gd name="T38" fmla="*/ 0 w 87"/>
                <a:gd name="T39" fmla="*/ 0 h 42"/>
                <a:gd name="T40" fmla="*/ 0 w 87"/>
                <a:gd name="T41" fmla="*/ 0 h 42"/>
                <a:gd name="T42" fmla="*/ 0 w 87"/>
                <a:gd name="T43" fmla="*/ 0 h 42"/>
                <a:gd name="T44" fmla="*/ 0 w 87"/>
                <a:gd name="T45" fmla="*/ 0 h 42"/>
                <a:gd name="T46" fmla="*/ 0 w 87"/>
                <a:gd name="T47" fmla="*/ 0 h 42"/>
                <a:gd name="T48" fmla="*/ 0 w 87"/>
                <a:gd name="T49" fmla="*/ 0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0" name="Freeform 757"/>
            <p:cNvSpPr>
              <a:spLocks/>
            </p:cNvSpPr>
            <p:nvPr>
              <p:custDataLst>
                <p:tags r:id="rId118"/>
              </p:custDataLst>
            </p:nvPr>
          </p:nvSpPr>
          <p:spPr bwMode="auto">
            <a:xfrm>
              <a:off x="5110" y="2816"/>
              <a:ext cx="1" cy="9"/>
            </a:xfrm>
            <a:custGeom>
              <a:avLst/>
              <a:gdLst>
                <a:gd name="T0" fmla="*/ 0 w 7"/>
                <a:gd name="T1" fmla="*/ 0 h 31"/>
                <a:gd name="T2" fmla="*/ 0 w 7"/>
                <a:gd name="T3" fmla="*/ 0 h 31"/>
                <a:gd name="T4" fmla="*/ 0 w 7"/>
                <a:gd name="T5" fmla="*/ 0 h 31"/>
                <a:gd name="T6" fmla="*/ 0 w 7"/>
                <a:gd name="T7" fmla="*/ 0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1" name="Freeform 758"/>
            <p:cNvSpPr>
              <a:spLocks/>
            </p:cNvSpPr>
            <p:nvPr>
              <p:custDataLst>
                <p:tags r:id="rId119"/>
              </p:custDataLst>
            </p:nvPr>
          </p:nvSpPr>
          <p:spPr bwMode="auto">
            <a:xfrm>
              <a:off x="4589" y="2505"/>
              <a:ext cx="696" cy="572"/>
            </a:xfrm>
            <a:custGeom>
              <a:avLst/>
              <a:gdLst>
                <a:gd name="T0" fmla="*/ 0 w 2332"/>
                <a:gd name="T1" fmla="*/ 0 h 1731"/>
                <a:gd name="T2" fmla="*/ 0 w 2332"/>
                <a:gd name="T3" fmla="*/ 0 h 1731"/>
                <a:gd name="T4" fmla="*/ 0 w 2332"/>
                <a:gd name="T5" fmla="*/ 0 h 1731"/>
                <a:gd name="T6" fmla="*/ 0 w 2332"/>
                <a:gd name="T7" fmla="*/ 0 h 1731"/>
                <a:gd name="T8" fmla="*/ 0 w 2332"/>
                <a:gd name="T9" fmla="*/ 0 h 1731"/>
                <a:gd name="T10" fmla="*/ 0 w 2332"/>
                <a:gd name="T11" fmla="*/ 0 h 1731"/>
                <a:gd name="T12" fmla="*/ 0 w 2332"/>
                <a:gd name="T13" fmla="*/ 0 h 1731"/>
                <a:gd name="T14" fmla="*/ 0 w 2332"/>
                <a:gd name="T15" fmla="*/ 0 h 1731"/>
                <a:gd name="T16" fmla="*/ 0 w 2332"/>
                <a:gd name="T17" fmla="*/ 0 h 1731"/>
                <a:gd name="T18" fmla="*/ 0 w 2332"/>
                <a:gd name="T19" fmla="*/ 0 h 1731"/>
                <a:gd name="T20" fmla="*/ 0 w 2332"/>
                <a:gd name="T21" fmla="*/ 0 h 1731"/>
                <a:gd name="T22" fmla="*/ 0 w 2332"/>
                <a:gd name="T23" fmla="*/ 0 h 1731"/>
                <a:gd name="T24" fmla="*/ 0 w 2332"/>
                <a:gd name="T25" fmla="*/ 0 h 1731"/>
                <a:gd name="T26" fmla="*/ 0 w 2332"/>
                <a:gd name="T27" fmla="*/ 0 h 1731"/>
                <a:gd name="T28" fmla="*/ 0 w 2332"/>
                <a:gd name="T29" fmla="*/ 0 h 1731"/>
                <a:gd name="T30" fmla="*/ 0 w 2332"/>
                <a:gd name="T31" fmla="*/ 0 h 1731"/>
                <a:gd name="T32" fmla="*/ 0 w 2332"/>
                <a:gd name="T33" fmla="*/ 0 h 1731"/>
                <a:gd name="T34" fmla="*/ 0 w 2332"/>
                <a:gd name="T35" fmla="*/ 0 h 1731"/>
                <a:gd name="T36" fmla="*/ 0 w 2332"/>
                <a:gd name="T37" fmla="*/ 0 h 1731"/>
                <a:gd name="T38" fmla="*/ 0 w 2332"/>
                <a:gd name="T39" fmla="*/ 0 h 1731"/>
                <a:gd name="T40" fmla="*/ 0 w 2332"/>
                <a:gd name="T41" fmla="*/ 0 h 1731"/>
                <a:gd name="T42" fmla="*/ 0 w 2332"/>
                <a:gd name="T43" fmla="*/ 0 h 1731"/>
                <a:gd name="T44" fmla="*/ 0 w 2332"/>
                <a:gd name="T45" fmla="*/ 0 h 1731"/>
                <a:gd name="T46" fmla="*/ 0 w 2332"/>
                <a:gd name="T47" fmla="*/ 0 h 1731"/>
                <a:gd name="T48" fmla="*/ 0 w 2332"/>
                <a:gd name="T49" fmla="*/ 0 h 1731"/>
                <a:gd name="T50" fmla="*/ 0 w 2332"/>
                <a:gd name="T51" fmla="*/ 0 h 1731"/>
                <a:gd name="T52" fmla="*/ 0 w 2332"/>
                <a:gd name="T53" fmla="*/ 0 h 1731"/>
                <a:gd name="T54" fmla="*/ 0 w 2332"/>
                <a:gd name="T55" fmla="*/ 0 h 1731"/>
                <a:gd name="T56" fmla="*/ 0 w 2332"/>
                <a:gd name="T57" fmla="*/ 0 h 1731"/>
                <a:gd name="T58" fmla="*/ 0 w 2332"/>
                <a:gd name="T59" fmla="*/ 0 h 1731"/>
                <a:gd name="T60" fmla="*/ 0 w 2332"/>
                <a:gd name="T61" fmla="*/ 0 h 1731"/>
                <a:gd name="T62" fmla="*/ 0 w 2332"/>
                <a:gd name="T63" fmla="*/ 0 h 1731"/>
                <a:gd name="T64" fmla="*/ 0 w 2332"/>
                <a:gd name="T65" fmla="*/ 0 h 1731"/>
                <a:gd name="T66" fmla="*/ 0 w 2332"/>
                <a:gd name="T67" fmla="*/ 0 h 1731"/>
                <a:gd name="T68" fmla="*/ 0 w 2332"/>
                <a:gd name="T69" fmla="*/ 0 h 1731"/>
                <a:gd name="T70" fmla="*/ 0 w 2332"/>
                <a:gd name="T71" fmla="*/ 0 h 1731"/>
                <a:gd name="T72" fmla="*/ 0 w 2332"/>
                <a:gd name="T73" fmla="*/ 0 h 1731"/>
                <a:gd name="T74" fmla="*/ 0 w 2332"/>
                <a:gd name="T75" fmla="*/ 0 h 1731"/>
                <a:gd name="T76" fmla="*/ 0 w 2332"/>
                <a:gd name="T77" fmla="*/ 0 h 1731"/>
                <a:gd name="T78" fmla="*/ 0 w 2332"/>
                <a:gd name="T79" fmla="*/ 0 h 1731"/>
                <a:gd name="T80" fmla="*/ 0 w 2332"/>
                <a:gd name="T81" fmla="*/ 0 h 1731"/>
                <a:gd name="T82" fmla="*/ 0 w 2332"/>
                <a:gd name="T83" fmla="*/ 0 h 1731"/>
                <a:gd name="T84" fmla="*/ 0 w 2332"/>
                <a:gd name="T85" fmla="*/ 0 h 1731"/>
                <a:gd name="T86" fmla="*/ 0 w 2332"/>
                <a:gd name="T87" fmla="*/ 0 h 1731"/>
                <a:gd name="T88" fmla="*/ 0 w 2332"/>
                <a:gd name="T89" fmla="*/ 0 h 1731"/>
                <a:gd name="T90" fmla="*/ 0 w 2332"/>
                <a:gd name="T91" fmla="*/ 0 h 1731"/>
                <a:gd name="T92" fmla="*/ 0 w 2332"/>
                <a:gd name="T93" fmla="*/ 0 h 1731"/>
                <a:gd name="T94" fmla="*/ 0 w 2332"/>
                <a:gd name="T95" fmla="*/ 0 h 1731"/>
                <a:gd name="T96" fmla="*/ 0 w 2332"/>
                <a:gd name="T97" fmla="*/ 0 h 1731"/>
                <a:gd name="T98" fmla="*/ 0 w 2332"/>
                <a:gd name="T99" fmla="*/ 0 h 1731"/>
                <a:gd name="T100" fmla="*/ 0 w 2332"/>
                <a:gd name="T101" fmla="*/ 0 h 1731"/>
                <a:gd name="T102" fmla="*/ 0 w 2332"/>
                <a:gd name="T103" fmla="*/ 0 h 1731"/>
                <a:gd name="T104" fmla="*/ 0 w 2332"/>
                <a:gd name="T105" fmla="*/ 0 h 1731"/>
                <a:gd name="T106" fmla="*/ 0 w 2332"/>
                <a:gd name="T107" fmla="*/ 0 h 1731"/>
                <a:gd name="T108" fmla="*/ 0 w 2332"/>
                <a:gd name="T109" fmla="*/ 0 h 1731"/>
                <a:gd name="T110" fmla="*/ 0 w 2332"/>
                <a:gd name="T111" fmla="*/ 0 h 1731"/>
                <a:gd name="T112" fmla="*/ 0 w 2332"/>
                <a:gd name="T113" fmla="*/ 0 h 1731"/>
                <a:gd name="T114" fmla="*/ 0 w 2332"/>
                <a:gd name="T115" fmla="*/ 0 h 1731"/>
                <a:gd name="T116" fmla="*/ 0 w 2332"/>
                <a:gd name="T117" fmla="*/ 0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2" name="Freeform 759"/>
            <p:cNvSpPr>
              <a:spLocks/>
            </p:cNvSpPr>
            <p:nvPr>
              <p:custDataLst>
                <p:tags r:id="rId120"/>
              </p:custDataLst>
            </p:nvPr>
          </p:nvSpPr>
          <p:spPr bwMode="auto">
            <a:xfrm>
              <a:off x="827" y="1665"/>
              <a:ext cx="456" cy="366"/>
            </a:xfrm>
            <a:custGeom>
              <a:avLst/>
              <a:gdLst>
                <a:gd name="T0" fmla="*/ 0 w 1535"/>
                <a:gd name="T1" fmla="*/ 0 h 1109"/>
                <a:gd name="T2" fmla="*/ 0 w 1535"/>
                <a:gd name="T3" fmla="*/ 0 h 1109"/>
                <a:gd name="T4" fmla="*/ 0 w 1535"/>
                <a:gd name="T5" fmla="*/ 0 h 1109"/>
                <a:gd name="T6" fmla="*/ 0 w 1535"/>
                <a:gd name="T7" fmla="*/ 0 h 1109"/>
                <a:gd name="T8" fmla="*/ 0 w 1535"/>
                <a:gd name="T9" fmla="*/ 0 h 1109"/>
                <a:gd name="T10" fmla="*/ 0 w 1535"/>
                <a:gd name="T11" fmla="*/ 0 h 1109"/>
                <a:gd name="T12" fmla="*/ 0 w 1535"/>
                <a:gd name="T13" fmla="*/ 0 h 1109"/>
                <a:gd name="T14" fmla="*/ 0 w 1535"/>
                <a:gd name="T15" fmla="*/ 0 h 1109"/>
                <a:gd name="T16" fmla="*/ 0 w 1535"/>
                <a:gd name="T17" fmla="*/ 0 h 1109"/>
                <a:gd name="T18" fmla="*/ 0 w 1535"/>
                <a:gd name="T19" fmla="*/ 0 h 1109"/>
                <a:gd name="T20" fmla="*/ 0 w 1535"/>
                <a:gd name="T21" fmla="*/ 0 h 1109"/>
                <a:gd name="T22" fmla="*/ 0 w 1535"/>
                <a:gd name="T23" fmla="*/ 0 h 1109"/>
                <a:gd name="T24" fmla="*/ 0 w 1535"/>
                <a:gd name="T25" fmla="*/ 0 h 1109"/>
                <a:gd name="T26" fmla="*/ 0 w 1535"/>
                <a:gd name="T27" fmla="*/ 0 h 1109"/>
                <a:gd name="T28" fmla="*/ 0 w 1535"/>
                <a:gd name="T29" fmla="*/ 0 h 1109"/>
                <a:gd name="T30" fmla="*/ 0 w 1535"/>
                <a:gd name="T31" fmla="*/ 0 h 1109"/>
                <a:gd name="T32" fmla="*/ 0 w 1535"/>
                <a:gd name="T33" fmla="*/ 0 h 1109"/>
                <a:gd name="T34" fmla="*/ 0 w 1535"/>
                <a:gd name="T35" fmla="*/ 0 h 1109"/>
                <a:gd name="T36" fmla="*/ 0 w 1535"/>
                <a:gd name="T37" fmla="*/ 0 h 1109"/>
                <a:gd name="T38" fmla="*/ 0 w 1535"/>
                <a:gd name="T39" fmla="*/ 0 h 1109"/>
                <a:gd name="T40" fmla="*/ 0 w 1535"/>
                <a:gd name="T41" fmla="*/ 0 h 1109"/>
                <a:gd name="T42" fmla="*/ 0 w 1535"/>
                <a:gd name="T43" fmla="*/ 0 h 1109"/>
                <a:gd name="T44" fmla="*/ 0 w 1535"/>
                <a:gd name="T45" fmla="*/ 0 h 1109"/>
                <a:gd name="T46" fmla="*/ 0 w 1535"/>
                <a:gd name="T47" fmla="*/ 0 h 1109"/>
                <a:gd name="T48" fmla="*/ 0 w 1535"/>
                <a:gd name="T49" fmla="*/ 0 h 1109"/>
                <a:gd name="T50" fmla="*/ 0 w 1535"/>
                <a:gd name="T51" fmla="*/ 0 h 1109"/>
                <a:gd name="T52" fmla="*/ 0 w 1535"/>
                <a:gd name="T53" fmla="*/ 0 h 1109"/>
                <a:gd name="T54" fmla="*/ 0 w 1535"/>
                <a:gd name="T55" fmla="*/ 0 h 1109"/>
                <a:gd name="T56" fmla="*/ 0 w 1535"/>
                <a:gd name="T57" fmla="*/ 0 h 1109"/>
                <a:gd name="T58" fmla="*/ 0 w 1535"/>
                <a:gd name="T59" fmla="*/ 0 h 1109"/>
                <a:gd name="T60" fmla="*/ 0 w 1535"/>
                <a:gd name="T61" fmla="*/ 0 h 1109"/>
                <a:gd name="T62" fmla="*/ 0 w 1535"/>
                <a:gd name="T63" fmla="*/ 0 h 1109"/>
                <a:gd name="T64" fmla="*/ 0 w 1535"/>
                <a:gd name="T65" fmla="*/ 0 h 1109"/>
                <a:gd name="T66" fmla="*/ 0 w 1535"/>
                <a:gd name="T67" fmla="*/ 0 h 1109"/>
                <a:gd name="T68" fmla="*/ 0 w 1535"/>
                <a:gd name="T69" fmla="*/ 0 h 1109"/>
                <a:gd name="T70" fmla="*/ 0 w 1535"/>
                <a:gd name="T71" fmla="*/ 0 h 1109"/>
                <a:gd name="T72" fmla="*/ 0 w 1535"/>
                <a:gd name="T73" fmla="*/ 0 h 1109"/>
                <a:gd name="T74" fmla="*/ 0 w 1535"/>
                <a:gd name="T75" fmla="*/ 0 h 1109"/>
                <a:gd name="T76" fmla="*/ 0 w 1535"/>
                <a:gd name="T77" fmla="*/ 0 h 1109"/>
                <a:gd name="T78" fmla="*/ 0 w 1535"/>
                <a:gd name="T79" fmla="*/ 0 h 1109"/>
                <a:gd name="T80" fmla="*/ 0 w 1535"/>
                <a:gd name="T81" fmla="*/ 0 h 1109"/>
                <a:gd name="T82" fmla="*/ 0 w 1535"/>
                <a:gd name="T83" fmla="*/ 0 h 1109"/>
                <a:gd name="T84" fmla="*/ 0 w 1535"/>
                <a:gd name="T85" fmla="*/ 0 h 1109"/>
                <a:gd name="T86" fmla="*/ 0 w 1535"/>
                <a:gd name="T87" fmla="*/ 0 h 1109"/>
                <a:gd name="T88" fmla="*/ 0 w 1535"/>
                <a:gd name="T89" fmla="*/ 0 h 1109"/>
                <a:gd name="T90" fmla="*/ 0 w 1535"/>
                <a:gd name="T91" fmla="*/ 0 h 1109"/>
                <a:gd name="T92" fmla="*/ 0 w 1535"/>
                <a:gd name="T93" fmla="*/ 0 h 1109"/>
                <a:gd name="T94" fmla="*/ 0 w 1535"/>
                <a:gd name="T95" fmla="*/ 0 h 1109"/>
                <a:gd name="T96" fmla="*/ 0 w 1535"/>
                <a:gd name="T97" fmla="*/ 0 h 1109"/>
                <a:gd name="T98" fmla="*/ 0 w 1535"/>
                <a:gd name="T99" fmla="*/ 0 h 1109"/>
                <a:gd name="T100" fmla="*/ 0 w 1535"/>
                <a:gd name="T101" fmla="*/ 0 h 1109"/>
                <a:gd name="T102" fmla="*/ 0 w 1535"/>
                <a:gd name="T103" fmla="*/ 0 h 1109"/>
                <a:gd name="T104" fmla="*/ 0 w 1535"/>
                <a:gd name="T105" fmla="*/ 0 h 1109"/>
                <a:gd name="T106" fmla="*/ 0 w 1535"/>
                <a:gd name="T107" fmla="*/ 0 h 1109"/>
                <a:gd name="T108" fmla="*/ 0 w 1535"/>
                <a:gd name="T109" fmla="*/ 0 h 1109"/>
                <a:gd name="T110" fmla="*/ 0 w 1535"/>
                <a:gd name="T111" fmla="*/ 0 h 1109"/>
                <a:gd name="T112" fmla="*/ 0 w 1535"/>
                <a:gd name="T113" fmla="*/ 0 h 1109"/>
                <a:gd name="T114" fmla="*/ 0 w 1535"/>
                <a:gd name="T115" fmla="*/ 0 h 1109"/>
                <a:gd name="T116" fmla="*/ 0 w 1535"/>
                <a:gd name="T117" fmla="*/ 0 h 1109"/>
                <a:gd name="T118" fmla="*/ 0 w 1535"/>
                <a:gd name="T119" fmla="*/ 0 h 1109"/>
                <a:gd name="T120" fmla="*/ 0 w 1535"/>
                <a:gd name="T121" fmla="*/ 0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3" name="Freeform 760"/>
            <p:cNvSpPr>
              <a:spLocks/>
            </p:cNvSpPr>
            <p:nvPr>
              <p:custDataLst>
                <p:tags r:id="rId121"/>
              </p:custDataLst>
            </p:nvPr>
          </p:nvSpPr>
          <p:spPr bwMode="auto">
            <a:xfrm>
              <a:off x="1697" y="2698"/>
              <a:ext cx="144" cy="167"/>
            </a:xfrm>
            <a:custGeom>
              <a:avLst/>
              <a:gdLst>
                <a:gd name="T0" fmla="*/ 0 w 486"/>
                <a:gd name="T1" fmla="*/ 0 h 505"/>
                <a:gd name="T2" fmla="*/ 0 w 486"/>
                <a:gd name="T3" fmla="*/ 0 h 505"/>
                <a:gd name="T4" fmla="*/ 0 w 486"/>
                <a:gd name="T5" fmla="*/ 0 h 505"/>
                <a:gd name="T6" fmla="*/ 0 w 486"/>
                <a:gd name="T7" fmla="*/ 0 h 505"/>
                <a:gd name="T8" fmla="*/ 0 w 486"/>
                <a:gd name="T9" fmla="*/ 0 h 505"/>
                <a:gd name="T10" fmla="*/ 0 w 486"/>
                <a:gd name="T11" fmla="*/ 0 h 505"/>
                <a:gd name="T12" fmla="*/ 0 w 486"/>
                <a:gd name="T13" fmla="*/ 0 h 505"/>
                <a:gd name="T14" fmla="*/ 0 w 486"/>
                <a:gd name="T15" fmla="*/ 0 h 505"/>
                <a:gd name="T16" fmla="*/ 0 w 486"/>
                <a:gd name="T17" fmla="*/ 0 h 505"/>
                <a:gd name="T18" fmla="*/ 0 w 486"/>
                <a:gd name="T19" fmla="*/ 0 h 505"/>
                <a:gd name="T20" fmla="*/ 0 w 486"/>
                <a:gd name="T21" fmla="*/ 0 h 505"/>
                <a:gd name="T22" fmla="*/ 0 w 486"/>
                <a:gd name="T23" fmla="*/ 0 h 505"/>
                <a:gd name="T24" fmla="*/ 0 w 486"/>
                <a:gd name="T25" fmla="*/ 0 h 505"/>
                <a:gd name="T26" fmla="*/ 0 w 486"/>
                <a:gd name="T27" fmla="*/ 0 h 505"/>
                <a:gd name="T28" fmla="*/ 0 w 486"/>
                <a:gd name="T29" fmla="*/ 0 h 505"/>
                <a:gd name="T30" fmla="*/ 0 w 486"/>
                <a:gd name="T31" fmla="*/ 0 h 505"/>
                <a:gd name="T32" fmla="*/ 0 w 486"/>
                <a:gd name="T33" fmla="*/ 0 h 505"/>
                <a:gd name="T34" fmla="*/ 0 w 486"/>
                <a:gd name="T35" fmla="*/ 0 h 505"/>
                <a:gd name="T36" fmla="*/ 0 w 486"/>
                <a:gd name="T37" fmla="*/ 0 h 505"/>
                <a:gd name="T38" fmla="*/ 0 w 486"/>
                <a:gd name="T39" fmla="*/ 0 h 505"/>
                <a:gd name="T40" fmla="*/ 0 w 486"/>
                <a:gd name="T41" fmla="*/ 0 h 505"/>
                <a:gd name="T42" fmla="*/ 0 w 486"/>
                <a:gd name="T43" fmla="*/ 0 h 505"/>
                <a:gd name="T44" fmla="*/ 0 w 486"/>
                <a:gd name="T45" fmla="*/ 0 h 505"/>
                <a:gd name="T46" fmla="*/ 0 w 486"/>
                <a:gd name="T47" fmla="*/ 0 h 505"/>
                <a:gd name="T48" fmla="*/ 0 w 486"/>
                <a:gd name="T49" fmla="*/ 0 h 505"/>
                <a:gd name="T50" fmla="*/ 0 w 486"/>
                <a:gd name="T51" fmla="*/ 0 h 505"/>
                <a:gd name="T52" fmla="*/ 0 w 486"/>
                <a:gd name="T53" fmla="*/ 0 h 505"/>
                <a:gd name="T54" fmla="*/ 0 w 486"/>
                <a:gd name="T55" fmla="*/ 0 h 505"/>
                <a:gd name="T56" fmla="*/ 0 w 486"/>
                <a:gd name="T57" fmla="*/ 0 h 505"/>
                <a:gd name="T58" fmla="*/ 0 w 486"/>
                <a:gd name="T59" fmla="*/ 0 h 505"/>
                <a:gd name="T60" fmla="*/ 0 w 486"/>
                <a:gd name="T61" fmla="*/ 0 h 505"/>
                <a:gd name="T62" fmla="*/ 0 w 486"/>
                <a:gd name="T63" fmla="*/ 0 h 505"/>
                <a:gd name="T64" fmla="*/ 0 w 486"/>
                <a:gd name="T65" fmla="*/ 0 h 505"/>
                <a:gd name="T66" fmla="*/ 0 w 486"/>
                <a:gd name="T67" fmla="*/ 0 h 505"/>
                <a:gd name="T68" fmla="*/ 0 w 486"/>
                <a:gd name="T69" fmla="*/ 0 h 505"/>
                <a:gd name="T70" fmla="*/ 0 w 486"/>
                <a:gd name="T71" fmla="*/ 0 h 505"/>
                <a:gd name="T72" fmla="*/ 0 w 486"/>
                <a:gd name="T73" fmla="*/ 0 h 505"/>
                <a:gd name="T74" fmla="*/ 0 w 486"/>
                <a:gd name="T75" fmla="*/ 0 h 505"/>
                <a:gd name="T76" fmla="*/ 0 w 486"/>
                <a:gd name="T77" fmla="*/ 0 h 505"/>
                <a:gd name="T78" fmla="*/ 0 w 486"/>
                <a:gd name="T79" fmla="*/ 0 h 505"/>
                <a:gd name="T80" fmla="*/ 0 w 486"/>
                <a:gd name="T81" fmla="*/ 0 h 505"/>
                <a:gd name="T82" fmla="*/ 0 w 486"/>
                <a:gd name="T83" fmla="*/ 0 h 505"/>
                <a:gd name="T84" fmla="*/ 0 w 486"/>
                <a:gd name="T85" fmla="*/ 0 h 505"/>
                <a:gd name="T86" fmla="*/ 0 w 486"/>
                <a:gd name="T87" fmla="*/ 0 h 505"/>
                <a:gd name="T88" fmla="*/ 0 w 486"/>
                <a:gd name="T89" fmla="*/ 0 h 505"/>
                <a:gd name="T90" fmla="*/ 0 w 486"/>
                <a:gd name="T91" fmla="*/ 0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4" name="Freeform 761"/>
            <p:cNvSpPr>
              <a:spLocks/>
            </p:cNvSpPr>
            <p:nvPr>
              <p:custDataLst>
                <p:tags r:id="rId122"/>
              </p:custDataLst>
            </p:nvPr>
          </p:nvSpPr>
          <p:spPr bwMode="auto">
            <a:xfrm>
              <a:off x="1812" y="2197"/>
              <a:ext cx="50" cy="69"/>
            </a:xfrm>
            <a:custGeom>
              <a:avLst/>
              <a:gdLst>
                <a:gd name="T0" fmla="*/ 0 w 166"/>
                <a:gd name="T1" fmla="*/ 0 h 208"/>
                <a:gd name="T2" fmla="*/ 0 w 166"/>
                <a:gd name="T3" fmla="*/ 0 h 208"/>
                <a:gd name="T4" fmla="*/ 0 w 166"/>
                <a:gd name="T5" fmla="*/ 0 h 208"/>
                <a:gd name="T6" fmla="*/ 0 w 166"/>
                <a:gd name="T7" fmla="*/ 0 h 208"/>
                <a:gd name="T8" fmla="*/ 0 w 166"/>
                <a:gd name="T9" fmla="*/ 0 h 208"/>
                <a:gd name="T10" fmla="*/ 0 w 166"/>
                <a:gd name="T11" fmla="*/ 0 h 208"/>
                <a:gd name="T12" fmla="*/ 0 w 166"/>
                <a:gd name="T13" fmla="*/ 0 h 208"/>
                <a:gd name="T14" fmla="*/ 0 w 166"/>
                <a:gd name="T15" fmla="*/ 0 h 208"/>
                <a:gd name="T16" fmla="*/ 0 w 166"/>
                <a:gd name="T17" fmla="*/ 0 h 208"/>
                <a:gd name="T18" fmla="*/ 0 w 166"/>
                <a:gd name="T19" fmla="*/ 0 h 208"/>
                <a:gd name="T20" fmla="*/ 0 w 166"/>
                <a:gd name="T21" fmla="*/ 0 h 208"/>
                <a:gd name="T22" fmla="*/ 0 w 166"/>
                <a:gd name="T23" fmla="*/ 0 h 208"/>
                <a:gd name="T24" fmla="*/ 0 w 166"/>
                <a:gd name="T25" fmla="*/ 0 h 208"/>
                <a:gd name="T26" fmla="*/ 0 w 166"/>
                <a:gd name="T27" fmla="*/ 0 h 208"/>
                <a:gd name="T28" fmla="*/ 0 w 166"/>
                <a:gd name="T29" fmla="*/ 0 h 208"/>
                <a:gd name="T30" fmla="*/ 0 w 166"/>
                <a:gd name="T31" fmla="*/ 0 h 208"/>
                <a:gd name="T32" fmla="*/ 0 w 166"/>
                <a:gd name="T33" fmla="*/ 0 h 208"/>
                <a:gd name="T34" fmla="*/ 0 w 166"/>
                <a:gd name="T35" fmla="*/ 0 h 208"/>
                <a:gd name="T36" fmla="*/ 0 w 166"/>
                <a:gd name="T37" fmla="*/ 0 h 208"/>
                <a:gd name="T38" fmla="*/ 0 w 166"/>
                <a:gd name="T39" fmla="*/ 0 h 208"/>
                <a:gd name="T40" fmla="*/ 0 w 166"/>
                <a:gd name="T41" fmla="*/ 0 h 208"/>
                <a:gd name="T42" fmla="*/ 0 w 166"/>
                <a:gd name="T43" fmla="*/ 0 h 208"/>
                <a:gd name="T44" fmla="*/ 0 w 166"/>
                <a:gd name="T45" fmla="*/ 0 h 208"/>
                <a:gd name="T46" fmla="*/ 0 w 166"/>
                <a:gd name="T47" fmla="*/ 0 h 208"/>
                <a:gd name="T48" fmla="*/ 0 w 166"/>
                <a:gd name="T49" fmla="*/ 0 h 208"/>
                <a:gd name="T50" fmla="*/ 0 w 166"/>
                <a:gd name="T51" fmla="*/ 0 h 208"/>
                <a:gd name="T52" fmla="*/ 0 w 166"/>
                <a:gd name="T53" fmla="*/ 0 h 208"/>
                <a:gd name="T54" fmla="*/ 0 w 166"/>
                <a:gd name="T55" fmla="*/ 0 h 208"/>
                <a:gd name="T56" fmla="*/ 0 w 166"/>
                <a:gd name="T57" fmla="*/ 0 h 208"/>
                <a:gd name="T58" fmla="*/ 0 w 166"/>
                <a:gd name="T59" fmla="*/ 0 h 208"/>
                <a:gd name="T60" fmla="*/ 0 w 166"/>
                <a:gd name="T61" fmla="*/ 0 h 208"/>
                <a:gd name="T62" fmla="*/ 0 w 166"/>
                <a:gd name="T63" fmla="*/ 0 h 208"/>
                <a:gd name="T64" fmla="*/ 0 w 166"/>
                <a:gd name="T65" fmla="*/ 0 h 208"/>
                <a:gd name="T66" fmla="*/ 0 w 166"/>
                <a:gd name="T67" fmla="*/ 0 h 208"/>
                <a:gd name="T68" fmla="*/ 0 w 166"/>
                <a:gd name="T69" fmla="*/ 0 h 208"/>
                <a:gd name="T70" fmla="*/ 0 w 166"/>
                <a:gd name="T71" fmla="*/ 0 h 208"/>
                <a:gd name="T72" fmla="*/ 0 w 166"/>
                <a:gd name="T73" fmla="*/ 0 h 208"/>
                <a:gd name="T74" fmla="*/ 0 w 166"/>
                <a:gd name="T75" fmla="*/ 0 h 208"/>
                <a:gd name="T76" fmla="*/ 0 w 166"/>
                <a:gd name="T77" fmla="*/ 0 h 208"/>
                <a:gd name="T78" fmla="*/ 0 w 166"/>
                <a:gd name="T79" fmla="*/ 0 h 208"/>
                <a:gd name="T80" fmla="*/ 0 w 166"/>
                <a:gd name="T81" fmla="*/ 0 h 208"/>
                <a:gd name="T82" fmla="*/ 0 w 166"/>
                <a:gd name="T83" fmla="*/ 0 h 208"/>
                <a:gd name="T84" fmla="*/ 0 w 166"/>
                <a:gd name="T85" fmla="*/ 0 h 208"/>
                <a:gd name="T86" fmla="*/ 0 w 166"/>
                <a:gd name="T87" fmla="*/ 0 h 208"/>
                <a:gd name="T88" fmla="*/ 0 w 166"/>
                <a:gd name="T89" fmla="*/ 0 h 208"/>
                <a:gd name="T90" fmla="*/ 0 w 166"/>
                <a:gd name="T91" fmla="*/ 0 h 208"/>
                <a:gd name="T92" fmla="*/ 0 w 166"/>
                <a:gd name="T93" fmla="*/ 0 h 208"/>
                <a:gd name="T94" fmla="*/ 0 w 166"/>
                <a:gd name="T95" fmla="*/ 0 h 208"/>
                <a:gd name="T96" fmla="*/ 0 w 166"/>
                <a:gd name="T97" fmla="*/ 0 h 208"/>
                <a:gd name="T98" fmla="*/ 0 w 166"/>
                <a:gd name="T99" fmla="*/ 0 h 208"/>
                <a:gd name="T100" fmla="*/ 0 w 166"/>
                <a:gd name="T101" fmla="*/ 0 h 208"/>
                <a:gd name="T102" fmla="*/ 0 w 166"/>
                <a:gd name="T103" fmla="*/ 0 h 208"/>
                <a:gd name="T104" fmla="*/ 0 w 166"/>
                <a:gd name="T105" fmla="*/ 0 h 208"/>
                <a:gd name="T106" fmla="*/ 0 w 166"/>
                <a:gd name="T107" fmla="*/ 0 h 208"/>
                <a:gd name="T108" fmla="*/ 0 w 166"/>
                <a:gd name="T109" fmla="*/ 0 h 208"/>
                <a:gd name="T110" fmla="*/ 0 w 166"/>
                <a:gd name="T111" fmla="*/ 0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5" name="Freeform 762"/>
            <p:cNvSpPr>
              <a:spLocks/>
            </p:cNvSpPr>
            <p:nvPr>
              <p:custDataLst>
                <p:tags r:id="rId123"/>
              </p:custDataLst>
            </p:nvPr>
          </p:nvSpPr>
          <p:spPr bwMode="auto">
            <a:xfrm>
              <a:off x="1481" y="1919"/>
              <a:ext cx="48" cy="37"/>
            </a:xfrm>
            <a:custGeom>
              <a:avLst/>
              <a:gdLst>
                <a:gd name="T0" fmla="*/ 0 w 164"/>
                <a:gd name="T1" fmla="*/ 0 h 104"/>
                <a:gd name="T2" fmla="*/ 0 w 164"/>
                <a:gd name="T3" fmla="*/ 0 h 104"/>
                <a:gd name="T4" fmla="*/ 0 w 164"/>
                <a:gd name="T5" fmla="*/ 0 h 104"/>
                <a:gd name="T6" fmla="*/ 0 w 164"/>
                <a:gd name="T7" fmla="*/ 0 h 104"/>
                <a:gd name="T8" fmla="*/ 0 w 164"/>
                <a:gd name="T9" fmla="*/ 0 h 104"/>
                <a:gd name="T10" fmla="*/ 0 w 164"/>
                <a:gd name="T11" fmla="*/ 0 h 104"/>
                <a:gd name="T12" fmla="*/ 0 w 164"/>
                <a:gd name="T13" fmla="*/ 0 h 104"/>
                <a:gd name="T14" fmla="*/ 0 w 164"/>
                <a:gd name="T15" fmla="*/ 0 h 104"/>
                <a:gd name="T16" fmla="*/ 0 w 164"/>
                <a:gd name="T17" fmla="*/ 0 h 104"/>
                <a:gd name="T18" fmla="*/ 0 w 164"/>
                <a:gd name="T19" fmla="*/ 0 h 104"/>
                <a:gd name="T20" fmla="*/ 0 w 164"/>
                <a:gd name="T21" fmla="*/ 0 h 104"/>
                <a:gd name="T22" fmla="*/ 0 w 164"/>
                <a:gd name="T23" fmla="*/ 0 h 104"/>
                <a:gd name="T24" fmla="*/ 0 w 164"/>
                <a:gd name="T25" fmla="*/ 0 h 104"/>
                <a:gd name="T26" fmla="*/ 0 w 164"/>
                <a:gd name="T27" fmla="*/ 0 h 104"/>
                <a:gd name="T28" fmla="*/ 0 w 164"/>
                <a:gd name="T29" fmla="*/ 0 h 104"/>
                <a:gd name="T30" fmla="*/ 0 w 164"/>
                <a:gd name="T31" fmla="*/ 0 h 104"/>
                <a:gd name="T32" fmla="*/ 0 w 164"/>
                <a:gd name="T33" fmla="*/ 0 h 104"/>
                <a:gd name="T34" fmla="*/ 0 w 164"/>
                <a:gd name="T35" fmla="*/ 0 h 104"/>
                <a:gd name="T36" fmla="*/ 0 w 164"/>
                <a:gd name="T37" fmla="*/ 0 h 104"/>
                <a:gd name="T38" fmla="*/ 0 w 164"/>
                <a:gd name="T39" fmla="*/ 0 h 104"/>
                <a:gd name="T40" fmla="*/ 0 w 164"/>
                <a:gd name="T41" fmla="*/ 0 h 104"/>
                <a:gd name="T42" fmla="*/ 0 w 164"/>
                <a:gd name="T43" fmla="*/ 0 h 104"/>
                <a:gd name="T44" fmla="*/ 0 w 164"/>
                <a:gd name="T45" fmla="*/ 0 h 104"/>
                <a:gd name="T46" fmla="*/ 0 w 164"/>
                <a:gd name="T47" fmla="*/ 0 h 104"/>
                <a:gd name="T48" fmla="*/ 0 w 164"/>
                <a:gd name="T49" fmla="*/ 0 h 104"/>
                <a:gd name="T50" fmla="*/ 0 w 164"/>
                <a:gd name="T51" fmla="*/ 0 h 104"/>
                <a:gd name="T52" fmla="*/ 0 w 164"/>
                <a:gd name="T53" fmla="*/ 0 h 104"/>
                <a:gd name="T54" fmla="*/ 0 w 164"/>
                <a:gd name="T55" fmla="*/ 0 h 104"/>
                <a:gd name="T56" fmla="*/ 0 w 164"/>
                <a:gd name="T57" fmla="*/ 0 h 104"/>
                <a:gd name="T58" fmla="*/ 0 w 164"/>
                <a:gd name="T59" fmla="*/ 0 h 104"/>
                <a:gd name="T60" fmla="*/ 0 w 164"/>
                <a:gd name="T61" fmla="*/ 0 h 104"/>
                <a:gd name="T62" fmla="*/ 0 w 164"/>
                <a:gd name="T63" fmla="*/ 0 h 104"/>
                <a:gd name="T64" fmla="*/ 0 w 164"/>
                <a:gd name="T65" fmla="*/ 0 h 104"/>
                <a:gd name="T66" fmla="*/ 0 w 164"/>
                <a:gd name="T67" fmla="*/ 0 h 104"/>
                <a:gd name="T68" fmla="*/ 0 w 164"/>
                <a:gd name="T69" fmla="*/ 0 h 104"/>
                <a:gd name="T70" fmla="*/ 0 w 164"/>
                <a:gd name="T71" fmla="*/ 0 h 104"/>
                <a:gd name="T72" fmla="*/ 0 w 164"/>
                <a:gd name="T73" fmla="*/ 0 h 104"/>
                <a:gd name="T74" fmla="*/ 0 w 164"/>
                <a:gd name="T75" fmla="*/ 0 h 104"/>
                <a:gd name="T76" fmla="*/ 0 w 164"/>
                <a:gd name="T77" fmla="*/ 0 h 104"/>
                <a:gd name="T78" fmla="*/ 0 w 164"/>
                <a:gd name="T79" fmla="*/ 0 h 104"/>
                <a:gd name="T80" fmla="*/ 0 w 164"/>
                <a:gd name="T81" fmla="*/ 0 h 104"/>
                <a:gd name="T82" fmla="*/ 0 w 164"/>
                <a:gd name="T83" fmla="*/ 0 h 104"/>
                <a:gd name="T84" fmla="*/ 0 w 164"/>
                <a:gd name="T85" fmla="*/ 0 h 104"/>
                <a:gd name="T86" fmla="*/ 0 w 164"/>
                <a:gd name="T87" fmla="*/ 0 h 104"/>
                <a:gd name="T88" fmla="*/ 0 w 164"/>
                <a:gd name="T89" fmla="*/ 0 h 104"/>
                <a:gd name="T90" fmla="*/ 0 w 164"/>
                <a:gd name="T91" fmla="*/ 0 h 104"/>
                <a:gd name="T92" fmla="*/ 0 w 164"/>
                <a:gd name="T93" fmla="*/ 0 h 104"/>
                <a:gd name="T94" fmla="*/ 0 w 164"/>
                <a:gd name="T95" fmla="*/ 0 h 104"/>
                <a:gd name="T96" fmla="*/ 0 w 164"/>
                <a:gd name="T97" fmla="*/ 0 h 104"/>
                <a:gd name="T98" fmla="*/ 0 w 164"/>
                <a:gd name="T99" fmla="*/ 0 h 104"/>
                <a:gd name="T100" fmla="*/ 0 w 164"/>
                <a:gd name="T101" fmla="*/ 0 h 104"/>
                <a:gd name="T102" fmla="*/ 0 w 164"/>
                <a:gd name="T103" fmla="*/ 0 h 104"/>
                <a:gd name="T104" fmla="*/ 0 w 164"/>
                <a:gd name="T105" fmla="*/ 0 h 104"/>
                <a:gd name="T106" fmla="*/ 0 w 164"/>
                <a:gd name="T107" fmla="*/ 0 h 104"/>
                <a:gd name="T108" fmla="*/ 0 w 164"/>
                <a:gd name="T109" fmla="*/ 0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6" name="Freeform 763"/>
            <p:cNvSpPr>
              <a:spLocks/>
            </p:cNvSpPr>
            <p:nvPr>
              <p:custDataLst>
                <p:tags r:id="rId124"/>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7" name="Freeform 764"/>
            <p:cNvSpPr>
              <a:spLocks/>
            </p:cNvSpPr>
            <p:nvPr>
              <p:custDataLst>
                <p:tags r:id="rId125"/>
              </p:custDataLst>
            </p:nvPr>
          </p:nvSpPr>
          <p:spPr bwMode="auto">
            <a:xfrm>
              <a:off x="1707" y="3389"/>
              <a:ext cx="24" cy="37"/>
            </a:xfrm>
            <a:custGeom>
              <a:avLst/>
              <a:gdLst>
                <a:gd name="T0" fmla="*/ 0 w 80"/>
                <a:gd name="T1" fmla="*/ 0 h 18"/>
                <a:gd name="T2" fmla="*/ 0 w 80"/>
                <a:gd name="T3" fmla="*/ 10680370 h 18"/>
                <a:gd name="T4" fmla="*/ 0 w 80"/>
                <a:gd name="T5" fmla="*/ 21954089 h 18"/>
                <a:gd name="T6" fmla="*/ 0 w 80"/>
                <a:gd name="T7" fmla="*/ 25698783 h 18"/>
                <a:gd name="T8" fmla="*/ 0 w 80"/>
                <a:gd name="T9" fmla="*/ 29266502 h 18"/>
                <a:gd name="T10" fmla="*/ 0 w 80"/>
                <a:gd name="T11" fmla="*/ 32622746 h 18"/>
                <a:gd name="T12" fmla="*/ 0 w 80"/>
                <a:gd name="T13" fmla="*/ 32622746 h 18"/>
                <a:gd name="T14" fmla="*/ 0 w 80"/>
                <a:gd name="T15" fmla="*/ 27537353 h 18"/>
                <a:gd name="T16" fmla="*/ 0 w 80"/>
                <a:gd name="T17" fmla="*/ 23559132 h 18"/>
                <a:gd name="T18" fmla="*/ 0 w 80"/>
                <a:gd name="T19" fmla="*/ 20222950 h 18"/>
                <a:gd name="T20" fmla="*/ 0 w 80"/>
                <a:gd name="T21" fmla="*/ 18384412 h 18"/>
                <a:gd name="T22" fmla="*/ 0 w 80"/>
                <a:gd name="T23" fmla="*/ 14237771 h 18"/>
                <a:gd name="T24" fmla="*/ 0 w 80"/>
                <a:gd name="T25" fmla="*/ 12502110 h 18"/>
                <a:gd name="T26" fmla="*/ 0 w 80"/>
                <a:gd name="T27" fmla="*/ 12502110 h 18"/>
                <a:gd name="T28" fmla="*/ 0 w 80"/>
                <a:gd name="T29" fmla="*/ 10680370 h 18"/>
                <a:gd name="T30" fmla="*/ 0 w 80"/>
                <a:gd name="T31" fmla="*/ 8943764 h 18"/>
                <a:gd name="T32" fmla="*/ 0 w 80"/>
                <a:gd name="T33" fmla="*/ 6926481 h 18"/>
                <a:gd name="T34" fmla="*/ 0 w 80"/>
                <a:gd name="T35" fmla="*/ 3369641 h 18"/>
                <a:gd name="T36" fmla="*/ 0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8" name="Freeform 765"/>
            <p:cNvSpPr>
              <a:spLocks/>
            </p:cNvSpPr>
            <p:nvPr>
              <p:custDataLst>
                <p:tags r:id="rId126"/>
              </p:custDataLst>
            </p:nvPr>
          </p:nvSpPr>
          <p:spPr bwMode="auto">
            <a:xfrm>
              <a:off x="1707" y="3376"/>
              <a:ext cx="16" cy="38"/>
            </a:xfrm>
            <a:custGeom>
              <a:avLst/>
              <a:gdLst>
                <a:gd name="T0" fmla="*/ 0 w 46"/>
                <a:gd name="T1" fmla="*/ 0 h 27"/>
                <a:gd name="T2" fmla="*/ 0 w 46"/>
                <a:gd name="T3" fmla="*/ 16439 h 27"/>
                <a:gd name="T4" fmla="*/ 0 w 46"/>
                <a:gd name="T5" fmla="*/ 20599 h 27"/>
                <a:gd name="T6" fmla="*/ 0 w 46"/>
                <a:gd name="T7" fmla="*/ 23136 h 27"/>
                <a:gd name="T8" fmla="*/ 0 w 46"/>
                <a:gd name="T9" fmla="*/ 25201 h 27"/>
                <a:gd name="T10" fmla="*/ 0 w 46"/>
                <a:gd name="T11" fmla="*/ 25201 h 27"/>
                <a:gd name="T12" fmla="*/ 0 w 46"/>
                <a:gd name="T13" fmla="*/ 25201 h 27"/>
                <a:gd name="T14" fmla="*/ 0 w 46"/>
                <a:gd name="T15" fmla="*/ 23136 h 27"/>
                <a:gd name="T16" fmla="*/ 0 w 46"/>
                <a:gd name="T17" fmla="*/ 20599 h 27"/>
                <a:gd name="T18" fmla="*/ 0 w 46"/>
                <a:gd name="T19" fmla="*/ 16439 h 27"/>
                <a:gd name="T20" fmla="*/ 0 w 46"/>
                <a:gd name="T21" fmla="*/ 14976 h 27"/>
                <a:gd name="T22" fmla="*/ 0 w 46"/>
                <a:gd name="T23" fmla="*/ 9962 h 27"/>
                <a:gd name="T24" fmla="*/ 0 w 46"/>
                <a:gd name="T25" fmla="*/ 4639 h 27"/>
                <a:gd name="T26" fmla="*/ 0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9" name="Freeform 766"/>
            <p:cNvSpPr>
              <a:spLocks/>
            </p:cNvSpPr>
            <p:nvPr>
              <p:custDataLst>
                <p:tags r:id="rId127"/>
              </p:custDataLst>
            </p:nvPr>
          </p:nvSpPr>
          <p:spPr bwMode="auto">
            <a:xfrm>
              <a:off x="1687" y="3372"/>
              <a:ext cx="17" cy="38"/>
            </a:xfrm>
            <a:custGeom>
              <a:avLst/>
              <a:gdLst>
                <a:gd name="T0" fmla="*/ 0 w 54"/>
                <a:gd name="T1" fmla="*/ 0 h 39"/>
                <a:gd name="T2" fmla="*/ 0 w 54"/>
                <a:gd name="T3" fmla="*/ 4 h 39"/>
                <a:gd name="T4" fmla="*/ 0 w 54"/>
                <a:gd name="T5" fmla="*/ 10 h 39"/>
                <a:gd name="T6" fmla="*/ 0 w 54"/>
                <a:gd name="T7" fmla="*/ 13 h 39"/>
                <a:gd name="T8" fmla="*/ 0 w 54"/>
                <a:gd name="T9" fmla="*/ 16 h 39"/>
                <a:gd name="T10" fmla="*/ 0 w 54"/>
                <a:gd name="T11" fmla="*/ 19 h 39"/>
                <a:gd name="T12" fmla="*/ 0 w 54"/>
                <a:gd name="T13" fmla="*/ 19 h 39"/>
                <a:gd name="T14" fmla="*/ 0 w 54"/>
                <a:gd name="T15" fmla="*/ 19 h 39"/>
                <a:gd name="T16" fmla="*/ 0 w 54"/>
                <a:gd name="T17" fmla="*/ 19 h 39"/>
                <a:gd name="T18" fmla="*/ 0 w 54"/>
                <a:gd name="T19" fmla="*/ 19 h 39"/>
                <a:gd name="T20" fmla="*/ 0 w 54"/>
                <a:gd name="T21" fmla="*/ 19 h 39"/>
                <a:gd name="T22" fmla="*/ 0 w 54"/>
                <a:gd name="T23" fmla="*/ 19 h 39"/>
                <a:gd name="T24" fmla="*/ 0 w 54"/>
                <a:gd name="T25" fmla="*/ 19 h 39"/>
                <a:gd name="T26" fmla="*/ 0 w 54"/>
                <a:gd name="T27" fmla="*/ 19 h 39"/>
                <a:gd name="T28" fmla="*/ 0 w 54"/>
                <a:gd name="T29" fmla="*/ 19 h 39"/>
                <a:gd name="T30" fmla="*/ 0 w 54"/>
                <a:gd name="T31" fmla="*/ 19 h 39"/>
                <a:gd name="T32" fmla="*/ 0 w 54"/>
                <a:gd name="T33" fmla="*/ 19 h 39"/>
                <a:gd name="T34" fmla="*/ 0 w 54"/>
                <a:gd name="T35" fmla="*/ 19 h 39"/>
                <a:gd name="T36" fmla="*/ 0 w 54"/>
                <a:gd name="T37" fmla="*/ 19 h 39"/>
                <a:gd name="T38" fmla="*/ 0 w 54"/>
                <a:gd name="T39" fmla="*/ 19 h 39"/>
                <a:gd name="T40" fmla="*/ 0 w 54"/>
                <a:gd name="T41" fmla="*/ 19 h 39"/>
                <a:gd name="T42" fmla="*/ 0 w 54"/>
                <a:gd name="T43" fmla="*/ 19 h 39"/>
                <a:gd name="T44" fmla="*/ 0 w 54"/>
                <a:gd name="T45" fmla="*/ 18 h 39"/>
                <a:gd name="T46" fmla="*/ 0 w 54"/>
                <a:gd name="T47" fmla="*/ 17 h 39"/>
                <a:gd name="T48" fmla="*/ 0 w 54"/>
                <a:gd name="T49" fmla="*/ 16 h 39"/>
                <a:gd name="T50" fmla="*/ 0 w 54"/>
                <a:gd name="T51" fmla="*/ 14 h 39"/>
                <a:gd name="T52" fmla="*/ 0 w 54"/>
                <a:gd name="T53" fmla="*/ 11 h 39"/>
                <a:gd name="T54" fmla="*/ 0 w 54"/>
                <a:gd name="T55" fmla="*/ 8 h 39"/>
                <a:gd name="T56" fmla="*/ 0 w 54"/>
                <a:gd name="T57" fmla="*/ 5 h 39"/>
                <a:gd name="T58" fmla="*/ 0 w 54"/>
                <a:gd name="T59" fmla="*/ 2 h 39"/>
                <a:gd name="T60" fmla="*/ 0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0" name="Freeform 767"/>
            <p:cNvSpPr>
              <a:spLocks/>
            </p:cNvSpPr>
            <p:nvPr>
              <p:custDataLst>
                <p:tags r:id="rId128"/>
              </p:custDataLst>
            </p:nvPr>
          </p:nvSpPr>
          <p:spPr bwMode="auto">
            <a:xfrm>
              <a:off x="1669" y="3366"/>
              <a:ext cx="20" cy="37"/>
            </a:xfrm>
            <a:custGeom>
              <a:avLst/>
              <a:gdLst>
                <a:gd name="T0" fmla="*/ 0 w 60"/>
                <a:gd name="T1" fmla="*/ 764651317 h 15"/>
                <a:gd name="T2" fmla="*/ 0 w 60"/>
                <a:gd name="T3" fmla="*/ 902962057 h 15"/>
                <a:gd name="T4" fmla="*/ 0 w 60"/>
                <a:gd name="T5" fmla="*/ 982321610 h 15"/>
                <a:gd name="T6" fmla="*/ 0 w 60"/>
                <a:gd name="T7" fmla="*/ 1038739354 h 15"/>
                <a:gd name="T8" fmla="*/ 0 w 60"/>
                <a:gd name="T9" fmla="*/ 1038739354 h 15"/>
                <a:gd name="T10" fmla="*/ 0 w 60"/>
                <a:gd name="T11" fmla="*/ 982321610 h 15"/>
                <a:gd name="T12" fmla="*/ 0 w 60"/>
                <a:gd name="T13" fmla="*/ 846748277 h 15"/>
                <a:gd name="T14" fmla="*/ 0 w 60"/>
                <a:gd name="T15" fmla="*/ 616105294 h 15"/>
                <a:gd name="T16" fmla="*/ 0 w 60"/>
                <a:gd name="T17" fmla="*/ 343276401 h 15"/>
                <a:gd name="T18" fmla="*/ 0 w 60"/>
                <a:gd name="T19" fmla="*/ 195736699 h 15"/>
                <a:gd name="T20" fmla="*/ 0 w 60"/>
                <a:gd name="T21" fmla="*/ 0 h 15"/>
                <a:gd name="T22" fmla="*/ 0 w 60"/>
                <a:gd name="T23" fmla="*/ 0 h 15"/>
                <a:gd name="T24" fmla="*/ 0 w 60"/>
                <a:gd name="T25" fmla="*/ 0 h 15"/>
                <a:gd name="T26" fmla="*/ 0 w 60"/>
                <a:gd name="T27" fmla="*/ 0 h 15"/>
                <a:gd name="T28" fmla="*/ 0 w 60"/>
                <a:gd name="T29" fmla="*/ 195736699 h 15"/>
                <a:gd name="T30" fmla="*/ 0 w 60"/>
                <a:gd name="T31" fmla="*/ 421110963 h 15"/>
                <a:gd name="T32" fmla="*/ 0 w 60"/>
                <a:gd name="T33" fmla="*/ 559685025 h 15"/>
                <a:gd name="T34" fmla="*/ 0 w 60"/>
                <a:gd name="T35" fmla="*/ 708232311 h 15"/>
                <a:gd name="T36" fmla="*/ 0 w 60"/>
                <a:gd name="T37" fmla="*/ 76465131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1" name="Freeform 768"/>
            <p:cNvSpPr>
              <a:spLocks/>
            </p:cNvSpPr>
            <p:nvPr>
              <p:custDataLst>
                <p:tags r:id="rId129"/>
              </p:custDataLst>
            </p:nvPr>
          </p:nvSpPr>
          <p:spPr bwMode="auto">
            <a:xfrm>
              <a:off x="1653" y="3358"/>
              <a:ext cx="23" cy="36"/>
            </a:xfrm>
            <a:custGeom>
              <a:avLst/>
              <a:gdLst>
                <a:gd name="T0" fmla="*/ 0 w 79"/>
                <a:gd name="T1" fmla="*/ 0 h 32"/>
                <a:gd name="T2" fmla="*/ 0 w 79"/>
                <a:gd name="T3" fmla="*/ 1 h 32"/>
                <a:gd name="T4" fmla="*/ 0 w 79"/>
                <a:gd name="T5" fmla="*/ 2 h 32"/>
                <a:gd name="T6" fmla="*/ 0 w 79"/>
                <a:gd name="T7" fmla="*/ 48 h 32"/>
                <a:gd name="T8" fmla="*/ 0 w 79"/>
                <a:gd name="T9" fmla="*/ 61 h 32"/>
                <a:gd name="T10" fmla="*/ 0 w 79"/>
                <a:gd name="T11" fmla="*/ 88 h 32"/>
                <a:gd name="T12" fmla="*/ 0 w 79"/>
                <a:gd name="T13" fmla="*/ 111 h 32"/>
                <a:gd name="T14" fmla="*/ 0 w 79"/>
                <a:gd name="T15" fmla="*/ 125 h 32"/>
                <a:gd name="T16" fmla="*/ 0 w 79"/>
                <a:gd name="T17" fmla="*/ 141 h 32"/>
                <a:gd name="T18" fmla="*/ 0 w 79"/>
                <a:gd name="T19" fmla="*/ 226 h 32"/>
                <a:gd name="T20" fmla="*/ 0 w 79"/>
                <a:gd name="T21" fmla="*/ 272 h 32"/>
                <a:gd name="T22" fmla="*/ 0 w 79"/>
                <a:gd name="T23" fmla="*/ 306 h 32"/>
                <a:gd name="T24" fmla="*/ 0 w 79"/>
                <a:gd name="T25" fmla="*/ 324 h 32"/>
                <a:gd name="T26" fmla="*/ 0 w 79"/>
                <a:gd name="T27" fmla="*/ 324 h 32"/>
                <a:gd name="T28" fmla="*/ 0 w 79"/>
                <a:gd name="T29" fmla="*/ 331 h 32"/>
                <a:gd name="T30" fmla="*/ 0 w 79"/>
                <a:gd name="T31" fmla="*/ 324 h 32"/>
                <a:gd name="T32" fmla="*/ 0 w 79"/>
                <a:gd name="T33" fmla="*/ 322 h 32"/>
                <a:gd name="T34" fmla="*/ 0 w 79"/>
                <a:gd name="T35" fmla="*/ 286 h 32"/>
                <a:gd name="T36" fmla="*/ 0 w 79"/>
                <a:gd name="T37" fmla="*/ 254 h 32"/>
                <a:gd name="T38" fmla="*/ 0 w 79"/>
                <a:gd name="T39" fmla="*/ 181 h 32"/>
                <a:gd name="T40" fmla="*/ 0 w 79"/>
                <a:gd name="T41" fmla="*/ 141 h 32"/>
                <a:gd name="T42" fmla="*/ 0 w 79"/>
                <a:gd name="T43" fmla="*/ 61 h 32"/>
                <a:gd name="T44" fmla="*/ 0 w 79"/>
                <a:gd name="T45" fmla="*/ 2 h 32"/>
                <a:gd name="T46" fmla="*/ 0 w 79"/>
                <a:gd name="T47" fmla="*/ 1 h 32"/>
                <a:gd name="T48" fmla="*/ 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2" name="Freeform 769"/>
            <p:cNvSpPr>
              <a:spLocks/>
            </p:cNvSpPr>
            <p:nvPr>
              <p:custDataLst>
                <p:tags r:id="rId130"/>
              </p:custDataLst>
            </p:nvPr>
          </p:nvSpPr>
          <p:spPr bwMode="auto">
            <a:xfrm>
              <a:off x="1649" y="3346"/>
              <a:ext cx="20" cy="36"/>
            </a:xfrm>
            <a:custGeom>
              <a:avLst/>
              <a:gdLst>
                <a:gd name="T0" fmla="*/ 0 w 66"/>
                <a:gd name="T1" fmla="*/ 0 h 19"/>
                <a:gd name="T2" fmla="*/ 0 w 66"/>
                <a:gd name="T3" fmla="*/ 404485 h 19"/>
                <a:gd name="T4" fmla="*/ 0 w 66"/>
                <a:gd name="T5" fmla="*/ 766393 h 19"/>
                <a:gd name="T6" fmla="*/ 0 w 66"/>
                <a:gd name="T7" fmla="*/ 1452113 h 19"/>
                <a:gd name="T8" fmla="*/ 0 w 66"/>
                <a:gd name="T9" fmla="*/ 2457404 h 19"/>
                <a:gd name="T10" fmla="*/ 0 w 66"/>
                <a:gd name="T11" fmla="*/ 3976295 h 19"/>
                <a:gd name="T12" fmla="*/ 0 w 66"/>
                <a:gd name="T13" fmla="*/ 5077925 h 19"/>
                <a:gd name="T14" fmla="*/ 0 w 66"/>
                <a:gd name="T15" fmla="*/ 6070577 h 19"/>
                <a:gd name="T16" fmla="*/ 0 w 66"/>
                <a:gd name="T17" fmla="*/ 6724223 h 19"/>
                <a:gd name="T18" fmla="*/ 0 w 66"/>
                <a:gd name="T19" fmla="*/ 6724223 h 19"/>
                <a:gd name="T20" fmla="*/ 0 w 66"/>
                <a:gd name="T21" fmla="*/ 6724223 h 19"/>
                <a:gd name="T22" fmla="*/ 0 w 66"/>
                <a:gd name="T23" fmla="*/ 6315066 h 19"/>
                <a:gd name="T24" fmla="*/ 0 w 66"/>
                <a:gd name="T25" fmla="*/ 6070577 h 19"/>
                <a:gd name="T26" fmla="*/ 0 w 66"/>
                <a:gd name="T27" fmla="*/ 5213126 h 19"/>
                <a:gd name="T28" fmla="*/ 0 w 66"/>
                <a:gd name="T29" fmla="*/ 4656130 h 19"/>
                <a:gd name="T30" fmla="*/ 0 w 66"/>
                <a:gd name="T31" fmla="*/ 2751372 h 19"/>
                <a:gd name="T32" fmla="*/ 0 w 66"/>
                <a:gd name="T33" fmla="*/ 1452113 h 19"/>
                <a:gd name="T34" fmla="*/ 0 w 66"/>
                <a:gd name="T35" fmla="*/ 404485 h 19"/>
                <a:gd name="T36" fmla="*/ 0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3" name="Freeform 770"/>
            <p:cNvSpPr>
              <a:spLocks/>
            </p:cNvSpPr>
            <p:nvPr>
              <p:custDataLst>
                <p:tags r:id="rId131"/>
              </p:custDataLst>
            </p:nvPr>
          </p:nvSpPr>
          <p:spPr bwMode="auto">
            <a:xfrm>
              <a:off x="1581" y="3151"/>
              <a:ext cx="17" cy="38"/>
            </a:xfrm>
            <a:custGeom>
              <a:avLst/>
              <a:gdLst>
                <a:gd name="T0" fmla="*/ 0 w 53"/>
                <a:gd name="T1" fmla="*/ 0 h 80"/>
                <a:gd name="T2" fmla="*/ 0 w 53"/>
                <a:gd name="T3" fmla="*/ 0 h 80"/>
                <a:gd name="T4" fmla="*/ 0 w 53"/>
                <a:gd name="T5" fmla="*/ 0 h 80"/>
                <a:gd name="T6" fmla="*/ 0 w 53"/>
                <a:gd name="T7" fmla="*/ 0 h 80"/>
                <a:gd name="T8" fmla="*/ 0 w 53"/>
                <a:gd name="T9" fmla="*/ 0 h 80"/>
                <a:gd name="T10" fmla="*/ 0 w 53"/>
                <a:gd name="T11" fmla="*/ 0 h 80"/>
                <a:gd name="T12" fmla="*/ 0 w 53"/>
                <a:gd name="T13" fmla="*/ 0 h 80"/>
                <a:gd name="T14" fmla="*/ 0 w 53"/>
                <a:gd name="T15" fmla="*/ 0 h 80"/>
                <a:gd name="T16" fmla="*/ 0 w 53"/>
                <a:gd name="T17" fmla="*/ 0 h 80"/>
                <a:gd name="T18" fmla="*/ 0 w 53"/>
                <a:gd name="T19" fmla="*/ 0 h 80"/>
                <a:gd name="T20" fmla="*/ 0 w 53"/>
                <a:gd name="T21" fmla="*/ 0 h 80"/>
                <a:gd name="T22" fmla="*/ 0 w 53"/>
                <a:gd name="T23" fmla="*/ 0 h 80"/>
                <a:gd name="T24" fmla="*/ 0 w 53"/>
                <a:gd name="T25" fmla="*/ 0 h 80"/>
                <a:gd name="T26" fmla="*/ 0 w 53"/>
                <a:gd name="T27" fmla="*/ 0 h 80"/>
                <a:gd name="T28" fmla="*/ 0 w 53"/>
                <a:gd name="T29" fmla="*/ 0 h 80"/>
                <a:gd name="T30" fmla="*/ 0 w 53"/>
                <a:gd name="T31" fmla="*/ 0 h 80"/>
                <a:gd name="T32" fmla="*/ 0 w 53"/>
                <a:gd name="T33" fmla="*/ 0 h 80"/>
                <a:gd name="T34" fmla="*/ 0 w 53"/>
                <a:gd name="T35" fmla="*/ 0 h 80"/>
                <a:gd name="T36" fmla="*/ 0 w 53"/>
                <a:gd name="T37" fmla="*/ 0 h 80"/>
                <a:gd name="T38" fmla="*/ 0 w 53"/>
                <a:gd name="T39" fmla="*/ 0 h 80"/>
                <a:gd name="T40" fmla="*/ 0 w 53"/>
                <a:gd name="T41" fmla="*/ 0 h 80"/>
                <a:gd name="T42" fmla="*/ 0 w 53"/>
                <a:gd name="T43" fmla="*/ 0 h 80"/>
                <a:gd name="T44" fmla="*/ 0 w 53"/>
                <a:gd name="T45" fmla="*/ 0 h 80"/>
                <a:gd name="T46" fmla="*/ 0 w 53"/>
                <a:gd name="T47" fmla="*/ 0 h 80"/>
                <a:gd name="T48" fmla="*/ 0 w 53"/>
                <a:gd name="T49" fmla="*/ 0 h 80"/>
                <a:gd name="T50" fmla="*/ 0 w 53"/>
                <a:gd name="T51" fmla="*/ 0 h 80"/>
                <a:gd name="T52" fmla="*/ 0 w 53"/>
                <a:gd name="T53" fmla="*/ 0 h 80"/>
                <a:gd name="T54" fmla="*/ 0 w 53"/>
                <a:gd name="T55" fmla="*/ 0 h 80"/>
                <a:gd name="T56" fmla="*/ 0 w 53"/>
                <a:gd name="T57" fmla="*/ 0 h 80"/>
                <a:gd name="T58" fmla="*/ 0 w 53"/>
                <a:gd name="T59" fmla="*/ 0 h 80"/>
                <a:gd name="T60" fmla="*/ 0 w 53"/>
                <a:gd name="T61" fmla="*/ 0 h 80"/>
                <a:gd name="T62" fmla="*/ 0 w 53"/>
                <a:gd name="T63" fmla="*/ 0 h 80"/>
                <a:gd name="T64" fmla="*/ 0 w 53"/>
                <a:gd name="T65" fmla="*/ 0 h 80"/>
                <a:gd name="T66" fmla="*/ 0 w 53"/>
                <a:gd name="T67" fmla="*/ 0 h 80"/>
                <a:gd name="T68" fmla="*/ 0 w 53"/>
                <a:gd name="T69" fmla="*/ 0 h 80"/>
                <a:gd name="T70" fmla="*/ 0 w 53"/>
                <a:gd name="T71" fmla="*/ 0 h 80"/>
                <a:gd name="T72" fmla="*/ 0 w 53"/>
                <a:gd name="T73" fmla="*/ 0 h 80"/>
                <a:gd name="T74" fmla="*/ 0 w 53"/>
                <a:gd name="T75" fmla="*/ 0 h 80"/>
                <a:gd name="T76" fmla="*/ 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4" name="Freeform 771"/>
            <p:cNvSpPr>
              <a:spLocks/>
            </p:cNvSpPr>
            <p:nvPr>
              <p:custDataLst>
                <p:tags r:id="rId132"/>
              </p:custDataLst>
            </p:nvPr>
          </p:nvSpPr>
          <p:spPr bwMode="auto">
            <a:xfrm>
              <a:off x="1601" y="3211"/>
              <a:ext cx="12" cy="34"/>
            </a:xfrm>
            <a:custGeom>
              <a:avLst/>
              <a:gdLst>
                <a:gd name="T0" fmla="*/ 0 w 41"/>
                <a:gd name="T1" fmla="*/ 2 h 43"/>
                <a:gd name="T2" fmla="*/ 0 w 41"/>
                <a:gd name="T3" fmla="*/ 2 h 43"/>
                <a:gd name="T4" fmla="*/ 0 w 41"/>
                <a:gd name="T5" fmla="*/ 2 h 43"/>
                <a:gd name="T6" fmla="*/ 0 w 41"/>
                <a:gd name="T7" fmla="*/ 2 h 43"/>
                <a:gd name="T8" fmla="*/ 0 w 41"/>
                <a:gd name="T9" fmla="*/ 0 h 43"/>
                <a:gd name="T10" fmla="*/ 0 w 41"/>
                <a:gd name="T11" fmla="*/ 2 h 43"/>
                <a:gd name="T12" fmla="*/ 0 w 41"/>
                <a:gd name="T13" fmla="*/ 2 h 43"/>
                <a:gd name="T14" fmla="*/ 0 w 41"/>
                <a:gd name="T15" fmla="*/ 2 h 43"/>
                <a:gd name="T16" fmla="*/ 0 w 41"/>
                <a:gd name="T17" fmla="*/ 2 h 43"/>
                <a:gd name="T18" fmla="*/ 0 w 41"/>
                <a:gd name="T19" fmla="*/ 2 h 43"/>
                <a:gd name="T20" fmla="*/ 0 w 41"/>
                <a:gd name="T21" fmla="*/ 2 h 43"/>
                <a:gd name="T22" fmla="*/ 0 w 41"/>
                <a:gd name="T23" fmla="*/ 2 h 43"/>
                <a:gd name="T24" fmla="*/ 0 w 41"/>
                <a:gd name="T25" fmla="*/ 2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5" name="Freeform 772"/>
            <p:cNvSpPr>
              <a:spLocks/>
            </p:cNvSpPr>
            <p:nvPr>
              <p:custDataLst>
                <p:tags r:id="rId133"/>
              </p:custDataLst>
            </p:nvPr>
          </p:nvSpPr>
          <p:spPr bwMode="auto">
            <a:xfrm>
              <a:off x="1604" y="3225"/>
              <a:ext cx="6" cy="37"/>
            </a:xfrm>
            <a:custGeom>
              <a:avLst/>
              <a:gdLst>
                <a:gd name="T0" fmla="*/ 0 w 20"/>
                <a:gd name="T1" fmla="*/ 0 h 24"/>
                <a:gd name="T2" fmla="*/ 0 w 20"/>
                <a:gd name="T3" fmla="*/ 0 h 24"/>
                <a:gd name="T4" fmla="*/ 0 w 20"/>
                <a:gd name="T5" fmla="*/ 29346 h 24"/>
                <a:gd name="T6" fmla="*/ 0 w 20"/>
                <a:gd name="T7" fmla="*/ 52892 h 24"/>
                <a:gd name="T8" fmla="*/ 0 w 20"/>
                <a:gd name="T9" fmla="*/ 75304 h 24"/>
                <a:gd name="T10" fmla="*/ 0 w 20"/>
                <a:gd name="T11" fmla="*/ 97558 h 24"/>
                <a:gd name="T12" fmla="*/ 0 w 20"/>
                <a:gd name="T13" fmla="*/ 116094 h 24"/>
                <a:gd name="T14" fmla="*/ 0 w 20"/>
                <a:gd name="T15" fmla="*/ 125711 h 24"/>
                <a:gd name="T16" fmla="*/ 0 w 20"/>
                <a:gd name="T17" fmla="*/ 139024 h 24"/>
                <a:gd name="T18" fmla="*/ 0 w 20"/>
                <a:gd name="T19" fmla="*/ 139024 h 24"/>
                <a:gd name="T20" fmla="*/ 0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6" name="Freeform 773"/>
            <p:cNvSpPr>
              <a:spLocks/>
            </p:cNvSpPr>
            <p:nvPr>
              <p:custDataLst>
                <p:tags r:id="rId134"/>
              </p:custDataLst>
            </p:nvPr>
          </p:nvSpPr>
          <p:spPr bwMode="auto">
            <a:xfrm>
              <a:off x="1614" y="3264"/>
              <a:ext cx="12" cy="38"/>
            </a:xfrm>
            <a:custGeom>
              <a:avLst/>
              <a:gdLst>
                <a:gd name="T0" fmla="*/ 0 w 39"/>
                <a:gd name="T1" fmla="*/ 4 h 43"/>
                <a:gd name="T2" fmla="*/ 0 w 39"/>
                <a:gd name="T3" fmla="*/ 4 h 43"/>
                <a:gd name="T4" fmla="*/ 0 w 39"/>
                <a:gd name="T5" fmla="*/ 4 h 43"/>
                <a:gd name="T6" fmla="*/ 0 w 39"/>
                <a:gd name="T7" fmla="*/ 4 h 43"/>
                <a:gd name="T8" fmla="*/ 0 w 39"/>
                <a:gd name="T9" fmla="*/ 4 h 43"/>
                <a:gd name="T10" fmla="*/ 0 w 39"/>
                <a:gd name="T11" fmla="*/ 4 h 43"/>
                <a:gd name="T12" fmla="*/ 0 w 39"/>
                <a:gd name="T13" fmla="*/ 4 h 43"/>
                <a:gd name="T14" fmla="*/ 0 w 39"/>
                <a:gd name="T15" fmla="*/ 4 h 43"/>
                <a:gd name="T16" fmla="*/ 0 w 39"/>
                <a:gd name="T17" fmla="*/ 4 h 43"/>
                <a:gd name="T18" fmla="*/ 0 w 39"/>
                <a:gd name="T19" fmla="*/ 4 h 43"/>
                <a:gd name="T20" fmla="*/ 0 w 39"/>
                <a:gd name="T21" fmla="*/ 4 h 43"/>
                <a:gd name="T22" fmla="*/ 0 w 39"/>
                <a:gd name="T23" fmla="*/ 4 h 43"/>
                <a:gd name="T24" fmla="*/ 0 w 39"/>
                <a:gd name="T25" fmla="*/ 0 h 43"/>
                <a:gd name="T26" fmla="*/ 0 w 39"/>
                <a:gd name="T27" fmla="*/ 3 h 43"/>
                <a:gd name="T28" fmla="*/ 0 w 39"/>
                <a:gd name="T29" fmla="*/ 4 h 43"/>
                <a:gd name="T30" fmla="*/ 0 w 39"/>
                <a:gd name="T31" fmla="*/ 4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7" name="Freeform 774"/>
            <p:cNvSpPr>
              <a:spLocks/>
            </p:cNvSpPr>
            <p:nvPr>
              <p:custDataLst>
                <p:tags r:id="rId135"/>
              </p:custDataLst>
            </p:nvPr>
          </p:nvSpPr>
          <p:spPr bwMode="auto">
            <a:xfrm>
              <a:off x="1606" y="3272"/>
              <a:ext cx="18" cy="37"/>
            </a:xfrm>
            <a:custGeom>
              <a:avLst/>
              <a:gdLst>
                <a:gd name="T0" fmla="*/ 0 w 55"/>
                <a:gd name="T1" fmla="*/ 1 h 62"/>
                <a:gd name="T2" fmla="*/ 0 w 55"/>
                <a:gd name="T3" fmla="*/ 0 h 62"/>
                <a:gd name="T4" fmla="*/ 0 w 55"/>
                <a:gd name="T5" fmla="*/ 1 h 62"/>
                <a:gd name="T6" fmla="*/ 0 w 55"/>
                <a:gd name="T7" fmla="*/ 1 h 62"/>
                <a:gd name="T8" fmla="*/ 0 w 55"/>
                <a:gd name="T9" fmla="*/ 1 h 62"/>
                <a:gd name="T10" fmla="*/ 0 w 55"/>
                <a:gd name="T11" fmla="*/ 1 h 62"/>
                <a:gd name="T12" fmla="*/ 0 w 55"/>
                <a:gd name="T13" fmla="*/ 1 h 62"/>
                <a:gd name="T14" fmla="*/ 0 w 55"/>
                <a:gd name="T15" fmla="*/ 1 h 62"/>
                <a:gd name="T16" fmla="*/ 0 w 55"/>
                <a:gd name="T17" fmla="*/ 1 h 62"/>
                <a:gd name="T18" fmla="*/ 0 w 55"/>
                <a:gd name="T19" fmla="*/ 1 h 62"/>
                <a:gd name="T20" fmla="*/ 0 w 55"/>
                <a:gd name="T21" fmla="*/ 1 h 62"/>
                <a:gd name="T22" fmla="*/ 0 w 55"/>
                <a:gd name="T23" fmla="*/ 1 h 62"/>
                <a:gd name="T24" fmla="*/ 0 w 55"/>
                <a:gd name="T25" fmla="*/ 1 h 62"/>
                <a:gd name="T26" fmla="*/ 0 w 55"/>
                <a:gd name="T27" fmla="*/ 1 h 62"/>
                <a:gd name="T28" fmla="*/ 0 w 55"/>
                <a:gd name="T29" fmla="*/ 1 h 62"/>
                <a:gd name="T30" fmla="*/ 0 w 55"/>
                <a:gd name="T31" fmla="*/ 1 h 62"/>
                <a:gd name="T32" fmla="*/ 0 w 55"/>
                <a:gd name="T33" fmla="*/ 1 h 62"/>
                <a:gd name="T34" fmla="*/ 0 w 55"/>
                <a:gd name="T35" fmla="*/ 1 h 62"/>
                <a:gd name="T36" fmla="*/ 0 w 55"/>
                <a:gd name="T37" fmla="*/ 1 h 62"/>
                <a:gd name="T38" fmla="*/ 0 w 55"/>
                <a:gd name="T39" fmla="*/ 1 h 62"/>
                <a:gd name="T40" fmla="*/ 0 w 55"/>
                <a:gd name="T41" fmla="*/ 1 h 62"/>
                <a:gd name="T42" fmla="*/ 0 w 55"/>
                <a:gd name="T43" fmla="*/ 1 h 62"/>
                <a:gd name="T44" fmla="*/ 0 w 55"/>
                <a:gd name="T45" fmla="*/ 1 h 62"/>
                <a:gd name="T46" fmla="*/ 0 w 55"/>
                <a:gd name="T47" fmla="*/ 1 h 62"/>
                <a:gd name="T48" fmla="*/ 0 w 55"/>
                <a:gd name="T49" fmla="*/ 1 h 62"/>
                <a:gd name="T50" fmla="*/ 0 w 55"/>
                <a:gd name="T51" fmla="*/ 1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8" name="Freeform 775"/>
            <p:cNvSpPr>
              <a:spLocks/>
            </p:cNvSpPr>
            <p:nvPr>
              <p:custDataLst>
                <p:tags r:id="rId136"/>
              </p:custDataLst>
            </p:nvPr>
          </p:nvSpPr>
          <p:spPr bwMode="auto">
            <a:xfrm>
              <a:off x="1626" y="3293"/>
              <a:ext cx="8" cy="37"/>
            </a:xfrm>
            <a:custGeom>
              <a:avLst/>
              <a:gdLst>
                <a:gd name="T0" fmla="*/ 0 w 35"/>
                <a:gd name="T1" fmla="*/ 3 h 43"/>
                <a:gd name="T2" fmla="*/ 0 w 35"/>
                <a:gd name="T3" fmla="*/ 0 h 43"/>
                <a:gd name="T4" fmla="*/ 0 w 35"/>
                <a:gd name="T5" fmla="*/ 3 h 43"/>
                <a:gd name="T6" fmla="*/ 0 w 35"/>
                <a:gd name="T7" fmla="*/ 3 h 43"/>
                <a:gd name="T8" fmla="*/ 0 w 35"/>
                <a:gd name="T9" fmla="*/ 3 h 43"/>
                <a:gd name="T10" fmla="*/ 0 w 35"/>
                <a:gd name="T11" fmla="*/ 3 h 43"/>
                <a:gd name="T12" fmla="*/ 0 w 35"/>
                <a:gd name="T13" fmla="*/ 3 h 43"/>
                <a:gd name="T14" fmla="*/ 0 w 35"/>
                <a:gd name="T15" fmla="*/ 3 h 43"/>
                <a:gd name="T16" fmla="*/ 0 w 35"/>
                <a:gd name="T17" fmla="*/ 3 h 43"/>
                <a:gd name="T18" fmla="*/ 0 w 35"/>
                <a:gd name="T19" fmla="*/ 3 h 43"/>
                <a:gd name="T20" fmla="*/ 0 w 35"/>
                <a:gd name="T21" fmla="*/ 3 h 43"/>
                <a:gd name="T22" fmla="*/ 0 w 35"/>
                <a:gd name="T23" fmla="*/ 3 h 43"/>
                <a:gd name="T24" fmla="*/ 0 w 35"/>
                <a:gd name="T25" fmla="*/ 3 h 43"/>
                <a:gd name="T26" fmla="*/ 0 w 35"/>
                <a:gd name="T27" fmla="*/ 3 h 43"/>
                <a:gd name="T28" fmla="*/ 0 w 35"/>
                <a:gd name="T29" fmla="*/ 3 h 43"/>
                <a:gd name="T30" fmla="*/ 0 w 35"/>
                <a:gd name="T31" fmla="*/ 3 h 43"/>
                <a:gd name="T32" fmla="*/ 0 w 35"/>
                <a:gd name="T33" fmla="*/ 3 h 43"/>
                <a:gd name="T34" fmla="*/ 0 w 35"/>
                <a:gd name="T35" fmla="*/ 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9" name="Freeform 776"/>
            <p:cNvSpPr>
              <a:spLocks/>
            </p:cNvSpPr>
            <p:nvPr>
              <p:custDataLst>
                <p:tags r:id="rId137"/>
              </p:custDataLst>
            </p:nvPr>
          </p:nvSpPr>
          <p:spPr bwMode="auto">
            <a:xfrm>
              <a:off x="1624" y="3314"/>
              <a:ext cx="14" cy="35"/>
            </a:xfrm>
            <a:custGeom>
              <a:avLst/>
              <a:gdLst>
                <a:gd name="T0" fmla="*/ 0 w 53"/>
                <a:gd name="T1" fmla="*/ 0 h 21"/>
                <a:gd name="T2" fmla="*/ 0 w 53"/>
                <a:gd name="T3" fmla="*/ 28458 h 21"/>
                <a:gd name="T4" fmla="*/ 0 w 53"/>
                <a:gd name="T5" fmla="*/ 47430 h 21"/>
                <a:gd name="T6" fmla="*/ 0 w 53"/>
                <a:gd name="T7" fmla="*/ 131750 h 21"/>
                <a:gd name="T8" fmla="*/ 0 w 53"/>
                <a:gd name="T9" fmla="*/ 195153 h 21"/>
                <a:gd name="T10" fmla="*/ 0 w 53"/>
                <a:gd name="T11" fmla="*/ 277028 h 21"/>
                <a:gd name="T12" fmla="*/ 0 w 53"/>
                <a:gd name="T13" fmla="*/ 365972 h 21"/>
                <a:gd name="T14" fmla="*/ 0 w 53"/>
                <a:gd name="T15" fmla="*/ 442347 h 21"/>
                <a:gd name="T16" fmla="*/ 0 w 53"/>
                <a:gd name="T17" fmla="*/ 488403 h 21"/>
                <a:gd name="T18" fmla="*/ 0 w 53"/>
                <a:gd name="T19" fmla="*/ 542092 h 21"/>
                <a:gd name="T20" fmla="*/ 0 w 53"/>
                <a:gd name="T21" fmla="*/ 574245 h 21"/>
                <a:gd name="T22" fmla="*/ 0 w 53"/>
                <a:gd name="T23" fmla="*/ 574245 h 21"/>
                <a:gd name="T24" fmla="*/ 0 w 53"/>
                <a:gd name="T25" fmla="*/ 574245 h 21"/>
                <a:gd name="T26" fmla="*/ 0 w 53"/>
                <a:gd name="T27" fmla="*/ 520472 h 21"/>
                <a:gd name="T28" fmla="*/ 0 w 53"/>
                <a:gd name="T29" fmla="*/ 488403 h 21"/>
                <a:gd name="T30" fmla="*/ 0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0" name="Freeform 777"/>
            <p:cNvSpPr>
              <a:spLocks/>
            </p:cNvSpPr>
            <p:nvPr>
              <p:custDataLst>
                <p:tags r:id="rId138"/>
              </p:custDataLst>
            </p:nvPr>
          </p:nvSpPr>
          <p:spPr bwMode="auto">
            <a:xfrm>
              <a:off x="1640" y="3323"/>
              <a:ext cx="12" cy="36"/>
            </a:xfrm>
            <a:custGeom>
              <a:avLst/>
              <a:gdLst>
                <a:gd name="T0" fmla="*/ 0 w 43"/>
                <a:gd name="T1" fmla="*/ 0 h 38"/>
                <a:gd name="T2" fmla="*/ 0 w 43"/>
                <a:gd name="T3" fmla="*/ 0 h 38"/>
                <a:gd name="T4" fmla="*/ 0 w 43"/>
                <a:gd name="T5" fmla="*/ 0 h 38"/>
                <a:gd name="T6" fmla="*/ 0 w 43"/>
                <a:gd name="T7" fmla="*/ 0 h 38"/>
                <a:gd name="T8" fmla="*/ 0 w 43"/>
                <a:gd name="T9" fmla="*/ 1 h 38"/>
                <a:gd name="T10" fmla="*/ 0 w 43"/>
                <a:gd name="T11" fmla="*/ 3 h 38"/>
                <a:gd name="T12" fmla="*/ 0 w 43"/>
                <a:gd name="T13" fmla="*/ 6 h 38"/>
                <a:gd name="T14" fmla="*/ 0 w 43"/>
                <a:gd name="T15" fmla="*/ 9 h 38"/>
                <a:gd name="T16" fmla="*/ 0 w 43"/>
                <a:gd name="T17" fmla="*/ 9 h 38"/>
                <a:gd name="T18" fmla="*/ 0 w 43"/>
                <a:gd name="T19" fmla="*/ 9 h 38"/>
                <a:gd name="T20" fmla="*/ 0 w 43"/>
                <a:gd name="T21" fmla="*/ 9 h 38"/>
                <a:gd name="T22" fmla="*/ 0 w 43"/>
                <a:gd name="T23" fmla="*/ 9 h 38"/>
                <a:gd name="T24" fmla="*/ 0 w 43"/>
                <a:gd name="T25" fmla="*/ 11 h 38"/>
                <a:gd name="T26" fmla="*/ 0 w 43"/>
                <a:gd name="T27" fmla="*/ 12 h 38"/>
                <a:gd name="T28" fmla="*/ 0 w 43"/>
                <a:gd name="T29" fmla="*/ 13 h 38"/>
                <a:gd name="T30" fmla="*/ 0 w 43"/>
                <a:gd name="T31" fmla="*/ 13 h 38"/>
                <a:gd name="T32" fmla="*/ 0 w 43"/>
                <a:gd name="T33" fmla="*/ 12 h 38"/>
                <a:gd name="T34" fmla="*/ 0 w 43"/>
                <a:gd name="T35" fmla="*/ 9 h 38"/>
                <a:gd name="T36" fmla="*/ 0 w 43"/>
                <a:gd name="T37" fmla="*/ 9 h 38"/>
                <a:gd name="T38" fmla="*/ 0 w 43"/>
                <a:gd name="T39" fmla="*/ 9 h 38"/>
                <a:gd name="T40" fmla="*/ 0 w 43"/>
                <a:gd name="T41" fmla="*/ 9 h 38"/>
                <a:gd name="T42" fmla="*/ 0 w 43"/>
                <a:gd name="T43" fmla="*/ 9 h 38"/>
                <a:gd name="T44" fmla="*/ 0 w 43"/>
                <a:gd name="T45" fmla="*/ 7 h 38"/>
                <a:gd name="T46" fmla="*/ 0 w 43"/>
                <a:gd name="T47" fmla="*/ 4 h 38"/>
                <a:gd name="T48" fmla="*/ 0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1" name="Freeform 778"/>
            <p:cNvSpPr>
              <a:spLocks/>
            </p:cNvSpPr>
            <p:nvPr>
              <p:custDataLst>
                <p:tags r:id="rId139"/>
              </p:custDataLst>
            </p:nvPr>
          </p:nvSpPr>
          <p:spPr bwMode="auto">
            <a:xfrm>
              <a:off x="1641" y="3341"/>
              <a:ext cx="5" cy="36"/>
            </a:xfrm>
            <a:custGeom>
              <a:avLst/>
              <a:gdLst>
                <a:gd name="T0" fmla="*/ 0 w 20"/>
                <a:gd name="T1" fmla="*/ 0 h 5"/>
                <a:gd name="T2" fmla="*/ 0 w 20"/>
                <a:gd name="T3" fmla="*/ 2147483647 h 5"/>
                <a:gd name="T4" fmla="*/ 0 w 20"/>
                <a:gd name="T5" fmla="*/ 2147483647 h 5"/>
                <a:gd name="T6" fmla="*/ 0 w 20"/>
                <a:gd name="T7" fmla="*/ 2147483647 h 5"/>
                <a:gd name="T8" fmla="*/ 0 w 20"/>
                <a:gd name="T9" fmla="*/ 2147483647 h 5"/>
                <a:gd name="T10" fmla="*/ 0 w 20"/>
                <a:gd name="T11" fmla="*/ 2147483647 h 5"/>
                <a:gd name="T12" fmla="*/ 0 w 20"/>
                <a:gd name="T13" fmla="*/ 2147483647 h 5"/>
                <a:gd name="T14" fmla="*/ 0 w 20"/>
                <a:gd name="T15" fmla="*/ 2147483647 h 5"/>
                <a:gd name="T16" fmla="*/ 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2" name="Freeform 779"/>
            <p:cNvSpPr>
              <a:spLocks/>
            </p:cNvSpPr>
            <p:nvPr>
              <p:custDataLst>
                <p:tags r:id="rId140"/>
              </p:custDataLst>
            </p:nvPr>
          </p:nvSpPr>
          <p:spPr bwMode="auto">
            <a:xfrm>
              <a:off x="1692" y="3385"/>
              <a:ext cx="24" cy="36"/>
            </a:xfrm>
            <a:custGeom>
              <a:avLst/>
              <a:gdLst>
                <a:gd name="T0" fmla="*/ 0 w 73"/>
                <a:gd name="T1" fmla="*/ 0 h 22"/>
                <a:gd name="T2" fmla="*/ 0 w 73"/>
                <a:gd name="T3" fmla="*/ 20779 h 22"/>
                <a:gd name="T4" fmla="*/ 0 w 73"/>
                <a:gd name="T5" fmla="*/ 34002 h 22"/>
                <a:gd name="T6" fmla="*/ 0 w 73"/>
                <a:gd name="T7" fmla="*/ 91047 h 22"/>
                <a:gd name="T8" fmla="*/ 0 w 73"/>
                <a:gd name="T9" fmla="*/ 148986 h 22"/>
                <a:gd name="T10" fmla="*/ 0 w 73"/>
                <a:gd name="T11" fmla="*/ 266493 h 22"/>
                <a:gd name="T12" fmla="*/ 0 w 73"/>
                <a:gd name="T13" fmla="*/ 360229 h 22"/>
                <a:gd name="T14" fmla="*/ 0 w 73"/>
                <a:gd name="T15" fmla="*/ 381134 h 22"/>
                <a:gd name="T16" fmla="*/ 0 w 73"/>
                <a:gd name="T17" fmla="*/ 419186 h 22"/>
                <a:gd name="T18" fmla="*/ 0 w 73"/>
                <a:gd name="T19" fmla="*/ 419186 h 22"/>
                <a:gd name="T20" fmla="*/ 0 w 73"/>
                <a:gd name="T21" fmla="*/ 419186 h 22"/>
                <a:gd name="T22" fmla="*/ 0 w 73"/>
                <a:gd name="T23" fmla="*/ 398937 h 22"/>
                <a:gd name="T24" fmla="*/ 0 w 73"/>
                <a:gd name="T25" fmla="*/ 360229 h 22"/>
                <a:gd name="T26" fmla="*/ 0 w 73"/>
                <a:gd name="T27" fmla="*/ 266493 h 22"/>
                <a:gd name="T28" fmla="*/ 0 w 73"/>
                <a:gd name="T29" fmla="*/ 148986 h 22"/>
                <a:gd name="T30" fmla="*/ 0 w 73"/>
                <a:gd name="T31" fmla="*/ 91047 h 22"/>
                <a:gd name="T32" fmla="*/ 0 w 73"/>
                <a:gd name="T33" fmla="*/ 34002 h 22"/>
                <a:gd name="T34" fmla="*/ 0 w 73"/>
                <a:gd name="T35" fmla="*/ 20779 h 22"/>
                <a:gd name="T36" fmla="*/ 0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3" name="Freeform 780"/>
            <p:cNvSpPr>
              <a:spLocks/>
            </p:cNvSpPr>
            <p:nvPr>
              <p:custDataLst>
                <p:tags r:id="rId141"/>
              </p:custDataLst>
            </p:nvPr>
          </p:nvSpPr>
          <p:spPr bwMode="auto">
            <a:xfrm>
              <a:off x="1718" y="3348"/>
              <a:ext cx="85" cy="63"/>
            </a:xfrm>
            <a:custGeom>
              <a:avLst/>
              <a:gdLst>
                <a:gd name="T0" fmla="*/ 0 w 281"/>
                <a:gd name="T1" fmla="*/ 0 h 193"/>
                <a:gd name="T2" fmla="*/ 0 w 281"/>
                <a:gd name="T3" fmla="*/ 0 h 193"/>
                <a:gd name="T4" fmla="*/ 0 w 281"/>
                <a:gd name="T5" fmla="*/ 0 h 193"/>
                <a:gd name="T6" fmla="*/ 0 w 281"/>
                <a:gd name="T7" fmla="*/ 0 h 193"/>
                <a:gd name="T8" fmla="*/ 0 w 281"/>
                <a:gd name="T9" fmla="*/ 0 h 193"/>
                <a:gd name="T10" fmla="*/ 0 w 281"/>
                <a:gd name="T11" fmla="*/ 0 h 193"/>
                <a:gd name="T12" fmla="*/ 0 w 281"/>
                <a:gd name="T13" fmla="*/ 0 h 193"/>
                <a:gd name="T14" fmla="*/ 0 w 281"/>
                <a:gd name="T15" fmla="*/ 0 h 193"/>
                <a:gd name="T16" fmla="*/ 0 w 281"/>
                <a:gd name="T17" fmla="*/ 0 h 193"/>
                <a:gd name="T18" fmla="*/ 0 w 281"/>
                <a:gd name="T19" fmla="*/ 0 h 193"/>
                <a:gd name="T20" fmla="*/ 0 w 281"/>
                <a:gd name="T21" fmla="*/ 0 h 193"/>
                <a:gd name="T22" fmla="*/ 0 w 281"/>
                <a:gd name="T23" fmla="*/ 0 h 193"/>
                <a:gd name="T24" fmla="*/ 0 w 281"/>
                <a:gd name="T25" fmla="*/ 0 h 193"/>
                <a:gd name="T26" fmla="*/ 0 w 281"/>
                <a:gd name="T27" fmla="*/ 0 h 193"/>
                <a:gd name="T28" fmla="*/ 0 w 281"/>
                <a:gd name="T29" fmla="*/ 0 h 193"/>
                <a:gd name="T30" fmla="*/ 0 w 281"/>
                <a:gd name="T31" fmla="*/ 0 h 193"/>
                <a:gd name="T32" fmla="*/ 0 w 281"/>
                <a:gd name="T33" fmla="*/ 0 h 193"/>
                <a:gd name="T34" fmla="*/ 0 w 281"/>
                <a:gd name="T35" fmla="*/ 0 h 193"/>
                <a:gd name="T36" fmla="*/ 0 w 281"/>
                <a:gd name="T37" fmla="*/ 0 h 193"/>
                <a:gd name="T38" fmla="*/ 0 w 281"/>
                <a:gd name="T39" fmla="*/ 0 h 193"/>
                <a:gd name="T40" fmla="*/ 0 w 281"/>
                <a:gd name="T41" fmla="*/ 0 h 193"/>
                <a:gd name="T42" fmla="*/ 0 w 281"/>
                <a:gd name="T43" fmla="*/ 0 h 193"/>
                <a:gd name="T44" fmla="*/ 0 w 281"/>
                <a:gd name="T45" fmla="*/ 0 h 193"/>
                <a:gd name="T46" fmla="*/ 0 w 281"/>
                <a:gd name="T47" fmla="*/ 0 h 193"/>
                <a:gd name="T48" fmla="*/ 0 w 281"/>
                <a:gd name="T49" fmla="*/ 0 h 193"/>
                <a:gd name="T50" fmla="*/ 0 w 281"/>
                <a:gd name="T51" fmla="*/ 0 h 193"/>
                <a:gd name="T52" fmla="*/ 0 w 281"/>
                <a:gd name="T53" fmla="*/ 0 h 193"/>
                <a:gd name="T54" fmla="*/ 0 w 281"/>
                <a:gd name="T55" fmla="*/ 0 h 193"/>
                <a:gd name="T56" fmla="*/ 0 w 281"/>
                <a:gd name="T57" fmla="*/ 0 h 193"/>
                <a:gd name="T58" fmla="*/ 0 w 281"/>
                <a:gd name="T59" fmla="*/ 0 h 193"/>
                <a:gd name="T60" fmla="*/ 0 w 281"/>
                <a:gd name="T61" fmla="*/ 0 h 193"/>
                <a:gd name="T62" fmla="*/ 0 w 281"/>
                <a:gd name="T63" fmla="*/ 0 h 193"/>
                <a:gd name="T64" fmla="*/ 0 w 281"/>
                <a:gd name="T65" fmla="*/ 0 h 193"/>
                <a:gd name="T66" fmla="*/ 0 w 281"/>
                <a:gd name="T67" fmla="*/ 0 h 193"/>
                <a:gd name="T68" fmla="*/ 0 w 281"/>
                <a:gd name="T69" fmla="*/ 0 h 193"/>
                <a:gd name="T70" fmla="*/ 0 w 281"/>
                <a:gd name="T71" fmla="*/ 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4" name="Freeform 781"/>
            <p:cNvSpPr>
              <a:spLocks/>
            </p:cNvSpPr>
            <p:nvPr>
              <p:custDataLst>
                <p:tags r:id="rId142"/>
              </p:custDataLst>
            </p:nvPr>
          </p:nvSpPr>
          <p:spPr bwMode="auto">
            <a:xfrm>
              <a:off x="1413" y="1941"/>
              <a:ext cx="35" cy="37"/>
            </a:xfrm>
            <a:custGeom>
              <a:avLst/>
              <a:gdLst>
                <a:gd name="T0" fmla="*/ 0 w 120"/>
                <a:gd name="T1" fmla="*/ 1 h 56"/>
                <a:gd name="T2" fmla="*/ 0 w 120"/>
                <a:gd name="T3" fmla="*/ 1 h 56"/>
                <a:gd name="T4" fmla="*/ 0 w 120"/>
                <a:gd name="T5" fmla="*/ 1 h 56"/>
                <a:gd name="T6" fmla="*/ 0 w 120"/>
                <a:gd name="T7" fmla="*/ 1 h 56"/>
                <a:gd name="T8" fmla="*/ 0 w 120"/>
                <a:gd name="T9" fmla="*/ 1 h 56"/>
                <a:gd name="T10" fmla="*/ 0 w 120"/>
                <a:gd name="T11" fmla="*/ 1 h 56"/>
                <a:gd name="T12" fmla="*/ 0 w 120"/>
                <a:gd name="T13" fmla="*/ 1 h 56"/>
                <a:gd name="T14" fmla="*/ 0 w 120"/>
                <a:gd name="T15" fmla="*/ 1 h 56"/>
                <a:gd name="T16" fmla="*/ 0 w 120"/>
                <a:gd name="T17" fmla="*/ 1 h 56"/>
                <a:gd name="T18" fmla="*/ 0 w 120"/>
                <a:gd name="T19" fmla="*/ 1 h 56"/>
                <a:gd name="T20" fmla="*/ 0 w 120"/>
                <a:gd name="T21" fmla="*/ 1 h 56"/>
                <a:gd name="T22" fmla="*/ 0 w 120"/>
                <a:gd name="T23" fmla="*/ 1 h 56"/>
                <a:gd name="T24" fmla="*/ 0 w 120"/>
                <a:gd name="T25" fmla="*/ 1 h 56"/>
                <a:gd name="T26" fmla="*/ 0 w 120"/>
                <a:gd name="T27" fmla="*/ 1 h 56"/>
                <a:gd name="T28" fmla="*/ 0 w 120"/>
                <a:gd name="T29" fmla="*/ 1 h 56"/>
                <a:gd name="T30" fmla="*/ 0 w 120"/>
                <a:gd name="T31" fmla="*/ 1 h 56"/>
                <a:gd name="T32" fmla="*/ 0 w 120"/>
                <a:gd name="T33" fmla="*/ 1 h 56"/>
                <a:gd name="T34" fmla="*/ 0 w 120"/>
                <a:gd name="T35" fmla="*/ 1 h 56"/>
                <a:gd name="T36" fmla="*/ 0 w 120"/>
                <a:gd name="T37" fmla="*/ 1 h 56"/>
                <a:gd name="T38" fmla="*/ 0 w 120"/>
                <a:gd name="T39" fmla="*/ 1 h 56"/>
                <a:gd name="T40" fmla="*/ 0 w 120"/>
                <a:gd name="T41" fmla="*/ 1 h 56"/>
                <a:gd name="T42" fmla="*/ 0 w 120"/>
                <a:gd name="T43" fmla="*/ 0 h 56"/>
                <a:gd name="T44" fmla="*/ 0 w 120"/>
                <a:gd name="T45" fmla="*/ 1 h 56"/>
                <a:gd name="T46" fmla="*/ 0 w 120"/>
                <a:gd name="T47" fmla="*/ 1 h 56"/>
                <a:gd name="T48" fmla="*/ 0 w 120"/>
                <a:gd name="T49" fmla="*/ 1 h 56"/>
                <a:gd name="T50" fmla="*/ 0 w 120"/>
                <a:gd name="T51" fmla="*/ 1 h 56"/>
                <a:gd name="T52" fmla="*/ 0 w 120"/>
                <a:gd name="T53" fmla="*/ 1 h 56"/>
                <a:gd name="T54" fmla="*/ 0 w 120"/>
                <a:gd name="T55" fmla="*/ 1 h 56"/>
                <a:gd name="T56" fmla="*/ 0 w 120"/>
                <a:gd name="T57" fmla="*/ 1 h 56"/>
                <a:gd name="T58" fmla="*/ 0 w 120"/>
                <a:gd name="T59" fmla="*/ 1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5" name="Freeform 782"/>
            <p:cNvSpPr>
              <a:spLocks/>
            </p:cNvSpPr>
            <p:nvPr>
              <p:custDataLst>
                <p:tags r:id="rId143"/>
              </p:custDataLst>
            </p:nvPr>
          </p:nvSpPr>
          <p:spPr bwMode="auto">
            <a:xfrm>
              <a:off x="1315" y="1854"/>
              <a:ext cx="171" cy="69"/>
            </a:xfrm>
            <a:custGeom>
              <a:avLst/>
              <a:gdLst>
                <a:gd name="T0" fmla="*/ 0 w 574"/>
                <a:gd name="T1" fmla="*/ 0 h 204"/>
                <a:gd name="T2" fmla="*/ 0 w 574"/>
                <a:gd name="T3" fmla="*/ 0 h 204"/>
                <a:gd name="T4" fmla="*/ 0 w 574"/>
                <a:gd name="T5" fmla="*/ 0 h 204"/>
                <a:gd name="T6" fmla="*/ 0 w 574"/>
                <a:gd name="T7" fmla="*/ 0 h 204"/>
                <a:gd name="T8" fmla="*/ 0 w 574"/>
                <a:gd name="T9" fmla="*/ 0 h 204"/>
                <a:gd name="T10" fmla="*/ 0 w 574"/>
                <a:gd name="T11" fmla="*/ 0 h 204"/>
                <a:gd name="T12" fmla="*/ 0 w 574"/>
                <a:gd name="T13" fmla="*/ 0 h 204"/>
                <a:gd name="T14" fmla="*/ 0 w 574"/>
                <a:gd name="T15" fmla="*/ 0 h 204"/>
                <a:gd name="T16" fmla="*/ 0 w 574"/>
                <a:gd name="T17" fmla="*/ 0 h 204"/>
                <a:gd name="T18" fmla="*/ 0 w 574"/>
                <a:gd name="T19" fmla="*/ 0 h 204"/>
                <a:gd name="T20" fmla="*/ 0 w 574"/>
                <a:gd name="T21" fmla="*/ 0 h 204"/>
                <a:gd name="T22" fmla="*/ 0 w 574"/>
                <a:gd name="T23" fmla="*/ 0 h 204"/>
                <a:gd name="T24" fmla="*/ 0 w 574"/>
                <a:gd name="T25" fmla="*/ 0 h 204"/>
                <a:gd name="T26" fmla="*/ 0 w 574"/>
                <a:gd name="T27" fmla="*/ 0 h 204"/>
                <a:gd name="T28" fmla="*/ 0 w 574"/>
                <a:gd name="T29" fmla="*/ 0 h 204"/>
                <a:gd name="T30" fmla="*/ 0 w 574"/>
                <a:gd name="T31" fmla="*/ 0 h 204"/>
                <a:gd name="T32" fmla="*/ 0 w 574"/>
                <a:gd name="T33" fmla="*/ 0 h 204"/>
                <a:gd name="T34" fmla="*/ 0 w 574"/>
                <a:gd name="T35" fmla="*/ 0 h 204"/>
                <a:gd name="T36" fmla="*/ 0 w 574"/>
                <a:gd name="T37" fmla="*/ 0 h 204"/>
                <a:gd name="T38" fmla="*/ 0 w 574"/>
                <a:gd name="T39" fmla="*/ 0 h 204"/>
                <a:gd name="T40" fmla="*/ 0 w 574"/>
                <a:gd name="T41" fmla="*/ 0 h 204"/>
                <a:gd name="T42" fmla="*/ 0 w 574"/>
                <a:gd name="T43" fmla="*/ 0 h 204"/>
                <a:gd name="T44" fmla="*/ 0 w 574"/>
                <a:gd name="T45" fmla="*/ 0 h 204"/>
                <a:gd name="T46" fmla="*/ 0 w 574"/>
                <a:gd name="T47" fmla="*/ 0 h 204"/>
                <a:gd name="T48" fmla="*/ 0 w 574"/>
                <a:gd name="T49" fmla="*/ 0 h 204"/>
                <a:gd name="T50" fmla="*/ 0 w 574"/>
                <a:gd name="T51" fmla="*/ 0 h 204"/>
                <a:gd name="T52" fmla="*/ 0 w 574"/>
                <a:gd name="T53" fmla="*/ 0 h 204"/>
                <a:gd name="T54" fmla="*/ 0 w 574"/>
                <a:gd name="T55" fmla="*/ 0 h 204"/>
                <a:gd name="T56" fmla="*/ 0 w 574"/>
                <a:gd name="T57" fmla="*/ 0 h 204"/>
                <a:gd name="T58" fmla="*/ 0 w 574"/>
                <a:gd name="T59" fmla="*/ 0 h 204"/>
                <a:gd name="T60" fmla="*/ 0 w 574"/>
                <a:gd name="T61" fmla="*/ 0 h 204"/>
                <a:gd name="T62" fmla="*/ 0 w 574"/>
                <a:gd name="T63" fmla="*/ 0 h 204"/>
                <a:gd name="T64" fmla="*/ 0 w 574"/>
                <a:gd name="T65" fmla="*/ 0 h 204"/>
                <a:gd name="T66" fmla="*/ 0 w 574"/>
                <a:gd name="T67" fmla="*/ 0 h 204"/>
                <a:gd name="T68" fmla="*/ 0 w 574"/>
                <a:gd name="T69" fmla="*/ 0 h 204"/>
                <a:gd name="T70" fmla="*/ 0 w 574"/>
                <a:gd name="T71" fmla="*/ 0 h 204"/>
                <a:gd name="T72" fmla="*/ 0 w 574"/>
                <a:gd name="T73" fmla="*/ 0 h 204"/>
                <a:gd name="T74" fmla="*/ 0 w 574"/>
                <a:gd name="T75" fmla="*/ 0 h 204"/>
                <a:gd name="T76" fmla="*/ 0 w 574"/>
                <a:gd name="T77" fmla="*/ 0 h 204"/>
                <a:gd name="T78" fmla="*/ 0 w 574"/>
                <a:gd name="T79" fmla="*/ 0 h 204"/>
                <a:gd name="T80" fmla="*/ 0 w 574"/>
                <a:gd name="T81" fmla="*/ 0 h 204"/>
                <a:gd name="T82" fmla="*/ 0 w 574"/>
                <a:gd name="T83" fmla="*/ 0 h 204"/>
                <a:gd name="T84" fmla="*/ 0 w 574"/>
                <a:gd name="T85" fmla="*/ 0 h 204"/>
                <a:gd name="T86" fmla="*/ 0 w 574"/>
                <a:gd name="T87" fmla="*/ 0 h 204"/>
                <a:gd name="T88" fmla="*/ 0 w 574"/>
                <a:gd name="T89" fmla="*/ 0 h 204"/>
                <a:gd name="T90" fmla="*/ 0 w 574"/>
                <a:gd name="T91" fmla="*/ 0 h 204"/>
                <a:gd name="T92" fmla="*/ 0 w 574"/>
                <a:gd name="T93" fmla="*/ 0 h 204"/>
                <a:gd name="T94" fmla="*/ 0 w 574"/>
                <a:gd name="T95" fmla="*/ 0 h 204"/>
                <a:gd name="T96" fmla="*/ 0 w 574"/>
                <a:gd name="T97" fmla="*/ 0 h 204"/>
                <a:gd name="T98" fmla="*/ 0 w 574"/>
                <a:gd name="T99" fmla="*/ 0 h 204"/>
                <a:gd name="T100" fmla="*/ 0 w 574"/>
                <a:gd name="T101" fmla="*/ 0 h 204"/>
                <a:gd name="T102" fmla="*/ 0 w 574"/>
                <a:gd name="T103" fmla="*/ 0 h 204"/>
                <a:gd name="T104" fmla="*/ 0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6" name="Freeform 783"/>
            <p:cNvSpPr>
              <a:spLocks/>
            </p:cNvSpPr>
            <p:nvPr>
              <p:custDataLst>
                <p:tags r:id="rId144"/>
              </p:custDataLst>
            </p:nvPr>
          </p:nvSpPr>
          <p:spPr bwMode="auto">
            <a:xfrm>
              <a:off x="1523" y="1919"/>
              <a:ext cx="61" cy="44"/>
            </a:xfrm>
            <a:custGeom>
              <a:avLst/>
              <a:gdLst>
                <a:gd name="T0" fmla="*/ 0 w 207"/>
                <a:gd name="T1" fmla="*/ 0 h 129"/>
                <a:gd name="T2" fmla="*/ 0 w 207"/>
                <a:gd name="T3" fmla="*/ 0 h 129"/>
                <a:gd name="T4" fmla="*/ 0 w 207"/>
                <a:gd name="T5" fmla="*/ 0 h 129"/>
                <a:gd name="T6" fmla="*/ 0 w 207"/>
                <a:gd name="T7" fmla="*/ 0 h 129"/>
                <a:gd name="T8" fmla="*/ 0 w 207"/>
                <a:gd name="T9" fmla="*/ 0 h 129"/>
                <a:gd name="T10" fmla="*/ 0 w 207"/>
                <a:gd name="T11" fmla="*/ 0 h 129"/>
                <a:gd name="T12" fmla="*/ 0 w 207"/>
                <a:gd name="T13" fmla="*/ 0 h 129"/>
                <a:gd name="T14" fmla="*/ 0 w 207"/>
                <a:gd name="T15" fmla="*/ 0 h 129"/>
                <a:gd name="T16" fmla="*/ 0 w 207"/>
                <a:gd name="T17" fmla="*/ 0 h 129"/>
                <a:gd name="T18" fmla="*/ 0 w 207"/>
                <a:gd name="T19" fmla="*/ 0 h 129"/>
                <a:gd name="T20" fmla="*/ 0 w 207"/>
                <a:gd name="T21" fmla="*/ 0 h 129"/>
                <a:gd name="T22" fmla="*/ 0 w 207"/>
                <a:gd name="T23" fmla="*/ 0 h 129"/>
                <a:gd name="T24" fmla="*/ 0 w 207"/>
                <a:gd name="T25" fmla="*/ 0 h 129"/>
                <a:gd name="T26" fmla="*/ 0 w 207"/>
                <a:gd name="T27" fmla="*/ 0 h 129"/>
                <a:gd name="T28" fmla="*/ 0 w 207"/>
                <a:gd name="T29" fmla="*/ 0 h 129"/>
                <a:gd name="T30" fmla="*/ 0 w 207"/>
                <a:gd name="T31" fmla="*/ 0 h 129"/>
                <a:gd name="T32" fmla="*/ 0 w 207"/>
                <a:gd name="T33" fmla="*/ 0 h 129"/>
                <a:gd name="T34" fmla="*/ 0 w 207"/>
                <a:gd name="T35" fmla="*/ 0 h 129"/>
                <a:gd name="T36" fmla="*/ 0 w 207"/>
                <a:gd name="T37" fmla="*/ 0 h 129"/>
                <a:gd name="T38" fmla="*/ 0 w 207"/>
                <a:gd name="T39" fmla="*/ 0 h 129"/>
                <a:gd name="T40" fmla="*/ 0 w 207"/>
                <a:gd name="T41" fmla="*/ 0 h 129"/>
                <a:gd name="T42" fmla="*/ 0 w 207"/>
                <a:gd name="T43" fmla="*/ 0 h 129"/>
                <a:gd name="T44" fmla="*/ 0 w 207"/>
                <a:gd name="T45" fmla="*/ 0 h 129"/>
                <a:gd name="T46" fmla="*/ 0 w 207"/>
                <a:gd name="T47" fmla="*/ 0 h 129"/>
                <a:gd name="T48" fmla="*/ 0 w 207"/>
                <a:gd name="T49" fmla="*/ 0 h 129"/>
                <a:gd name="T50" fmla="*/ 0 w 207"/>
                <a:gd name="T51" fmla="*/ 0 h 129"/>
                <a:gd name="T52" fmla="*/ 0 w 207"/>
                <a:gd name="T53" fmla="*/ 0 h 129"/>
                <a:gd name="T54" fmla="*/ 0 w 207"/>
                <a:gd name="T55" fmla="*/ 0 h 129"/>
                <a:gd name="T56" fmla="*/ 0 w 207"/>
                <a:gd name="T57" fmla="*/ 0 h 129"/>
                <a:gd name="T58" fmla="*/ 0 w 207"/>
                <a:gd name="T59" fmla="*/ 0 h 129"/>
                <a:gd name="T60" fmla="*/ 0 w 207"/>
                <a:gd name="T61" fmla="*/ 0 h 129"/>
                <a:gd name="T62" fmla="*/ 0 w 207"/>
                <a:gd name="T63" fmla="*/ 0 h 129"/>
                <a:gd name="T64" fmla="*/ 0 w 207"/>
                <a:gd name="T65" fmla="*/ 0 h 129"/>
                <a:gd name="T66" fmla="*/ 0 w 207"/>
                <a:gd name="T67" fmla="*/ 0 h 129"/>
                <a:gd name="T68" fmla="*/ 0 w 207"/>
                <a:gd name="T69" fmla="*/ 0 h 129"/>
                <a:gd name="T70" fmla="*/ 0 w 207"/>
                <a:gd name="T71" fmla="*/ 0 h 129"/>
                <a:gd name="T72" fmla="*/ 0 w 207"/>
                <a:gd name="T73" fmla="*/ 0 h 129"/>
                <a:gd name="T74" fmla="*/ 0 w 207"/>
                <a:gd name="T75" fmla="*/ 0 h 129"/>
                <a:gd name="T76" fmla="*/ 0 w 207"/>
                <a:gd name="T77" fmla="*/ 0 h 129"/>
                <a:gd name="T78" fmla="*/ 0 w 207"/>
                <a:gd name="T79" fmla="*/ 0 h 129"/>
                <a:gd name="T80" fmla="*/ 0 w 207"/>
                <a:gd name="T81" fmla="*/ 0 h 129"/>
                <a:gd name="T82" fmla="*/ 0 w 207"/>
                <a:gd name="T83" fmla="*/ 0 h 129"/>
                <a:gd name="T84" fmla="*/ 0 w 207"/>
                <a:gd name="T85" fmla="*/ 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7" name="Freeform 784"/>
            <p:cNvSpPr>
              <a:spLocks/>
            </p:cNvSpPr>
            <p:nvPr>
              <p:custDataLst>
                <p:tags r:id="rId145"/>
              </p:custDataLst>
            </p:nvPr>
          </p:nvSpPr>
          <p:spPr bwMode="auto">
            <a:xfrm>
              <a:off x="1229" y="1957"/>
              <a:ext cx="22" cy="53"/>
            </a:xfrm>
            <a:custGeom>
              <a:avLst/>
              <a:gdLst>
                <a:gd name="T0" fmla="*/ 0 w 72"/>
                <a:gd name="T1" fmla="*/ 0 h 154"/>
                <a:gd name="T2" fmla="*/ 0 w 72"/>
                <a:gd name="T3" fmla="*/ 0 h 154"/>
                <a:gd name="T4" fmla="*/ 0 w 72"/>
                <a:gd name="T5" fmla="*/ 0 h 154"/>
                <a:gd name="T6" fmla="*/ 0 w 72"/>
                <a:gd name="T7" fmla="*/ 0 h 154"/>
                <a:gd name="T8" fmla="*/ 0 w 72"/>
                <a:gd name="T9" fmla="*/ 0 h 154"/>
                <a:gd name="T10" fmla="*/ 0 w 72"/>
                <a:gd name="T11" fmla="*/ 0 h 154"/>
                <a:gd name="T12" fmla="*/ 0 w 72"/>
                <a:gd name="T13" fmla="*/ 0 h 154"/>
                <a:gd name="T14" fmla="*/ 0 w 72"/>
                <a:gd name="T15" fmla="*/ 0 h 154"/>
                <a:gd name="T16" fmla="*/ 0 w 72"/>
                <a:gd name="T17" fmla="*/ 0 h 154"/>
                <a:gd name="T18" fmla="*/ 0 w 72"/>
                <a:gd name="T19" fmla="*/ 0 h 154"/>
                <a:gd name="T20" fmla="*/ 0 w 72"/>
                <a:gd name="T21" fmla="*/ 0 h 154"/>
                <a:gd name="T22" fmla="*/ 0 w 72"/>
                <a:gd name="T23" fmla="*/ 0 h 154"/>
                <a:gd name="T24" fmla="*/ 0 w 72"/>
                <a:gd name="T25" fmla="*/ 0 h 154"/>
                <a:gd name="T26" fmla="*/ 0 w 72"/>
                <a:gd name="T27" fmla="*/ 0 h 154"/>
                <a:gd name="T28" fmla="*/ 0 w 72"/>
                <a:gd name="T29" fmla="*/ 0 h 154"/>
                <a:gd name="T30" fmla="*/ 0 w 72"/>
                <a:gd name="T31" fmla="*/ 0 h 154"/>
                <a:gd name="T32" fmla="*/ 0 w 72"/>
                <a:gd name="T33" fmla="*/ 0 h 154"/>
                <a:gd name="T34" fmla="*/ 0 w 72"/>
                <a:gd name="T35" fmla="*/ 0 h 154"/>
                <a:gd name="T36" fmla="*/ 0 w 72"/>
                <a:gd name="T37" fmla="*/ 0 h 154"/>
                <a:gd name="T38" fmla="*/ 0 w 72"/>
                <a:gd name="T39" fmla="*/ 0 h 154"/>
                <a:gd name="T40" fmla="*/ 0 w 72"/>
                <a:gd name="T41" fmla="*/ 0 h 154"/>
                <a:gd name="T42" fmla="*/ 0 w 72"/>
                <a:gd name="T43" fmla="*/ 0 h 154"/>
                <a:gd name="T44" fmla="*/ 0 w 72"/>
                <a:gd name="T45" fmla="*/ 0 h 154"/>
                <a:gd name="T46" fmla="*/ 0 w 72"/>
                <a:gd name="T47" fmla="*/ 0 h 154"/>
                <a:gd name="T48" fmla="*/ 0 w 72"/>
                <a:gd name="T49" fmla="*/ 0 h 154"/>
                <a:gd name="T50" fmla="*/ 0 w 72"/>
                <a:gd name="T51" fmla="*/ 0 h 154"/>
                <a:gd name="T52" fmla="*/ 0 w 72"/>
                <a:gd name="T53" fmla="*/ 0 h 154"/>
                <a:gd name="T54" fmla="*/ 0 w 72"/>
                <a:gd name="T55" fmla="*/ 0 h 154"/>
                <a:gd name="T56" fmla="*/ 0 w 72"/>
                <a:gd name="T57" fmla="*/ 0 h 154"/>
                <a:gd name="T58" fmla="*/ 0 w 72"/>
                <a:gd name="T59" fmla="*/ 0 h 154"/>
                <a:gd name="T60" fmla="*/ 0 w 72"/>
                <a:gd name="T61" fmla="*/ 0 h 154"/>
                <a:gd name="T62" fmla="*/ 0 w 72"/>
                <a:gd name="T63" fmla="*/ 0 h 154"/>
                <a:gd name="T64" fmla="*/ 0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8" name="Freeform 785"/>
            <p:cNvSpPr>
              <a:spLocks/>
            </p:cNvSpPr>
            <p:nvPr>
              <p:custDataLst>
                <p:tags r:id="rId146"/>
              </p:custDataLst>
            </p:nvPr>
          </p:nvSpPr>
          <p:spPr bwMode="auto">
            <a:xfrm>
              <a:off x="1174" y="1957"/>
              <a:ext cx="64" cy="92"/>
            </a:xfrm>
            <a:custGeom>
              <a:avLst/>
              <a:gdLst>
                <a:gd name="T0" fmla="*/ 0 w 214"/>
                <a:gd name="T1" fmla="*/ 0 h 271"/>
                <a:gd name="T2" fmla="*/ 0 w 214"/>
                <a:gd name="T3" fmla="*/ 0 h 271"/>
                <a:gd name="T4" fmla="*/ 0 w 214"/>
                <a:gd name="T5" fmla="*/ 0 h 271"/>
                <a:gd name="T6" fmla="*/ 0 w 214"/>
                <a:gd name="T7" fmla="*/ 0 h 271"/>
                <a:gd name="T8" fmla="*/ 0 w 214"/>
                <a:gd name="T9" fmla="*/ 0 h 271"/>
                <a:gd name="T10" fmla="*/ 0 w 214"/>
                <a:gd name="T11" fmla="*/ 0 h 271"/>
                <a:gd name="T12" fmla="*/ 0 w 214"/>
                <a:gd name="T13" fmla="*/ 0 h 271"/>
                <a:gd name="T14" fmla="*/ 0 w 214"/>
                <a:gd name="T15" fmla="*/ 0 h 271"/>
                <a:gd name="T16" fmla="*/ 0 w 214"/>
                <a:gd name="T17" fmla="*/ 0 h 271"/>
                <a:gd name="T18" fmla="*/ 0 w 214"/>
                <a:gd name="T19" fmla="*/ 0 h 271"/>
                <a:gd name="T20" fmla="*/ 0 w 214"/>
                <a:gd name="T21" fmla="*/ 0 h 271"/>
                <a:gd name="T22" fmla="*/ 0 w 214"/>
                <a:gd name="T23" fmla="*/ 0 h 271"/>
                <a:gd name="T24" fmla="*/ 0 w 214"/>
                <a:gd name="T25" fmla="*/ 0 h 271"/>
                <a:gd name="T26" fmla="*/ 0 w 214"/>
                <a:gd name="T27" fmla="*/ 0 h 271"/>
                <a:gd name="T28" fmla="*/ 0 w 214"/>
                <a:gd name="T29" fmla="*/ 0 h 271"/>
                <a:gd name="T30" fmla="*/ 0 w 214"/>
                <a:gd name="T31" fmla="*/ 0 h 271"/>
                <a:gd name="T32" fmla="*/ 0 w 214"/>
                <a:gd name="T33" fmla="*/ 0 h 271"/>
                <a:gd name="T34" fmla="*/ 0 w 214"/>
                <a:gd name="T35" fmla="*/ 0 h 271"/>
                <a:gd name="T36" fmla="*/ 0 w 214"/>
                <a:gd name="T37" fmla="*/ 0 h 271"/>
                <a:gd name="T38" fmla="*/ 0 w 214"/>
                <a:gd name="T39" fmla="*/ 0 h 271"/>
                <a:gd name="T40" fmla="*/ 0 w 214"/>
                <a:gd name="T41" fmla="*/ 0 h 271"/>
                <a:gd name="T42" fmla="*/ 0 w 214"/>
                <a:gd name="T43" fmla="*/ 0 h 271"/>
                <a:gd name="T44" fmla="*/ 0 w 214"/>
                <a:gd name="T45" fmla="*/ 0 h 271"/>
                <a:gd name="T46" fmla="*/ 0 w 214"/>
                <a:gd name="T47" fmla="*/ 0 h 271"/>
                <a:gd name="T48" fmla="*/ 0 w 214"/>
                <a:gd name="T49" fmla="*/ 0 h 271"/>
                <a:gd name="T50" fmla="*/ 0 w 214"/>
                <a:gd name="T51" fmla="*/ 0 h 271"/>
                <a:gd name="T52" fmla="*/ 0 w 214"/>
                <a:gd name="T53" fmla="*/ 0 h 271"/>
                <a:gd name="T54" fmla="*/ 0 w 214"/>
                <a:gd name="T55" fmla="*/ 0 h 271"/>
                <a:gd name="T56" fmla="*/ 0 w 214"/>
                <a:gd name="T57" fmla="*/ 0 h 271"/>
                <a:gd name="T58" fmla="*/ 0 w 214"/>
                <a:gd name="T59" fmla="*/ 0 h 271"/>
                <a:gd name="T60" fmla="*/ 0 w 214"/>
                <a:gd name="T61" fmla="*/ 0 h 271"/>
                <a:gd name="T62" fmla="*/ 0 w 214"/>
                <a:gd name="T63" fmla="*/ 0 h 271"/>
                <a:gd name="T64" fmla="*/ 0 w 214"/>
                <a:gd name="T65" fmla="*/ 0 h 271"/>
                <a:gd name="T66" fmla="*/ 0 w 214"/>
                <a:gd name="T67" fmla="*/ 0 h 271"/>
                <a:gd name="T68" fmla="*/ 0 w 214"/>
                <a:gd name="T69" fmla="*/ 0 h 271"/>
                <a:gd name="T70" fmla="*/ 0 w 214"/>
                <a:gd name="T71" fmla="*/ 0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9" name="Freeform 786"/>
            <p:cNvSpPr>
              <a:spLocks/>
            </p:cNvSpPr>
            <p:nvPr>
              <p:custDataLst>
                <p:tags r:id="rId147"/>
              </p:custDataLst>
            </p:nvPr>
          </p:nvSpPr>
          <p:spPr bwMode="auto">
            <a:xfrm>
              <a:off x="1207" y="2027"/>
              <a:ext cx="49" cy="36"/>
            </a:xfrm>
            <a:custGeom>
              <a:avLst/>
              <a:gdLst>
                <a:gd name="T0" fmla="*/ 0 w 153"/>
                <a:gd name="T1" fmla="*/ 0 h 80"/>
                <a:gd name="T2" fmla="*/ 0 w 153"/>
                <a:gd name="T3" fmla="*/ 0 h 80"/>
                <a:gd name="T4" fmla="*/ 0 w 153"/>
                <a:gd name="T5" fmla="*/ 0 h 80"/>
                <a:gd name="T6" fmla="*/ 0 w 153"/>
                <a:gd name="T7" fmla="*/ 0 h 80"/>
                <a:gd name="T8" fmla="*/ 0 w 153"/>
                <a:gd name="T9" fmla="*/ 0 h 80"/>
                <a:gd name="T10" fmla="*/ 0 w 153"/>
                <a:gd name="T11" fmla="*/ 0 h 80"/>
                <a:gd name="T12" fmla="*/ 0 w 153"/>
                <a:gd name="T13" fmla="*/ 0 h 80"/>
                <a:gd name="T14" fmla="*/ 0 w 153"/>
                <a:gd name="T15" fmla="*/ 0 h 80"/>
                <a:gd name="T16" fmla="*/ 0 w 153"/>
                <a:gd name="T17" fmla="*/ 0 h 80"/>
                <a:gd name="T18" fmla="*/ 0 w 153"/>
                <a:gd name="T19" fmla="*/ 0 h 80"/>
                <a:gd name="T20" fmla="*/ 0 w 153"/>
                <a:gd name="T21" fmla="*/ 0 h 80"/>
                <a:gd name="T22" fmla="*/ 0 w 153"/>
                <a:gd name="T23" fmla="*/ 0 h 80"/>
                <a:gd name="T24" fmla="*/ 0 w 153"/>
                <a:gd name="T25" fmla="*/ 0 h 80"/>
                <a:gd name="T26" fmla="*/ 0 w 153"/>
                <a:gd name="T27" fmla="*/ 0 h 80"/>
                <a:gd name="T28" fmla="*/ 0 w 153"/>
                <a:gd name="T29" fmla="*/ 0 h 80"/>
                <a:gd name="T30" fmla="*/ 0 w 153"/>
                <a:gd name="T31" fmla="*/ 0 h 80"/>
                <a:gd name="T32" fmla="*/ 0 w 153"/>
                <a:gd name="T33" fmla="*/ 0 h 80"/>
                <a:gd name="T34" fmla="*/ 0 w 153"/>
                <a:gd name="T35" fmla="*/ 0 h 80"/>
                <a:gd name="T36" fmla="*/ 0 w 153"/>
                <a:gd name="T37" fmla="*/ 0 h 80"/>
                <a:gd name="T38" fmla="*/ 0 w 153"/>
                <a:gd name="T39" fmla="*/ 0 h 80"/>
                <a:gd name="T40" fmla="*/ 0 w 153"/>
                <a:gd name="T41" fmla="*/ 0 h 80"/>
                <a:gd name="T42" fmla="*/ 0 w 153"/>
                <a:gd name="T43" fmla="*/ 0 h 80"/>
                <a:gd name="T44" fmla="*/ 0 w 153"/>
                <a:gd name="T45" fmla="*/ 0 h 80"/>
                <a:gd name="T46" fmla="*/ 0 w 153"/>
                <a:gd name="T47" fmla="*/ 0 h 80"/>
                <a:gd name="T48" fmla="*/ 0 w 153"/>
                <a:gd name="T49" fmla="*/ 0 h 80"/>
                <a:gd name="T50" fmla="*/ 0 w 153"/>
                <a:gd name="T51" fmla="*/ 0 h 80"/>
                <a:gd name="T52" fmla="*/ 0 w 153"/>
                <a:gd name="T53" fmla="*/ 0 h 80"/>
                <a:gd name="T54" fmla="*/ 0 w 153"/>
                <a:gd name="T55" fmla="*/ 0 h 80"/>
                <a:gd name="T56" fmla="*/ 0 w 153"/>
                <a:gd name="T57" fmla="*/ 0 h 80"/>
                <a:gd name="T58" fmla="*/ 0 w 153"/>
                <a:gd name="T59" fmla="*/ 0 h 80"/>
                <a:gd name="T60" fmla="*/ 0 w 153"/>
                <a:gd name="T61" fmla="*/ 0 h 80"/>
                <a:gd name="T62" fmla="*/ 0 w 153"/>
                <a:gd name="T63" fmla="*/ 0 h 80"/>
                <a:gd name="T64" fmla="*/ 0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0" name="Freeform 787"/>
            <p:cNvSpPr>
              <a:spLocks/>
            </p:cNvSpPr>
            <p:nvPr>
              <p:custDataLst>
                <p:tags r:id="rId148"/>
              </p:custDataLst>
            </p:nvPr>
          </p:nvSpPr>
          <p:spPr bwMode="auto">
            <a:xfrm>
              <a:off x="1229" y="2003"/>
              <a:ext cx="97" cy="55"/>
            </a:xfrm>
            <a:custGeom>
              <a:avLst/>
              <a:gdLst>
                <a:gd name="T0" fmla="*/ 0 w 332"/>
                <a:gd name="T1" fmla="*/ 0 h 169"/>
                <a:gd name="T2" fmla="*/ 0 w 332"/>
                <a:gd name="T3" fmla="*/ 0 h 169"/>
                <a:gd name="T4" fmla="*/ 0 w 332"/>
                <a:gd name="T5" fmla="*/ 0 h 169"/>
                <a:gd name="T6" fmla="*/ 0 w 332"/>
                <a:gd name="T7" fmla="*/ 0 h 169"/>
                <a:gd name="T8" fmla="*/ 0 w 332"/>
                <a:gd name="T9" fmla="*/ 0 h 169"/>
                <a:gd name="T10" fmla="*/ 0 w 332"/>
                <a:gd name="T11" fmla="*/ 0 h 169"/>
                <a:gd name="T12" fmla="*/ 0 w 332"/>
                <a:gd name="T13" fmla="*/ 0 h 169"/>
                <a:gd name="T14" fmla="*/ 0 w 332"/>
                <a:gd name="T15" fmla="*/ 0 h 169"/>
                <a:gd name="T16" fmla="*/ 0 w 332"/>
                <a:gd name="T17" fmla="*/ 0 h 169"/>
                <a:gd name="T18" fmla="*/ 0 w 332"/>
                <a:gd name="T19" fmla="*/ 0 h 169"/>
                <a:gd name="T20" fmla="*/ 0 w 332"/>
                <a:gd name="T21" fmla="*/ 0 h 169"/>
                <a:gd name="T22" fmla="*/ 0 w 332"/>
                <a:gd name="T23" fmla="*/ 0 h 169"/>
                <a:gd name="T24" fmla="*/ 0 w 332"/>
                <a:gd name="T25" fmla="*/ 0 h 169"/>
                <a:gd name="T26" fmla="*/ 0 w 332"/>
                <a:gd name="T27" fmla="*/ 0 h 169"/>
                <a:gd name="T28" fmla="*/ 0 w 332"/>
                <a:gd name="T29" fmla="*/ 0 h 169"/>
                <a:gd name="T30" fmla="*/ 0 w 332"/>
                <a:gd name="T31" fmla="*/ 0 h 169"/>
                <a:gd name="T32" fmla="*/ 0 w 332"/>
                <a:gd name="T33" fmla="*/ 0 h 169"/>
                <a:gd name="T34" fmla="*/ 0 w 332"/>
                <a:gd name="T35" fmla="*/ 0 h 169"/>
                <a:gd name="T36" fmla="*/ 0 w 332"/>
                <a:gd name="T37" fmla="*/ 0 h 169"/>
                <a:gd name="T38" fmla="*/ 0 w 332"/>
                <a:gd name="T39" fmla="*/ 0 h 169"/>
                <a:gd name="T40" fmla="*/ 0 w 332"/>
                <a:gd name="T41" fmla="*/ 0 h 169"/>
                <a:gd name="T42" fmla="*/ 0 w 332"/>
                <a:gd name="T43" fmla="*/ 0 h 169"/>
                <a:gd name="T44" fmla="*/ 0 w 332"/>
                <a:gd name="T45" fmla="*/ 0 h 169"/>
                <a:gd name="T46" fmla="*/ 0 w 332"/>
                <a:gd name="T47" fmla="*/ 0 h 169"/>
                <a:gd name="T48" fmla="*/ 0 w 332"/>
                <a:gd name="T49" fmla="*/ 0 h 169"/>
                <a:gd name="T50" fmla="*/ 0 w 332"/>
                <a:gd name="T51" fmla="*/ 0 h 169"/>
                <a:gd name="T52" fmla="*/ 0 w 332"/>
                <a:gd name="T53" fmla="*/ 0 h 169"/>
                <a:gd name="T54" fmla="*/ 0 w 332"/>
                <a:gd name="T55" fmla="*/ 0 h 169"/>
                <a:gd name="T56" fmla="*/ 0 w 332"/>
                <a:gd name="T57" fmla="*/ 0 h 169"/>
                <a:gd name="T58" fmla="*/ 0 w 332"/>
                <a:gd name="T59" fmla="*/ 0 h 169"/>
                <a:gd name="T60" fmla="*/ 0 w 332"/>
                <a:gd name="T61" fmla="*/ 0 h 169"/>
                <a:gd name="T62" fmla="*/ 0 w 332"/>
                <a:gd name="T63" fmla="*/ 0 h 169"/>
                <a:gd name="T64" fmla="*/ 0 w 332"/>
                <a:gd name="T65" fmla="*/ 0 h 169"/>
                <a:gd name="T66" fmla="*/ 0 w 332"/>
                <a:gd name="T67" fmla="*/ 0 h 169"/>
                <a:gd name="T68" fmla="*/ 0 w 332"/>
                <a:gd name="T69" fmla="*/ 0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1" name="Freeform 788"/>
            <p:cNvSpPr>
              <a:spLocks/>
            </p:cNvSpPr>
            <p:nvPr>
              <p:custDataLst>
                <p:tags r:id="rId149"/>
              </p:custDataLst>
            </p:nvPr>
          </p:nvSpPr>
          <p:spPr bwMode="auto">
            <a:xfrm>
              <a:off x="1240" y="2022"/>
              <a:ext cx="86" cy="77"/>
            </a:xfrm>
            <a:custGeom>
              <a:avLst/>
              <a:gdLst>
                <a:gd name="T0" fmla="*/ 0 w 286"/>
                <a:gd name="T1" fmla="*/ 0 h 235"/>
                <a:gd name="T2" fmla="*/ 0 w 286"/>
                <a:gd name="T3" fmla="*/ 0 h 235"/>
                <a:gd name="T4" fmla="*/ 0 w 286"/>
                <a:gd name="T5" fmla="*/ 0 h 235"/>
                <a:gd name="T6" fmla="*/ 0 w 286"/>
                <a:gd name="T7" fmla="*/ 0 h 235"/>
                <a:gd name="T8" fmla="*/ 0 w 286"/>
                <a:gd name="T9" fmla="*/ 0 h 235"/>
                <a:gd name="T10" fmla="*/ 0 w 286"/>
                <a:gd name="T11" fmla="*/ 0 h 235"/>
                <a:gd name="T12" fmla="*/ 0 w 286"/>
                <a:gd name="T13" fmla="*/ 0 h 235"/>
                <a:gd name="T14" fmla="*/ 0 w 286"/>
                <a:gd name="T15" fmla="*/ 0 h 235"/>
                <a:gd name="T16" fmla="*/ 0 w 286"/>
                <a:gd name="T17" fmla="*/ 0 h 235"/>
                <a:gd name="T18" fmla="*/ 0 w 286"/>
                <a:gd name="T19" fmla="*/ 0 h 235"/>
                <a:gd name="T20" fmla="*/ 0 w 286"/>
                <a:gd name="T21" fmla="*/ 0 h 235"/>
                <a:gd name="T22" fmla="*/ 0 w 286"/>
                <a:gd name="T23" fmla="*/ 0 h 235"/>
                <a:gd name="T24" fmla="*/ 0 w 286"/>
                <a:gd name="T25" fmla="*/ 0 h 235"/>
                <a:gd name="T26" fmla="*/ 0 w 286"/>
                <a:gd name="T27" fmla="*/ 0 h 235"/>
                <a:gd name="T28" fmla="*/ 0 w 286"/>
                <a:gd name="T29" fmla="*/ 0 h 235"/>
                <a:gd name="T30" fmla="*/ 0 w 286"/>
                <a:gd name="T31" fmla="*/ 0 h 235"/>
                <a:gd name="T32" fmla="*/ 0 w 286"/>
                <a:gd name="T33" fmla="*/ 0 h 235"/>
                <a:gd name="T34" fmla="*/ 0 w 286"/>
                <a:gd name="T35" fmla="*/ 0 h 235"/>
                <a:gd name="T36" fmla="*/ 0 w 286"/>
                <a:gd name="T37" fmla="*/ 0 h 235"/>
                <a:gd name="T38" fmla="*/ 0 w 286"/>
                <a:gd name="T39" fmla="*/ 0 h 235"/>
                <a:gd name="T40" fmla="*/ 0 w 286"/>
                <a:gd name="T41" fmla="*/ 0 h 235"/>
                <a:gd name="T42" fmla="*/ 0 w 286"/>
                <a:gd name="T43" fmla="*/ 0 h 235"/>
                <a:gd name="T44" fmla="*/ 0 w 286"/>
                <a:gd name="T45" fmla="*/ 0 h 235"/>
                <a:gd name="T46" fmla="*/ 0 w 286"/>
                <a:gd name="T47" fmla="*/ 0 h 235"/>
                <a:gd name="T48" fmla="*/ 0 w 286"/>
                <a:gd name="T49" fmla="*/ 0 h 235"/>
                <a:gd name="T50" fmla="*/ 0 w 286"/>
                <a:gd name="T51" fmla="*/ 0 h 235"/>
                <a:gd name="T52" fmla="*/ 0 w 286"/>
                <a:gd name="T53" fmla="*/ 0 h 235"/>
                <a:gd name="T54" fmla="*/ 0 w 286"/>
                <a:gd name="T55" fmla="*/ 0 h 235"/>
                <a:gd name="T56" fmla="*/ 0 w 286"/>
                <a:gd name="T57" fmla="*/ 0 h 235"/>
                <a:gd name="T58" fmla="*/ 0 w 286"/>
                <a:gd name="T59" fmla="*/ 0 h 235"/>
                <a:gd name="T60" fmla="*/ 0 w 286"/>
                <a:gd name="T61" fmla="*/ 0 h 235"/>
                <a:gd name="T62" fmla="*/ 0 w 286"/>
                <a:gd name="T63" fmla="*/ 0 h 235"/>
                <a:gd name="T64" fmla="*/ 0 w 286"/>
                <a:gd name="T65" fmla="*/ 0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2" name="Freeform 789"/>
            <p:cNvSpPr>
              <a:spLocks/>
            </p:cNvSpPr>
            <p:nvPr>
              <p:custDataLst>
                <p:tags r:id="rId150"/>
              </p:custDataLst>
            </p:nvPr>
          </p:nvSpPr>
          <p:spPr bwMode="auto">
            <a:xfrm>
              <a:off x="1275" y="2093"/>
              <a:ext cx="58" cy="63"/>
            </a:xfrm>
            <a:custGeom>
              <a:avLst/>
              <a:gdLst>
                <a:gd name="T0" fmla="*/ 0 w 205"/>
                <a:gd name="T1" fmla="*/ 0 h 191"/>
                <a:gd name="T2" fmla="*/ 0 w 205"/>
                <a:gd name="T3" fmla="*/ 0 h 191"/>
                <a:gd name="T4" fmla="*/ 0 w 205"/>
                <a:gd name="T5" fmla="*/ 0 h 191"/>
                <a:gd name="T6" fmla="*/ 0 w 205"/>
                <a:gd name="T7" fmla="*/ 0 h 191"/>
                <a:gd name="T8" fmla="*/ 0 w 205"/>
                <a:gd name="T9" fmla="*/ 0 h 191"/>
                <a:gd name="T10" fmla="*/ 0 w 205"/>
                <a:gd name="T11" fmla="*/ 0 h 191"/>
                <a:gd name="T12" fmla="*/ 0 w 205"/>
                <a:gd name="T13" fmla="*/ 0 h 191"/>
                <a:gd name="T14" fmla="*/ 0 w 205"/>
                <a:gd name="T15" fmla="*/ 0 h 191"/>
                <a:gd name="T16" fmla="*/ 0 w 205"/>
                <a:gd name="T17" fmla="*/ 0 h 191"/>
                <a:gd name="T18" fmla="*/ 0 w 205"/>
                <a:gd name="T19" fmla="*/ 0 h 191"/>
                <a:gd name="T20" fmla="*/ 0 w 205"/>
                <a:gd name="T21" fmla="*/ 0 h 191"/>
                <a:gd name="T22" fmla="*/ 0 w 205"/>
                <a:gd name="T23" fmla="*/ 0 h 191"/>
                <a:gd name="T24" fmla="*/ 0 w 205"/>
                <a:gd name="T25" fmla="*/ 0 h 191"/>
                <a:gd name="T26" fmla="*/ 0 w 205"/>
                <a:gd name="T27" fmla="*/ 0 h 191"/>
                <a:gd name="T28" fmla="*/ 0 w 205"/>
                <a:gd name="T29" fmla="*/ 0 h 191"/>
                <a:gd name="T30" fmla="*/ 0 w 205"/>
                <a:gd name="T31" fmla="*/ 0 h 191"/>
                <a:gd name="T32" fmla="*/ 0 w 205"/>
                <a:gd name="T33" fmla="*/ 0 h 191"/>
                <a:gd name="T34" fmla="*/ 0 w 205"/>
                <a:gd name="T35" fmla="*/ 0 h 191"/>
                <a:gd name="T36" fmla="*/ 0 w 205"/>
                <a:gd name="T37" fmla="*/ 0 h 191"/>
                <a:gd name="T38" fmla="*/ 0 w 205"/>
                <a:gd name="T39" fmla="*/ 0 h 191"/>
                <a:gd name="T40" fmla="*/ 0 w 205"/>
                <a:gd name="T41" fmla="*/ 0 h 191"/>
                <a:gd name="T42" fmla="*/ 0 w 205"/>
                <a:gd name="T43" fmla="*/ 0 h 191"/>
                <a:gd name="T44" fmla="*/ 0 w 205"/>
                <a:gd name="T45" fmla="*/ 0 h 191"/>
                <a:gd name="T46" fmla="*/ 0 w 205"/>
                <a:gd name="T47" fmla="*/ 0 h 191"/>
                <a:gd name="T48" fmla="*/ 0 w 205"/>
                <a:gd name="T49" fmla="*/ 0 h 191"/>
                <a:gd name="T50" fmla="*/ 0 w 205"/>
                <a:gd name="T51" fmla="*/ 0 h 191"/>
                <a:gd name="T52" fmla="*/ 0 w 205"/>
                <a:gd name="T53" fmla="*/ 0 h 191"/>
                <a:gd name="T54" fmla="*/ 0 w 205"/>
                <a:gd name="T55" fmla="*/ 0 h 191"/>
                <a:gd name="T56" fmla="*/ 0 w 205"/>
                <a:gd name="T57" fmla="*/ 0 h 191"/>
                <a:gd name="T58" fmla="*/ 0 w 205"/>
                <a:gd name="T59" fmla="*/ 0 h 191"/>
                <a:gd name="T60" fmla="*/ 0 w 205"/>
                <a:gd name="T61" fmla="*/ 0 h 191"/>
                <a:gd name="T62" fmla="*/ 0 w 205"/>
                <a:gd name="T63" fmla="*/ 0 h 191"/>
                <a:gd name="T64" fmla="*/ 0 w 205"/>
                <a:gd name="T65" fmla="*/ 0 h 191"/>
                <a:gd name="T66" fmla="*/ 0 w 205"/>
                <a:gd name="T67" fmla="*/ 0 h 191"/>
                <a:gd name="T68" fmla="*/ 0 w 205"/>
                <a:gd name="T69" fmla="*/ 0 h 191"/>
                <a:gd name="T70" fmla="*/ 0 w 205"/>
                <a:gd name="T71" fmla="*/ 0 h 191"/>
                <a:gd name="T72" fmla="*/ 0 w 205"/>
                <a:gd name="T73" fmla="*/ 0 h 191"/>
                <a:gd name="T74" fmla="*/ 0 w 205"/>
                <a:gd name="T75" fmla="*/ 0 h 191"/>
                <a:gd name="T76" fmla="*/ 0 w 205"/>
                <a:gd name="T77" fmla="*/ 0 h 191"/>
                <a:gd name="T78" fmla="*/ 0 w 205"/>
                <a:gd name="T79" fmla="*/ 0 h 191"/>
                <a:gd name="T80" fmla="*/ 0 w 205"/>
                <a:gd name="T81" fmla="*/ 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3" name="Freeform 790"/>
            <p:cNvSpPr>
              <a:spLocks/>
            </p:cNvSpPr>
            <p:nvPr>
              <p:custDataLst>
                <p:tags r:id="rId151"/>
              </p:custDataLst>
            </p:nvPr>
          </p:nvSpPr>
          <p:spPr bwMode="auto">
            <a:xfrm>
              <a:off x="1330" y="2127"/>
              <a:ext cx="98" cy="50"/>
            </a:xfrm>
            <a:custGeom>
              <a:avLst/>
              <a:gdLst>
                <a:gd name="T0" fmla="*/ 0 w 329"/>
                <a:gd name="T1" fmla="*/ 0 h 154"/>
                <a:gd name="T2" fmla="*/ 0 w 329"/>
                <a:gd name="T3" fmla="*/ 0 h 154"/>
                <a:gd name="T4" fmla="*/ 0 w 329"/>
                <a:gd name="T5" fmla="*/ 0 h 154"/>
                <a:gd name="T6" fmla="*/ 0 w 329"/>
                <a:gd name="T7" fmla="*/ 0 h 154"/>
                <a:gd name="T8" fmla="*/ 0 w 329"/>
                <a:gd name="T9" fmla="*/ 0 h 154"/>
                <a:gd name="T10" fmla="*/ 0 w 329"/>
                <a:gd name="T11" fmla="*/ 0 h 154"/>
                <a:gd name="T12" fmla="*/ 0 w 329"/>
                <a:gd name="T13" fmla="*/ 0 h 154"/>
                <a:gd name="T14" fmla="*/ 0 w 329"/>
                <a:gd name="T15" fmla="*/ 0 h 154"/>
                <a:gd name="T16" fmla="*/ 0 w 329"/>
                <a:gd name="T17" fmla="*/ 0 h 154"/>
                <a:gd name="T18" fmla="*/ 0 w 329"/>
                <a:gd name="T19" fmla="*/ 0 h 154"/>
                <a:gd name="T20" fmla="*/ 0 w 329"/>
                <a:gd name="T21" fmla="*/ 0 h 154"/>
                <a:gd name="T22" fmla="*/ 0 w 329"/>
                <a:gd name="T23" fmla="*/ 0 h 154"/>
                <a:gd name="T24" fmla="*/ 0 w 329"/>
                <a:gd name="T25" fmla="*/ 0 h 154"/>
                <a:gd name="T26" fmla="*/ 0 w 329"/>
                <a:gd name="T27" fmla="*/ 0 h 154"/>
                <a:gd name="T28" fmla="*/ 0 w 329"/>
                <a:gd name="T29" fmla="*/ 0 h 154"/>
                <a:gd name="T30" fmla="*/ 0 w 329"/>
                <a:gd name="T31" fmla="*/ 0 h 154"/>
                <a:gd name="T32" fmla="*/ 0 w 329"/>
                <a:gd name="T33" fmla="*/ 0 h 154"/>
                <a:gd name="T34" fmla="*/ 0 w 329"/>
                <a:gd name="T35" fmla="*/ 0 h 154"/>
                <a:gd name="T36" fmla="*/ 0 w 329"/>
                <a:gd name="T37" fmla="*/ 0 h 154"/>
                <a:gd name="T38" fmla="*/ 0 w 329"/>
                <a:gd name="T39" fmla="*/ 0 h 154"/>
                <a:gd name="T40" fmla="*/ 0 w 329"/>
                <a:gd name="T41" fmla="*/ 0 h 154"/>
                <a:gd name="T42" fmla="*/ 0 w 329"/>
                <a:gd name="T43" fmla="*/ 0 h 154"/>
                <a:gd name="T44" fmla="*/ 0 w 329"/>
                <a:gd name="T45" fmla="*/ 0 h 154"/>
                <a:gd name="T46" fmla="*/ 0 w 329"/>
                <a:gd name="T47" fmla="*/ 0 h 154"/>
                <a:gd name="T48" fmla="*/ 0 w 329"/>
                <a:gd name="T49" fmla="*/ 0 h 154"/>
                <a:gd name="T50" fmla="*/ 0 w 329"/>
                <a:gd name="T51" fmla="*/ 0 h 154"/>
                <a:gd name="T52" fmla="*/ 0 w 329"/>
                <a:gd name="T53" fmla="*/ 0 h 154"/>
                <a:gd name="T54" fmla="*/ 0 w 329"/>
                <a:gd name="T55" fmla="*/ 0 h 154"/>
                <a:gd name="T56" fmla="*/ 0 w 329"/>
                <a:gd name="T57" fmla="*/ 0 h 154"/>
                <a:gd name="T58" fmla="*/ 0 w 329"/>
                <a:gd name="T59" fmla="*/ 0 h 154"/>
                <a:gd name="T60" fmla="*/ 0 w 329"/>
                <a:gd name="T61" fmla="*/ 0 h 154"/>
                <a:gd name="T62" fmla="*/ 0 w 329"/>
                <a:gd name="T63" fmla="*/ 0 h 154"/>
                <a:gd name="T64" fmla="*/ 0 w 329"/>
                <a:gd name="T65" fmla="*/ 0 h 154"/>
                <a:gd name="T66" fmla="*/ 0 w 329"/>
                <a:gd name="T67" fmla="*/ 0 h 154"/>
                <a:gd name="T68" fmla="*/ 0 w 329"/>
                <a:gd name="T69" fmla="*/ 0 h 154"/>
                <a:gd name="T70" fmla="*/ 0 w 329"/>
                <a:gd name="T71" fmla="*/ 0 h 154"/>
                <a:gd name="T72" fmla="*/ 0 w 329"/>
                <a:gd name="T73" fmla="*/ 0 h 154"/>
                <a:gd name="T74" fmla="*/ 0 w 329"/>
                <a:gd name="T75" fmla="*/ 0 h 154"/>
                <a:gd name="T76" fmla="*/ 0 w 329"/>
                <a:gd name="T77" fmla="*/ 0 h 154"/>
                <a:gd name="T78" fmla="*/ 0 w 329"/>
                <a:gd name="T79" fmla="*/ 0 h 154"/>
                <a:gd name="T80" fmla="*/ 0 w 329"/>
                <a:gd name="T81" fmla="*/ 0 h 154"/>
                <a:gd name="T82" fmla="*/ 0 w 329"/>
                <a:gd name="T83" fmla="*/ 0 h 154"/>
                <a:gd name="T84" fmla="*/ 0 w 329"/>
                <a:gd name="T85" fmla="*/ 0 h 154"/>
                <a:gd name="T86" fmla="*/ 0 w 329"/>
                <a:gd name="T87" fmla="*/ 0 h 154"/>
                <a:gd name="T88" fmla="*/ 0 w 329"/>
                <a:gd name="T89" fmla="*/ 0 h 154"/>
                <a:gd name="T90" fmla="*/ 0 w 329"/>
                <a:gd name="T91" fmla="*/ 0 h 154"/>
                <a:gd name="T92" fmla="*/ 0 w 329"/>
                <a:gd name="T93" fmla="*/ 0 h 154"/>
                <a:gd name="T94" fmla="*/ 0 w 329"/>
                <a:gd name="T95" fmla="*/ 0 h 154"/>
                <a:gd name="T96" fmla="*/ 0 w 329"/>
                <a:gd name="T97" fmla="*/ 0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4" name="Freeform 791"/>
            <p:cNvSpPr>
              <a:spLocks/>
            </p:cNvSpPr>
            <p:nvPr>
              <p:custDataLst>
                <p:tags r:id="rId152"/>
              </p:custDataLst>
            </p:nvPr>
          </p:nvSpPr>
          <p:spPr bwMode="auto">
            <a:xfrm>
              <a:off x="1795" y="2917"/>
              <a:ext cx="91" cy="98"/>
            </a:xfrm>
            <a:custGeom>
              <a:avLst/>
              <a:gdLst>
                <a:gd name="T0" fmla="*/ 0 w 306"/>
                <a:gd name="T1" fmla="*/ 0 h 293"/>
                <a:gd name="T2" fmla="*/ 0 w 306"/>
                <a:gd name="T3" fmla="*/ 0 h 293"/>
                <a:gd name="T4" fmla="*/ 0 w 306"/>
                <a:gd name="T5" fmla="*/ 0 h 293"/>
                <a:gd name="T6" fmla="*/ 0 w 306"/>
                <a:gd name="T7" fmla="*/ 0 h 293"/>
                <a:gd name="T8" fmla="*/ 0 w 306"/>
                <a:gd name="T9" fmla="*/ 0 h 293"/>
                <a:gd name="T10" fmla="*/ 0 w 306"/>
                <a:gd name="T11" fmla="*/ 0 h 293"/>
                <a:gd name="T12" fmla="*/ 0 w 306"/>
                <a:gd name="T13" fmla="*/ 0 h 293"/>
                <a:gd name="T14" fmla="*/ 0 w 306"/>
                <a:gd name="T15" fmla="*/ 0 h 293"/>
                <a:gd name="T16" fmla="*/ 0 w 306"/>
                <a:gd name="T17" fmla="*/ 0 h 293"/>
                <a:gd name="T18" fmla="*/ 0 w 306"/>
                <a:gd name="T19" fmla="*/ 0 h 293"/>
                <a:gd name="T20" fmla="*/ 0 w 306"/>
                <a:gd name="T21" fmla="*/ 0 h 293"/>
                <a:gd name="T22" fmla="*/ 0 w 306"/>
                <a:gd name="T23" fmla="*/ 0 h 293"/>
                <a:gd name="T24" fmla="*/ 0 w 306"/>
                <a:gd name="T25" fmla="*/ 0 h 293"/>
                <a:gd name="T26" fmla="*/ 0 w 306"/>
                <a:gd name="T27" fmla="*/ 0 h 293"/>
                <a:gd name="T28" fmla="*/ 0 w 306"/>
                <a:gd name="T29" fmla="*/ 0 h 293"/>
                <a:gd name="T30" fmla="*/ 0 w 306"/>
                <a:gd name="T31" fmla="*/ 0 h 293"/>
                <a:gd name="T32" fmla="*/ 0 w 306"/>
                <a:gd name="T33" fmla="*/ 0 h 293"/>
                <a:gd name="T34" fmla="*/ 0 w 306"/>
                <a:gd name="T35" fmla="*/ 0 h 293"/>
                <a:gd name="T36" fmla="*/ 0 w 306"/>
                <a:gd name="T37" fmla="*/ 0 h 293"/>
                <a:gd name="T38" fmla="*/ 0 w 306"/>
                <a:gd name="T39" fmla="*/ 0 h 293"/>
                <a:gd name="T40" fmla="*/ 0 w 306"/>
                <a:gd name="T41" fmla="*/ 0 h 293"/>
                <a:gd name="T42" fmla="*/ 0 w 306"/>
                <a:gd name="T43" fmla="*/ 0 h 293"/>
                <a:gd name="T44" fmla="*/ 0 w 306"/>
                <a:gd name="T45" fmla="*/ 0 h 293"/>
                <a:gd name="T46" fmla="*/ 0 w 306"/>
                <a:gd name="T47" fmla="*/ 0 h 293"/>
                <a:gd name="T48" fmla="*/ 0 w 306"/>
                <a:gd name="T49" fmla="*/ 0 h 293"/>
                <a:gd name="T50" fmla="*/ 0 w 306"/>
                <a:gd name="T51" fmla="*/ 0 h 293"/>
                <a:gd name="T52" fmla="*/ 0 w 306"/>
                <a:gd name="T53" fmla="*/ 0 h 293"/>
                <a:gd name="T54" fmla="*/ 0 w 306"/>
                <a:gd name="T55" fmla="*/ 0 h 293"/>
                <a:gd name="T56" fmla="*/ 0 w 306"/>
                <a:gd name="T57" fmla="*/ 0 h 293"/>
                <a:gd name="T58" fmla="*/ 0 w 306"/>
                <a:gd name="T59" fmla="*/ 0 h 293"/>
                <a:gd name="T60" fmla="*/ 0 w 306"/>
                <a:gd name="T61" fmla="*/ 0 h 293"/>
                <a:gd name="T62" fmla="*/ 0 w 306"/>
                <a:gd name="T63" fmla="*/ 0 h 293"/>
                <a:gd name="T64" fmla="*/ 0 w 306"/>
                <a:gd name="T65" fmla="*/ 0 h 293"/>
                <a:gd name="T66" fmla="*/ 0 w 306"/>
                <a:gd name="T67" fmla="*/ 0 h 293"/>
                <a:gd name="T68" fmla="*/ 0 w 306"/>
                <a:gd name="T69" fmla="*/ 0 h 293"/>
                <a:gd name="T70" fmla="*/ 0 w 306"/>
                <a:gd name="T71" fmla="*/ 0 h 293"/>
                <a:gd name="T72" fmla="*/ 0 w 306"/>
                <a:gd name="T73" fmla="*/ 0 h 293"/>
                <a:gd name="T74" fmla="*/ 0 w 306"/>
                <a:gd name="T75" fmla="*/ 0 h 293"/>
                <a:gd name="T76" fmla="*/ 0 w 306"/>
                <a:gd name="T77" fmla="*/ 0 h 293"/>
                <a:gd name="T78" fmla="*/ 0 w 306"/>
                <a:gd name="T79" fmla="*/ 0 h 293"/>
                <a:gd name="T80" fmla="*/ 0 w 306"/>
                <a:gd name="T81" fmla="*/ 0 h 293"/>
                <a:gd name="T82" fmla="*/ 0 w 306"/>
                <a:gd name="T83" fmla="*/ 0 h 293"/>
                <a:gd name="T84" fmla="*/ 0 w 306"/>
                <a:gd name="T85" fmla="*/ 0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5" name="Freeform 792"/>
            <p:cNvSpPr>
              <a:spLocks/>
            </p:cNvSpPr>
            <p:nvPr>
              <p:custDataLst>
                <p:tags r:id="rId153"/>
              </p:custDataLst>
            </p:nvPr>
          </p:nvSpPr>
          <p:spPr bwMode="auto">
            <a:xfrm>
              <a:off x="2850" y="786"/>
              <a:ext cx="162"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6" name="Freeform 793"/>
            <p:cNvSpPr>
              <a:spLocks/>
            </p:cNvSpPr>
            <p:nvPr>
              <p:custDataLst>
                <p:tags r:id="rId154"/>
              </p:custDataLst>
            </p:nvPr>
          </p:nvSpPr>
          <p:spPr bwMode="auto">
            <a:xfrm>
              <a:off x="2800" y="931"/>
              <a:ext cx="307" cy="228"/>
            </a:xfrm>
            <a:custGeom>
              <a:avLst/>
              <a:gdLst>
                <a:gd name="T0" fmla="*/ 0 w 1037"/>
                <a:gd name="T1" fmla="*/ 0 h 690"/>
                <a:gd name="T2" fmla="*/ 0 w 1037"/>
                <a:gd name="T3" fmla="*/ 0 h 690"/>
                <a:gd name="T4" fmla="*/ 0 w 1037"/>
                <a:gd name="T5" fmla="*/ 0 h 690"/>
                <a:gd name="T6" fmla="*/ 0 w 1037"/>
                <a:gd name="T7" fmla="*/ 0 h 690"/>
                <a:gd name="T8" fmla="*/ 0 w 1037"/>
                <a:gd name="T9" fmla="*/ 0 h 690"/>
                <a:gd name="T10" fmla="*/ 0 w 1037"/>
                <a:gd name="T11" fmla="*/ 0 h 690"/>
                <a:gd name="T12" fmla="*/ 0 w 1037"/>
                <a:gd name="T13" fmla="*/ 0 h 690"/>
                <a:gd name="T14" fmla="*/ 0 w 1037"/>
                <a:gd name="T15" fmla="*/ 0 h 690"/>
                <a:gd name="T16" fmla="*/ 0 w 1037"/>
                <a:gd name="T17" fmla="*/ 0 h 690"/>
                <a:gd name="T18" fmla="*/ 0 w 1037"/>
                <a:gd name="T19" fmla="*/ 0 h 690"/>
                <a:gd name="T20" fmla="*/ 0 w 1037"/>
                <a:gd name="T21" fmla="*/ 0 h 690"/>
                <a:gd name="T22" fmla="*/ 0 w 1037"/>
                <a:gd name="T23" fmla="*/ 0 h 690"/>
                <a:gd name="T24" fmla="*/ 0 w 1037"/>
                <a:gd name="T25" fmla="*/ 0 h 690"/>
                <a:gd name="T26" fmla="*/ 0 w 1037"/>
                <a:gd name="T27" fmla="*/ 0 h 690"/>
                <a:gd name="T28" fmla="*/ 0 w 1037"/>
                <a:gd name="T29" fmla="*/ 0 h 690"/>
                <a:gd name="T30" fmla="*/ 0 w 1037"/>
                <a:gd name="T31" fmla="*/ 0 h 690"/>
                <a:gd name="T32" fmla="*/ 0 w 1037"/>
                <a:gd name="T33" fmla="*/ 0 h 690"/>
                <a:gd name="T34" fmla="*/ 0 w 1037"/>
                <a:gd name="T35" fmla="*/ 0 h 690"/>
                <a:gd name="T36" fmla="*/ 0 w 1037"/>
                <a:gd name="T37" fmla="*/ 0 h 690"/>
                <a:gd name="T38" fmla="*/ 0 w 1037"/>
                <a:gd name="T39" fmla="*/ 0 h 690"/>
                <a:gd name="T40" fmla="*/ 0 w 1037"/>
                <a:gd name="T41" fmla="*/ 0 h 690"/>
                <a:gd name="T42" fmla="*/ 0 w 1037"/>
                <a:gd name="T43" fmla="*/ 0 h 690"/>
                <a:gd name="T44" fmla="*/ 0 w 1037"/>
                <a:gd name="T45" fmla="*/ 0 h 690"/>
                <a:gd name="T46" fmla="*/ 0 w 1037"/>
                <a:gd name="T47" fmla="*/ 0 h 690"/>
                <a:gd name="T48" fmla="*/ 0 w 1037"/>
                <a:gd name="T49" fmla="*/ 0 h 690"/>
                <a:gd name="T50" fmla="*/ 0 w 1037"/>
                <a:gd name="T51" fmla="*/ 0 h 690"/>
                <a:gd name="T52" fmla="*/ 0 w 1037"/>
                <a:gd name="T53" fmla="*/ 0 h 690"/>
                <a:gd name="T54" fmla="*/ 0 w 1037"/>
                <a:gd name="T55" fmla="*/ 0 h 690"/>
                <a:gd name="T56" fmla="*/ 0 w 1037"/>
                <a:gd name="T57" fmla="*/ 0 h 690"/>
                <a:gd name="T58" fmla="*/ 0 w 1037"/>
                <a:gd name="T59" fmla="*/ 0 h 690"/>
                <a:gd name="T60" fmla="*/ 0 w 1037"/>
                <a:gd name="T61" fmla="*/ 0 h 690"/>
                <a:gd name="T62" fmla="*/ 0 w 1037"/>
                <a:gd name="T63" fmla="*/ 0 h 690"/>
                <a:gd name="T64" fmla="*/ 0 w 1037"/>
                <a:gd name="T65" fmla="*/ 0 h 690"/>
                <a:gd name="T66" fmla="*/ 0 w 1037"/>
                <a:gd name="T67" fmla="*/ 0 h 690"/>
                <a:gd name="T68" fmla="*/ 0 w 1037"/>
                <a:gd name="T69" fmla="*/ 0 h 690"/>
                <a:gd name="T70" fmla="*/ 0 w 1037"/>
                <a:gd name="T71" fmla="*/ 0 h 690"/>
                <a:gd name="T72" fmla="*/ 0 w 1037"/>
                <a:gd name="T73" fmla="*/ 0 h 690"/>
                <a:gd name="T74" fmla="*/ 0 w 1037"/>
                <a:gd name="T75" fmla="*/ 0 h 690"/>
                <a:gd name="T76" fmla="*/ 0 w 1037"/>
                <a:gd name="T77" fmla="*/ 0 h 690"/>
                <a:gd name="T78" fmla="*/ 0 w 1037"/>
                <a:gd name="T79" fmla="*/ 0 h 690"/>
                <a:gd name="T80" fmla="*/ 0 w 1037"/>
                <a:gd name="T81" fmla="*/ 0 h 690"/>
                <a:gd name="T82" fmla="*/ 0 w 1037"/>
                <a:gd name="T83" fmla="*/ 0 h 690"/>
                <a:gd name="T84" fmla="*/ 0 w 1037"/>
                <a:gd name="T85" fmla="*/ 0 h 690"/>
                <a:gd name="T86" fmla="*/ 0 w 1037"/>
                <a:gd name="T87" fmla="*/ 0 h 690"/>
                <a:gd name="T88" fmla="*/ 0 w 1037"/>
                <a:gd name="T89" fmla="*/ 0 h 690"/>
                <a:gd name="T90" fmla="*/ 0 w 1037"/>
                <a:gd name="T91" fmla="*/ 0 h 690"/>
                <a:gd name="T92" fmla="*/ 0 w 1037"/>
                <a:gd name="T93" fmla="*/ 0 h 690"/>
                <a:gd name="T94" fmla="*/ 0 w 1037"/>
                <a:gd name="T95" fmla="*/ 0 h 690"/>
                <a:gd name="T96" fmla="*/ 0 w 1037"/>
                <a:gd name="T97" fmla="*/ 0 h 690"/>
                <a:gd name="T98" fmla="*/ 0 w 1037"/>
                <a:gd name="T99" fmla="*/ 0 h 690"/>
                <a:gd name="T100" fmla="*/ 0 w 1037"/>
                <a:gd name="T101" fmla="*/ 0 h 690"/>
                <a:gd name="T102" fmla="*/ 0 w 1037"/>
                <a:gd name="T103" fmla="*/ 0 h 690"/>
                <a:gd name="T104" fmla="*/ 0 w 1037"/>
                <a:gd name="T105" fmla="*/ 0 h 690"/>
                <a:gd name="T106" fmla="*/ 0 w 1037"/>
                <a:gd name="T107" fmla="*/ 0 h 690"/>
                <a:gd name="T108" fmla="*/ 0 w 1037"/>
                <a:gd name="T109" fmla="*/ 0 h 690"/>
                <a:gd name="T110" fmla="*/ 0 w 1037"/>
                <a:gd name="T111" fmla="*/ 0 h 690"/>
                <a:gd name="T112" fmla="*/ 0 w 1037"/>
                <a:gd name="T113" fmla="*/ 0 h 690"/>
                <a:gd name="T114" fmla="*/ 0 w 1037"/>
                <a:gd name="T115" fmla="*/ 0 h 690"/>
                <a:gd name="T116" fmla="*/ 0 w 1037"/>
                <a:gd name="T117" fmla="*/ 0 h 690"/>
                <a:gd name="T118" fmla="*/ 0 w 1037"/>
                <a:gd name="T119" fmla="*/ 0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7" name="Freeform 794"/>
            <p:cNvSpPr>
              <a:spLocks/>
            </p:cNvSpPr>
            <p:nvPr>
              <p:custDataLst>
                <p:tags r:id="rId155"/>
              </p:custDataLst>
            </p:nvPr>
          </p:nvSpPr>
          <p:spPr bwMode="auto">
            <a:xfrm>
              <a:off x="3032" y="1461"/>
              <a:ext cx="34" cy="57"/>
            </a:xfrm>
            <a:custGeom>
              <a:avLst/>
              <a:gdLst>
                <a:gd name="T0" fmla="*/ 0 w 120"/>
                <a:gd name="T1" fmla="*/ 0 h 173"/>
                <a:gd name="T2" fmla="*/ 0 w 120"/>
                <a:gd name="T3" fmla="*/ 0 h 173"/>
                <a:gd name="T4" fmla="*/ 0 w 120"/>
                <a:gd name="T5" fmla="*/ 0 h 173"/>
                <a:gd name="T6" fmla="*/ 0 w 120"/>
                <a:gd name="T7" fmla="*/ 0 h 173"/>
                <a:gd name="T8" fmla="*/ 0 w 120"/>
                <a:gd name="T9" fmla="*/ 0 h 173"/>
                <a:gd name="T10" fmla="*/ 0 w 120"/>
                <a:gd name="T11" fmla="*/ 0 h 173"/>
                <a:gd name="T12" fmla="*/ 0 w 120"/>
                <a:gd name="T13" fmla="*/ 0 h 173"/>
                <a:gd name="T14" fmla="*/ 0 w 120"/>
                <a:gd name="T15" fmla="*/ 0 h 173"/>
                <a:gd name="T16" fmla="*/ 0 w 120"/>
                <a:gd name="T17" fmla="*/ 0 h 173"/>
                <a:gd name="T18" fmla="*/ 0 w 120"/>
                <a:gd name="T19" fmla="*/ 0 h 173"/>
                <a:gd name="T20" fmla="*/ 0 w 120"/>
                <a:gd name="T21" fmla="*/ 0 h 173"/>
                <a:gd name="T22" fmla="*/ 0 w 120"/>
                <a:gd name="T23" fmla="*/ 0 h 173"/>
                <a:gd name="T24" fmla="*/ 0 w 120"/>
                <a:gd name="T25" fmla="*/ 0 h 173"/>
                <a:gd name="T26" fmla="*/ 0 w 120"/>
                <a:gd name="T27" fmla="*/ 0 h 173"/>
                <a:gd name="T28" fmla="*/ 0 w 120"/>
                <a:gd name="T29" fmla="*/ 0 h 173"/>
                <a:gd name="T30" fmla="*/ 0 w 120"/>
                <a:gd name="T31" fmla="*/ 0 h 173"/>
                <a:gd name="T32" fmla="*/ 0 w 120"/>
                <a:gd name="T33" fmla="*/ 0 h 173"/>
                <a:gd name="T34" fmla="*/ 0 w 120"/>
                <a:gd name="T35" fmla="*/ 0 h 173"/>
                <a:gd name="T36" fmla="*/ 0 w 120"/>
                <a:gd name="T37" fmla="*/ 0 h 173"/>
                <a:gd name="T38" fmla="*/ 0 w 120"/>
                <a:gd name="T39" fmla="*/ 0 h 173"/>
                <a:gd name="T40" fmla="*/ 0 w 120"/>
                <a:gd name="T41" fmla="*/ 0 h 173"/>
                <a:gd name="T42" fmla="*/ 0 w 120"/>
                <a:gd name="T43" fmla="*/ 0 h 173"/>
                <a:gd name="T44" fmla="*/ 0 w 120"/>
                <a:gd name="T45" fmla="*/ 0 h 173"/>
                <a:gd name="T46" fmla="*/ 0 w 120"/>
                <a:gd name="T47" fmla="*/ 0 h 173"/>
                <a:gd name="T48" fmla="*/ 0 w 120"/>
                <a:gd name="T49" fmla="*/ 0 h 173"/>
                <a:gd name="T50" fmla="*/ 0 w 120"/>
                <a:gd name="T51" fmla="*/ 0 h 173"/>
                <a:gd name="T52" fmla="*/ 0 w 120"/>
                <a:gd name="T53" fmla="*/ 0 h 173"/>
                <a:gd name="T54" fmla="*/ 0 w 120"/>
                <a:gd name="T55" fmla="*/ 0 h 173"/>
                <a:gd name="T56" fmla="*/ 0 w 120"/>
                <a:gd name="T57" fmla="*/ 0 h 173"/>
                <a:gd name="T58" fmla="*/ 0 w 120"/>
                <a:gd name="T59" fmla="*/ 0 h 173"/>
                <a:gd name="T60" fmla="*/ 0 w 120"/>
                <a:gd name="T61" fmla="*/ 0 h 173"/>
                <a:gd name="T62" fmla="*/ 0 w 120"/>
                <a:gd name="T63" fmla="*/ 0 h 173"/>
                <a:gd name="T64" fmla="*/ 0 w 120"/>
                <a:gd name="T65" fmla="*/ 0 h 173"/>
                <a:gd name="T66" fmla="*/ 0 w 120"/>
                <a:gd name="T67" fmla="*/ 0 h 173"/>
                <a:gd name="T68" fmla="*/ 0 w 120"/>
                <a:gd name="T69" fmla="*/ 0 h 173"/>
                <a:gd name="T70" fmla="*/ 0 w 120"/>
                <a:gd name="T71" fmla="*/ 0 h 173"/>
                <a:gd name="T72" fmla="*/ 0 w 120"/>
                <a:gd name="T73" fmla="*/ 0 h 173"/>
                <a:gd name="T74" fmla="*/ 0 w 120"/>
                <a:gd name="T75" fmla="*/ 0 h 173"/>
                <a:gd name="T76" fmla="*/ 0 w 120"/>
                <a:gd name="T77" fmla="*/ 0 h 173"/>
                <a:gd name="T78" fmla="*/ 0 w 120"/>
                <a:gd name="T79" fmla="*/ 0 h 173"/>
                <a:gd name="T80" fmla="*/ 0 w 120"/>
                <a:gd name="T81" fmla="*/ 0 h 173"/>
                <a:gd name="T82" fmla="*/ 0 w 120"/>
                <a:gd name="T83" fmla="*/ 0 h 173"/>
                <a:gd name="T84" fmla="*/ 0 w 120"/>
                <a:gd name="T85" fmla="*/ 0 h 173"/>
                <a:gd name="T86" fmla="*/ 0 w 120"/>
                <a:gd name="T87" fmla="*/ 0 h 173"/>
                <a:gd name="T88" fmla="*/ 0 w 120"/>
                <a:gd name="T89" fmla="*/ 0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8" name="Freeform 795"/>
            <p:cNvSpPr>
              <a:spLocks/>
            </p:cNvSpPr>
            <p:nvPr>
              <p:custDataLst>
                <p:tags r:id="rId156"/>
              </p:custDataLst>
            </p:nvPr>
          </p:nvSpPr>
          <p:spPr bwMode="auto">
            <a:xfrm>
              <a:off x="2833" y="1360"/>
              <a:ext cx="57" cy="37"/>
            </a:xfrm>
            <a:custGeom>
              <a:avLst/>
              <a:gdLst>
                <a:gd name="T0" fmla="*/ 0 w 200"/>
                <a:gd name="T1" fmla="*/ 0 h 98"/>
                <a:gd name="T2" fmla="*/ 0 w 200"/>
                <a:gd name="T3" fmla="*/ 0 h 98"/>
                <a:gd name="T4" fmla="*/ 0 w 200"/>
                <a:gd name="T5" fmla="*/ 0 h 98"/>
                <a:gd name="T6" fmla="*/ 0 w 200"/>
                <a:gd name="T7" fmla="*/ 0 h 98"/>
                <a:gd name="T8" fmla="*/ 0 w 200"/>
                <a:gd name="T9" fmla="*/ 0 h 98"/>
                <a:gd name="T10" fmla="*/ 0 w 200"/>
                <a:gd name="T11" fmla="*/ 0 h 98"/>
                <a:gd name="T12" fmla="*/ 0 w 200"/>
                <a:gd name="T13" fmla="*/ 0 h 98"/>
                <a:gd name="T14" fmla="*/ 0 w 200"/>
                <a:gd name="T15" fmla="*/ 0 h 98"/>
                <a:gd name="T16" fmla="*/ 0 w 200"/>
                <a:gd name="T17" fmla="*/ 0 h 98"/>
                <a:gd name="T18" fmla="*/ 0 w 200"/>
                <a:gd name="T19" fmla="*/ 0 h 98"/>
                <a:gd name="T20" fmla="*/ 0 w 200"/>
                <a:gd name="T21" fmla="*/ 0 h 98"/>
                <a:gd name="T22" fmla="*/ 0 w 200"/>
                <a:gd name="T23" fmla="*/ 0 h 98"/>
                <a:gd name="T24" fmla="*/ 0 w 200"/>
                <a:gd name="T25" fmla="*/ 0 h 98"/>
                <a:gd name="T26" fmla="*/ 0 w 200"/>
                <a:gd name="T27" fmla="*/ 0 h 98"/>
                <a:gd name="T28" fmla="*/ 0 w 200"/>
                <a:gd name="T29" fmla="*/ 0 h 98"/>
                <a:gd name="T30" fmla="*/ 0 w 200"/>
                <a:gd name="T31" fmla="*/ 0 h 98"/>
                <a:gd name="T32" fmla="*/ 0 w 200"/>
                <a:gd name="T33" fmla="*/ 0 h 98"/>
                <a:gd name="T34" fmla="*/ 0 w 200"/>
                <a:gd name="T35" fmla="*/ 0 h 98"/>
                <a:gd name="T36" fmla="*/ 0 w 200"/>
                <a:gd name="T37" fmla="*/ 0 h 98"/>
                <a:gd name="T38" fmla="*/ 0 w 200"/>
                <a:gd name="T39" fmla="*/ 0 h 98"/>
                <a:gd name="T40" fmla="*/ 0 w 200"/>
                <a:gd name="T41" fmla="*/ 0 h 98"/>
                <a:gd name="T42" fmla="*/ 0 w 200"/>
                <a:gd name="T43" fmla="*/ 0 h 98"/>
                <a:gd name="T44" fmla="*/ 0 w 200"/>
                <a:gd name="T45" fmla="*/ 0 h 98"/>
                <a:gd name="T46" fmla="*/ 0 w 200"/>
                <a:gd name="T47" fmla="*/ 0 h 98"/>
                <a:gd name="T48" fmla="*/ 0 w 200"/>
                <a:gd name="T49" fmla="*/ 0 h 98"/>
                <a:gd name="T50" fmla="*/ 0 w 200"/>
                <a:gd name="T51" fmla="*/ 0 h 98"/>
                <a:gd name="T52" fmla="*/ 0 w 200"/>
                <a:gd name="T53" fmla="*/ 0 h 98"/>
                <a:gd name="T54" fmla="*/ 0 w 200"/>
                <a:gd name="T55" fmla="*/ 0 h 98"/>
                <a:gd name="T56" fmla="*/ 0 w 200"/>
                <a:gd name="T57" fmla="*/ 0 h 98"/>
                <a:gd name="T58" fmla="*/ 0 w 200"/>
                <a:gd name="T59" fmla="*/ 0 h 98"/>
                <a:gd name="T60" fmla="*/ 0 w 200"/>
                <a:gd name="T61" fmla="*/ 0 h 98"/>
                <a:gd name="T62" fmla="*/ 0 w 200"/>
                <a:gd name="T63" fmla="*/ 0 h 98"/>
                <a:gd name="T64" fmla="*/ 0 w 200"/>
                <a:gd name="T65" fmla="*/ 0 h 98"/>
                <a:gd name="T66" fmla="*/ 0 w 200"/>
                <a:gd name="T67" fmla="*/ 0 h 98"/>
                <a:gd name="T68" fmla="*/ 0 w 200"/>
                <a:gd name="T69" fmla="*/ 0 h 98"/>
                <a:gd name="T70" fmla="*/ 0 w 200"/>
                <a:gd name="T71" fmla="*/ 0 h 98"/>
                <a:gd name="T72" fmla="*/ 0 w 200"/>
                <a:gd name="T73" fmla="*/ 0 h 98"/>
                <a:gd name="T74" fmla="*/ 0 w 200"/>
                <a:gd name="T75" fmla="*/ 0 h 98"/>
                <a:gd name="T76" fmla="*/ 0 w 200"/>
                <a:gd name="T77" fmla="*/ 0 h 98"/>
                <a:gd name="T78" fmla="*/ 0 w 200"/>
                <a:gd name="T79" fmla="*/ 0 h 98"/>
                <a:gd name="T80" fmla="*/ 0 w 200"/>
                <a:gd name="T81" fmla="*/ 0 h 98"/>
                <a:gd name="T82" fmla="*/ 0 w 200"/>
                <a:gd name="T83" fmla="*/ 0 h 98"/>
                <a:gd name="T84" fmla="*/ 0 w 200"/>
                <a:gd name="T85" fmla="*/ 0 h 98"/>
                <a:gd name="T86" fmla="*/ 0 w 200"/>
                <a:gd name="T87" fmla="*/ 0 h 98"/>
                <a:gd name="T88" fmla="*/ 0 w 200"/>
                <a:gd name="T89" fmla="*/ 0 h 98"/>
                <a:gd name="T90" fmla="*/ 0 w 200"/>
                <a:gd name="T91" fmla="*/ 0 h 98"/>
                <a:gd name="T92" fmla="*/ 0 w 200"/>
                <a:gd name="T93" fmla="*/ 0 h 98"/>
                <a:gd name="T94" fmla="*/ 0 w 200"/>
                <a:gd name="T95" fmla="*/ 0 h 98"/>
                <a:gd name="T96" fmla="*/ 0 w 200"/>
                <a:gd name="T97" fmla="*/ 0 h 98"/>
                <a:gd name="T98" fmla="*/ 0 w 200"/>
                <a:gd name="T99" fmla="*/ 0 h 98"/>
                <a:gd name="T100" fmla="*/ 0 w 200"/>
                <a:gd name="T101" fmla="*/ 0 h 98"/>
                <a:gd name="T102" fmla="*/ 0 w 200"/>
                <a:gd name="T103" fmla="*/ 0 h 98"/>
                <a:gd name="T104" fmla="*/ 0 w 200"/>
                <a:gd name="T105" fmla="*/ 0 h 98"/>
                <a:gd name="T106" fmla="*/ 0 w 200"/>
                <a:gd name="T107" fmla="*/ 0 h 98"/>
                <a:gd name="T108" fmla="*/ 0 w 200"/>
                <a:gd name="T109" fmla="*/ 0 h 98"/>
                <a:gd name="T110" fmla="*/ 0 w 200"/>
                <a:gd name="T111" fmla="*/ 0 h 98"/>
                <a:gd name="T112" fmla="*/ 0 w 200"/>
                <a:gd name="T113" fmla="*/ 0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9" name="Freeform 796"/>
            <p:cNvSpPr>
              <a:spLocks/>
            </p:cNvSpPr>
            <p:nvPr>
              <p:custDataLst>
                <p:tags r:id="rId157"/>
              </p:custDataLst>
            </p:nvPr>
          </p:nvSpPr>
          <p:spPr bwMode="auto">
            <a:xfrm>
              <a:off x="2791" y="1246"/>
              <a:ext cx="57" cy="46"/>
            </a:xfrm>
            <a:custGeom>
              <a:avLst/>
              <a:gdLst>
                <a:gd name="T0" fmla="*/ 0 w 186"/>
                <a:gd name="T1" fmla="*/ 0 h 142"/>
                <a:gd name="T2" fmla="*/ 0 w 186"/>
                <a:gd name="T3" fmla="*/ 0 h 142"/>
                <a:gd name="T4" fmla="*/ 0 w 186"/>
                <a:gd name="T5" fmla="*/ 0 h 142"/>
                <a:gd name="T6" fmla="*/ 0 w 186"/>
                <a:gd name="T7" fmla="*/ 0 h 142"/>
                <a:gd name="T8" fmla="*/ 0 w 186"/>
                <a:gd name="T9" fmla="*/ 0 h 142"/>
                <a:gd name="T10" fmla="*/ 0 w 186"/>
                <a:gd name="T11" fmla="*/ 0 h 142"/>
                <a:gd name="T12" fmla="*/ 0 w 186"/>
                <a:gd name="T13" fmla="*/ 0 h 142"/>
                <a:gd name="T14" fmla="*/ 0 w 186"/>
                <a:gd name="T15" fmla="*/ 0 h 142"/>
                <a:gd name="T16" fmla="*/ 0 w 186"/>
                <a:gd name="T17" fmla="*/ 0 h 142"/>
                <a:gd name="T18" fmla="*/ 0 w 186"/>
                <a:gd name="T19" fmla="*/ 0 h 142"/>
                <a:gd name="T20" fmla="*/ 0 w 186"/>
                <a:gd name="T21" fmla="*/ 0 h 142"/>
                <a:gd name="T22" fmla="*/ 0 w 186"/>
                <a:gd name="T23" fmla="*/ 0 h 142"/>
                <a:gd name="T24" fmla="*/ 0 w 186"/>
                <a:gd name="T25" fmla="*/ 0 h 142"/>
                <a:gd name="T26" fmla="*/ 0 w 186"/>
                <a:gd name="T27" fmla="*/ 0 h 142"/>
                <a:gd name="T28" fmla="*/ 0 w 186"/>
                <a:gd name="T29" fmla="*/ 0 h 142"/>
                <a:gd name="T30" fmla="*/ 0 w 186"/>
                <a:gd name="T31" fmla="*/ 0 h 142"/>
                <a:gd name="T32" fmla="*/ 0 w 186"/>
                <a:gd name="T33" fmla="*/ 0 h 142"/>
                <a:gd name="T34" fmla="*/ 0 w 186"/>
                <a:gd name="T35" fmla="*/ 0 h 142"/>
                <a:gd name="T36" fmla="*/ 0 w 186"/>
                <a:gd name="T37" fmla="*/ 0 h 142"/>
                <a:gd name="T38" fmla="*/ 0 w 186"/>
                <a:gd name="T39" fmla="*/ 0 h 142"/>
                <a:gd name="T40" fmla="*/ 0 w 186"/>
                <a:gd name="T41" fmla="*/ 0 h 142"/>
                <a:gd name="T42" fmla="*/ 0 w 186"/>
                <a:gd name="T43" fmla="*/ 0 h 142"/>
                <a:gd name="T44" fmla="*/ 0 w 186"/>
                <a:gd name="T45" fmla="*/ 0 h 142"/>
                <a:gd name="T46" fmla="*/ 0 w 186"/>
                <a:gd name="T47" fmla="*/ 0 h 142"/>
                <a:gd name="T48" fmla="*/ 0 w 186"/>
                <a:gd name="T49" fmla="*/ 0 h 142"/>
                <a:gd name="T50" fmla="*/ 0 w 186"/>
                <a:gd name="T51" fmla="*/ 0 h 142"/>
                <a:gd name="T52" fmla="*/ 0 w 186"/>
                <a:gd name="T53" fmla="*/ 0 h 142"/>
                <a:gd name="T54" fmla="*/ 0 w 186"/>
                <a:gd name="T55" fmla="*/ 0 h 142"/>
                <a:gd name="T56" fmla="*/ 0 w 186"/>
                <a:gd name="T57" fmla="*/ 0 h 142"/>
                <a:gd name="T58" fmla="*/ 0 w 186"/>
                <a:gd name="T59" fmla="*/ 0 h 142"/>
                <a:gd name="T60" fmla="*/ 0 w 186"/>
                <a:gd name="T61" fmla="*/ 0 h 142"/>
                <a:gd name="T62" fmla="*/ 0 w 186"/>
                <a:gd name="T63" fmla="*/ 0 h 142"/>
                <a:gd name="T64" fmla="*/ 0 w 186"/>
                <a:gd name="T65" fmla="*/ 0 h 142"/>
                <a:gd name="T66" fmla="*/ 0 w 186"/>
                <a:gd name="T67" fmla="*/ 0 h 142"/>
                <a:gd name="T68" fmla="*/ 0 w 186"/>
                <a:gd name="T69" fmla="*/ 0 h 142"/>
                <a:gd name="T70" fmla="*/ 0 w 186"/>
                <a:gd name="T71" fmla="*/ 0 h 142"/>
                <a:gd name="T72" fmla="*/ 0 w 186"/>
                <a:gd name="T73" fmla="*/ 0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0" name="Freeform 797"/>
            <p:cNvSpPr>
              <a:spLocks/>
            </p:cNvSpPr>
            <p:nvPr>
              <p:custDataLst>
                <p:tags r:id="rId158"/>
              </p:custDataLst>
            </p:nvPr>
          </p:nvSpPr>
          <p:spPr bwMode="auto">
            <a:xfrm>
              <a:off x="2778" y="1286"/>
              <a:ext cx="57" cy="36"/>
            </a:xfrm>
            <a:custGeom>
              <a:avLst/>
              <a:gdLst>
                <a:gd name="T0" fmla="*/ 0 w 192"/>
                <a:gd name="T1" fmla="*/ 0 h 105"/>
                <a:gd name="T2" fmla="*/ 0 w 192"/>
                <a:gd name="T3" fmla="*/ 0 h 105"/>
                <a:gd name="T4" fmla="*/ 0 w 192"/>
                <a:gd name="T5" fmla="*/ 0 h 105"/>
                <a:gd name="T6" fmla="*/ 0 w 192"/>
                <a:gd name="T7" fmla="*/ 0 h 105"/>
                <a:gd name="T8" fmla="*/ 0 w 192"/>
                <a:gd name="T9" fmla="*/ 0 h 105"/>
                <a:gd name="T10" fmla="*/ 0 w 192"/>
                <a:gd name="T11" fmla="*/ 0 h 105"/>
                <a:gd name="T12" fmla="*/ 0 w 192"/>
                <a:gd name="T13" fmla="*/ 0 h 105"/>
                <a:gd name="T14" fmla="*/ 0 w 192"/>
                <a:gd name="T15" fmla="*/ 0 h 105"/>
                <a:gd name="T16" fmla="*/ 0 w 192"/>
                <a:gd name="T17" fmla="*/ 0 h 105"/>
                <a:gd name="T18" fmla="*/ 0 w 192"/>
                <a:gd name="T19" fmla="*/ 0 h 105"/>
                <a:gd name="T20" fmla="*/ 0 w 192"/>
                <a:gd name="T21" fmla="*/ 0 h 105"/>
                <a:gd name="T22" fmla="*/ 0 w 192"/>
                <a:gd name="T23" fmla="*/ 0 h 105"/>
                <a:gd name="T24" fmla="*/ 0 w 192"/>
                <a:gd name="T25" fmla="*/ 0 h 105"/>
                <a:gd name="T26" fmla="*/ 0 w 192"/>
                <a:gd name="T27" fmla="*/ 0 h 105"/>
                <a:gd name="T28" fmla="*/ 0 w 192"/>
                <a:gd name="T29" fmla="*/ 0 h 105"/>
                <a:gd name="T30" fmla="*/ 0 w 192"/>
                <a:gd name="T31" fmla="*/ 0 h 105"/>
                <a:gd name="T32" fmla="*/ 0 w 192"/>
                <a:gd name="T33" fmla="*/ 0 h 105"/>
                <a:gd name="T34" fmla="*/ 0 w 192"/>
                <a:gd name="T35" fmla="*/ 0 h 105"/>
                <a:gd name="T36" fmla="*/ 0 w 192"/>
                <a:gd name="T37" fmla="*/ 0 h 105"/>
                <a:gd name="T38" fmla="*/ 0 w 192"/>
                <a:gd name="T39" fmla="*/ 0 h 105"/>
                <a:gd name="T40" fmla="*/ 0 w 192"/>
                <a:gd name="T41" fmla="*/ 0 h 105"/>
                <a:gd name="T42" fmla="*/ 0 w 192"/>
                <a:gd name="T43" fmla="*/ 0 h 105"/>
                <a:gd name="T44" fmla="*/ 0 w 192"/>
                <a:gd name="T45" fmla="*/ 0 h 105"/>
                <a:gd name="T46" fmla="*/ 0 w 192"/>
                <a:gd name="T47" fmla="*/ 0 h 105"/>
                <a:gd name="T48" fmla="*/ 0 w 192"/>
                <a:gd name="T49" fmla="*/ 0 h 105"/>
                <a:gd name="T50" fmla="*/ 0 w 192"/>
                <a:gd name="T51" fmla="*/ 0 h 105"/>
                <a:gd name="T52" fmla="*/ 0 w 192"/>
                <a:gd name="T53" fmla="*/ 0 h 105"/>
                <a:gd name="T54" fmla="*/ 0 w 192"/>
                <a:gd name="T55" fmla="*/ 0 h 105"/>
                <a:gd name="T56" fmla="*/ 0 w 192"/>
                <a:gd name="T57" fmla="*/ 0 h 105"/>
                <a:gd name="T58" fmla="*/ 0 w 192"/>
                <a:gd name="T59" fmla="*/ 0 h 105"/>
                <a:gd name="T60" fmla="*/ 0 w 192"/>
                <a:gd name="T61" fmla="*/ 0 h 105"/>
                <a:gd name="T62" fmla="*/ 0 w 192"/>
                <a:gd name="T63" fmla="*/ 0 h 105"/>
                <a:gd name="T64" fmla="*/ 0 w 192"/>
                <a:gd name="T65" fmla="*/ 0 h 105"/>
                <a:gd name="T66" fmla="*/ 0 w 192"/>
                <a:gd name="T67" fmla="*/ 0 h 105"/>
                <a:gd name="T68" fmla="*/ 0 w 192"/>
                <a:gd name="T69" fmla="*/ 0 h 105"/>
                <a:gd name="T70" fmla="*/ 0 w 192"/>
                <a:gd name="T71" fmla="*/ 0 h 105"/>
                <a:gd name="T72" fmla="*/ 0 w 192"/>
                <a:gd name="T73" fmla="*/ 0 h 105"/>
                <a:gd name="T74" fmla="*/ 0 w 192"/>
                <a:gd name="T75" fmla="*/ 0 h 105"/>
                <a:gd name="T76" fmla="*/ 0 w 192"/>
                <a:gd name="T77" fmla="*/ 0 h 105"/>
                <a:gd name="T78" fmla="*/ 0 w 192"/>
                <a:gd name="T79" fmla="*/ 0 h 105"/>
                <a:gd name="T80" fmla="*/ 0 w 192"/>
                <a:gd name="T81" fmla="*/ 0 h 105"/>
                <a:gd name="T82" fmla="*/ 0 w 192"/>
                <a:gd name="T83" fmla="*/ 0 h 105"/>
                <a:gd name="T84" fmla="*/ 0 w 192"/>
                <a:gd name="T85" fmla="*/ 0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1" name="Freeform 798"/>
            <p:cNvSpPr>
              <a:spLocks/>
            </p:cNvSpPr>
            <p:nvPr>
              <p:custDataLst>
                <p:tags r:id="rId159"/>
              </p:custDataLst>
            </p:nvPr>
          </p:nvSpPr>
          <p:spPr bwMode="auto">
            <a:xfrm>
              <a:off x="3297" y="1635"/>
              <a:ext cx="22" cy="83"/>
            </a:xfrm>
            <a:custGeom>
              <a:avLst/>
              <a:gdLst>
                <a:gd name="T0" fmla="*/ 0 w 80"/>
                <a:gd name="T1" fmla="*/ 0 h 254"/>
                <a:gd name="T2" fmla="*/ 0 w 80"/>
                <a:gd name="T3" fmla="*/ 0 h 254"/>
                <a:gd name="T4" fmla="*/ 0 w 80"/>
                <a:gd name="T5" fmla="*/ 0 h 254"/>
                <a:gd name="T6" fmla="*/ 0 w 80"/>
                <a:gd name="T7" fmla="*/ 0 h 254"/>
                <a:gd name="T8" fmla="*/ 0 w 80"/>
                <a:gd name="T9" fmla="*/ 0 h 254"/>
                <a:gd name="T10" fmla="*/ 0 w 80"/>
                <a:gd name="T11" fmla="*/ 0 h 254"/>
                <a:gd name="T12" fmla="*/ 0 w 80"/>
                <a:gd name="T13" fmla="*/ 0 h 254"/>
                <a:gd name="T14" fmla="*/ 0 w 80"/>
                <a:gd name="T15" fmla="*/ 0 h 254"/>
                <a:gd name="T16" fmla="*/ 0 w 80"/>
                <a:gd name="T17" fmla="*/ 0 h 254"/>
                <a:gd name="T18" fmla="*/ 0 w 80"/>
                <a:gd name="T19" fmla="*/ 0 h 254"/>
                <a:gd name="T20" fmla="*/ 0 w 80"/>
                <a:gd name="T21" fmla="*/ 0 h 254"/>
                <a:gd name="T22" fmla="*/ 0 w 80"/>
                <a:gd name="T23" fmla="*/ 0 h 254"/>
                <a:gd name="T24" fmla="*/ 0 w 80"/>
                <a:gd name="T25" fmla="*/ 0 h 254"/>
                <a:gd name="T26" fmla="*/ 0 w 80"/>
                <a:gd name="T27" fmla="*/ 0 h 254"/>
                <a:gd name="T28" fmla="*/ 0 w 80"/>
                <a:gd name="T29" fmla="*/ 0 h 254"/>
                <a:gd name="T30" fmla="*/ 0 w 80"/>
                <a:gd name="T31" fmla="*/ 0 h 254"/>
                <a:gd name="T32" fmla="*/ 0 w 80"/>
                <a:gd name="T33" fmla="*/ 0 h 254"/>
                <a:gd name="T34" fmla="*/ 0 w 80"/>
                <a:gd name="T35" fmla="*/ 0 h 254"/>
                <a:gd name="T36" fmla="*/ 0 w 80"/>
                <a:gd name="T37" fmla="*/ 0 h 254"/>
                <a:gd name="T38" fmla="*/ 0 w 80"/>
                <a:gd name="T39" fmla="*/ 0 h 254"/>
                <a:gd name="T40" fmla="*/ 0 w 80"/>
                <a:gd name="T41" fmla="*/ 0 h 254"/>
                <a:gd name="T42" fmla="*/ 0 w 80"/>
                <a:gd name="T43" fmla="*/ 0 h 254"/>
                <a:gd name="T44" fmla="*/ 0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2" name="Freeform 799"/>
            <p:cNvSpPr>
              <a:spLocks/>
            </p:cNvSpPr>
            <p:nvPr>
              <p:custDataLst>
                <p:tags r:id="rId160"/>
              </p:custDataLst>
            </p:nvPr>
          </p:nvSpPr>
          <p:spPr bwMode="auto">
            <a:xfrm>
              <a:off x="3262" y="1668"/>
              <a:ext cx="48" cy="82"/>
            </a:xfrm>
            <a:custGeom>
              <a:avLst/>
              <a:gdLst>
                <a:gd name="T0" fmla="*/ 0 w 167"/>
                <a:gd name="T1" fmla="*/ 0 h 259"/>
                <a:gd name="T2" fmla="*/ 0 w 167"/>
                <a:gd name="T3" fmla="*/ 0 h 259"/>
                <a:gd name="T4" fmla="*/ 0 w 167"/>
                <a:gd name="T5" fmla="*/ 0 h 259"/>
                <a:gd name="T6" fmla="*/ 0 w 167"/>
                <a:gd name="T7" fmla="*/ 0 h 259"/>
                <a:gd name="T8" fmla="*/ 0 w 167"/>
                <a:gd name="T9" fmla="*/ 0 h 259"/>
                <a:gd name="T10" fmla="*/ 0 w 167"/>
                <a:gd name="T11" fmla="*/ 0 h 259"/>
                <a:gd name="T12" fmla="*/ 0 w 167"/>
                <a:gd name="T13" fmla="*/ 0 h 259"/>
                <a:gd name="T14" fmla="*/ 0 w 167"/>
                <a:gd name="T15" fmla="*/ 0 h 259"/>
                <a:gd name="T16" fmla="*/ 0 w 167"/>
                <a:gd name="T17" fmla="*/ 0 h 259"/>
                <a:gd name="T18" fmla="*/ 0 w 167"/>
                <a:gd name="T19" fmla="*/ 0 h 259"/>
                <a:gd name="T20" fmla="*/ 0 w 167"/>
                <a:gd name="T21" fmla="*/ 0 h 259"/>
                <a:gd name="T22" fmla="*/ 0 w 167"/>
                <a:gd name="T23" fmla="*/ 0 h 259"/>
                <a:gd name="T24" fmla="*/ 0 w 167"/>
                <a:gd name="T25" fmla="*/ 0 h 259"/>
                <a:gd name="T26" fmla="*/ 0 w 167"/>
                <a:gd name="T27" fmla="*/ 0 h 259"/>
                <a:gd name="T28" fmla="*/ 0 w 167"/>
                <a:gd name="T29" fmla="*/ 0 h 259"/>
                <a:gd name="T30" fmla="*/ 0 w 167"/>
                <a:gd name="T31" fmla="*/ 0 h 259"/>
                <a:gd name="T32" fmla="*/ 0 w 167"/>
                <a:gd name="T33" fmla="*/ 0 h 259"/>
                <a:gd name="T34" fmla="*/ 0 w 167"/>
                <a:gd name="T35" fmla="*/ 0 h 259"/>
                <a:gd name="T36" fmla="*/ 0 w 167"/>
                <a:gd name="T37" fmla="*/ 0 h 259"/>
                <a:gd name="T38" fmla="*/ 0 w 167"/>
                <a:gd name="T39" fmla="*/ 0 h 259"/>
                <a:gd name="T40" fmla="*/ 0 w 167"/>
                <a:gd name="T41" fmla="*/ 0 h 259"/>
                <a:gd name="T42" fmla="*/ 0 w 167"/>
                <a:gd name="T43" fmla="*/ 0 h 259"/>
                <a:gd name="T44" fmla="*/ 0 w 167"/>
                <a:gd name="T45" fmla="*/ 0 h 259"/>
                <a:gd name="T46" fmla="*/ 0 w 167"/>
                <a:gd name="T47" fmla="*/ 0 h 259"/>
                <a:gd name="T48" fmla="*/ 0 w 167"/>
                <a:gd name="T49" fmla="*/ 0 h 259"/>
                <a:gd name="T50" fmla="*/ 0 w 167"/>
                <a:gd name="T51" fmla="*/ 0 h 259"/>
                <a:gd name="T52" fmla="*/ 0 w 167"/>
                <a:gd name="T53" fmla="*/ 0 h 259"/>
                <a:gd name="T54" fmla="*/ 0 w 167"/>
                <a:gd name="T55" fmla="*/ 0 h 259"/>
                <a:gd name="T56" fmla="*/ 0 w 167"/>
                <a:gd name="T57" fmla="*/ 0 h 259"/>
                <a:gd name="T58" fmla="*/ 0 w 167"/>
                <a:gd name="T59" fmla="*/ 0 h 259"/>
                <a:gd name="T60" fmla="*/ 0 w 167"/>
                <a:gd name="T61" fmla="*/ 0 h 259"/>
                <a:gd name="T62" fmla="*/ 0 w 167"/>
                <a:gd name="T63" fmla="*/ 0 h 259"/>
                <a:gd name="T64" fmla="*/ 0 w 167"/>
                <a:gd name="T65" fmla="*/ 0 h 259"/>
                <a:gd name="T66" fmla="*/ 0 w 167"/>
                <a:gd name="T67" fmla="*/ 0 h 259"/>
                <a:gd name="T68" fmla="*/ 0 w 167"/>
                <a:gd name="T69" fmla="*/ 0 h 259"/>
                <a:gd name="T70" fmla="*/ 0 w 167"/>
                <a:gd name="T71" fmla="*/ 0 h 259"/>
                <a:gd name="T72" fmla="*/ 0 w 167"/>
                <a:gd name="T73" fmla="*/ 0 h 259"/>
                <a:gd name="T74" fmla="*/ 0 w 167"/>
                <a:gd name="T75" fmla="*/ 0 h 259"/>
                <a:gd name="T76" fmla="*/ 0 w 167"/>
                <a:gd name="T77" fmla="*/ 0 h 259"/>
                <a:gd name="T78" fmla="*/ 0 w 167"/>
                <a:gd name="T79" fmla="*/ 0 h 259"/>
                <a:gd name="T80" fmla="*/ 0 w 167"/>
                <a:gd name="T81" fmla="*/ 0 h 259"/>
                <a:gd name="T82" fmla="*/ 0 w 167"/>
                <a:gd name="T83" fmla="*/ 0 h 259"/>
                <a:gd name="T84" fmla="*/ 0 w 167"/>
                <a:gd name="T85" fmla="*/ 0 h 259"/>
                <a:gd name="T86" fmla="*/ 0 w 167"/>
                <a:gd name="T87" fmla="*/ 0 h 259"/>
                <a:gd name="T88" fmla="*/ 0 w 167"/>
                <a:gd name="T89" fmla="*/ 0 h 259"/>
                <a:gd name="T90" fmla="*/ 0 w 167"/>
                <a:gd name="T91" fmla="*/ 0 h 259"/>
                <a:gd name="T92" fmla="*/ 0 w 167"/>
                <a:gd name="T93" fmla="*/ 0 h 259"/>
                <a:gd name="T94" fmla="*/ 0 w 167"/>
                <a:gd name="T95" fmla="*/ 0 h 259"/>
                <a:gd name="T96" fmla="*/ 0 w 167"/>
                <a:gd name="T97" fmla="*/ 0 h 259"/>
                <a:gd name="T98" fmla="*/ 0 w 167"/>
                <a:gd name="T99" fmla="*/ 0 h 259"/>
                <a:gd name="T100" fmla="*/ 0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3" name="Freeform 800"/>
            <p:cNvSpPr>
              <a:spLocks/>
            </p:cNvSpPr>
            <p:nvPr>
              <p:custDataLst>
                <p:tags r:id="rId161"/>
              </p:custDataLst>
            </p:nvPr>
          </p:nvSpPr>
          <p:spPr bwMode="auto">
            <a:xfrm>
              <a:off x="2581" y="1198"/>
              <a:ext cx="66" cy="91"/>
            </a:xfrm>
            <a:custGeom>
              <a:avLst/>
              <a:gdLst>
                <a:gd name="T0" fmla="*/ 0 w 225"/>
                <a:gd name="T1" fmla="*/ 0 h 273"/>
                <a:gd name="T2" fmla="*/ 0 w 225"/>
                <a:gd name="T3" fmla="*/ 0 h 273"/>
                <a:gd name="T4" fmla="*/ 0 w 225"/>
                <a:gd name="T5" fmla="*/ 0 h 273"/>
                <a:gd name="T6" fmla="*/ 0 w 225"/>
                <a:gd name="T7" fmla="*/ 0 h 273"/>
                <a:gd name="T8" fmla="*/ 0 w 225"/>
                <a:gd name="T9" fmla="*/ 0 h 273"/>
                <a:gd name="T10" fmla="*/ 0 w 225"/>
                <a:gd name="T11" fmla="*/ 0 h 273"/>
                <a:gd name="T12" fmla="*/ 0 w 225"/>
                <a:gd name="T13" fmla="*/ 0 h 273"/>
                <a:gd name="T14" fmla="*/ 0 w 225"/>
                <a:gd name="T15" fmla="*/ 0 h 273"/>
                <a:gd name="T16" fmla="*/ 0 w 225"/>
                <a:gd name="T17" fmla="*/ 0 h 273"/>
                <a:gd name="T18" fmla="*/ 0 w 225"/>
                <a:gd name="T19" fmla="*/ 0 h 273"/>
                <a:gd name="T20" fmla="*/ 0 w 225"/>
                <a:gd name="T21" fmla="*/ 0 h 273"/>
                <a:gd name="T22" fmla="*/ 0 w 225"/>
                <a:gd name="T23" fmla="*/ 0 h 273"/>
                <a:gd name="T24" fmla="*/ 0 w 225"/>
                <a:gd name="T25" fmla="*/ 0 h 273"/>
                <a:gd name="T26" fmla="*/ 0 w 225"/>
                <a:gd name="T27" fmla="*/ 0 h 273"/>
                <a:gd name="T28" fmla="*/ 0 w 225"/>
                <a:gd name="T29" fmla="*/ 0 h 273"/>
                <a:gd name="T30" fmla="*/ 0 w 225"/>
                <a:gd name="T31" fmla="*/ 0 h 273"/>
                <a:gd name="T32" fmla="*/ 0 w 225"/>
                <a:gd name="T33" fmla="*/ 0 h 273"/>
                <a:gd name="T34" fmla="*/ 0 w 225"/>
                <a:gd name="T35" fmla="*/ 0 h 273"/>
                <a:gd name="T36" fmla="*/ 0 w 225"/>
                <a:gd name="T37" fmla="*/ 0 h 273"/>
                <a:gd name="T38" fmla="*/ 0 w 225"/>
                <a:gd name="T39" fmla="*/ 0 h 273"/>
                <a:gd name="T40" fmla="*/ 0 w 225"/>
                <a:gd name="T41" fmla="*/ 0 h 273"/>
                <a:gd name="T42" fmla="*/ 0 w 225"/>
                <a:gd name="T43" fmla="*/ 0 h 273"/>
                <a:gd name="T44" fmla="*/ 0 w 225"/>
                <a:gd name="T45" fmla="*/ 0 h 273"/>
                <a:gd name="T46" fmla="*/ 0 w 225"/>
                <a:gd name="T47" fmla="*/ 0 h 273"/>
                <a:gd name="T48" fmla="*/ 0 w 225"/>
                <a:gd name="T49" fmla="*/ 0 h 273"/>
                <a:gd name="T50" fmla="*/ 0 w 225"/>
                <a:gd name="T51" fmla="*/ 0 h 273"/>
                <a:gd name="T52" fmla="*/ 0 w 225"/>
                <a:gd name="T53" fmla="*/ 0 h 273"/>
                <a:gd name="T54" fmla="*/ 0 w 225"/>
                <a:gd name="T55" fmla="*/ 0 h 273"/>
                <a:gd name="T56" fmla="*/ 0 w 225"/>
                <a:gd name="T57" fmla="*/ 0 h 273"/>
                <a:gd name="T58" fmla="*/ 0 w 225"/>
                <a:gd name="T59" fmla="*/ 0 h 273"/>
                <a:gd name="T60" fmla="*/ 0 w 225"/>
                <a:gd name="T61" fmla="*/ 0 h 273"/>
                <a:gd name="T62" fmla="*/ 0 w 225"/>
                <a:gd name="T63" fmla="*/ 0 h 273"/>
                <a:gd name="T64" fmla="*/ 0 w 225"/>
                <a:gd name="T65" fmla="*/ 0 h 273"/>
                <a:gd name="T66" fmla="*/ 0 w 225"/>
                <a:gd name="T67" fmla="*/ 0 h 273"/>
                <a:gd name="T68" fmla="*/ 0 w 225"/>
                <a:gd name="T69" fmla="*/ 0 h 273"/>
                <a:gd name="T70" fmla="*/ 0 w 225"/>
                <a:gd name="T71" fmla="*/ 0 h 273"/>
                <a:gd name="T72" fmla="*/ 0 w 225"/>
                <a:gd name="T73" fmla="*/ 0 h 273"/>
                <a:gd name="T74" fmla="*/ 0 w 225"/>
                <a:gd name="T75" fmla="*/ 0 h 273"/>
                <a:gd name="T76" fmla="*/ 0 w 225"/>
                <a:gd name="T77" fmla="*/ 0 h 273"/>
                <a:gd name="T78" fmla="*/ 0 w 225"/>
                <a:gd name="T79" fmla="*/ 0 h 273"/>
                <a:gd name="T80" fmla="*/ 0 w 225"/>
                <a:gd name="T81" fmla="*/ 0 h 273"/>
                <a:gd name="T82" fmla="*/ 0 w 225"/>
                <a:gd name="T83" fmla="*/ 0 h 273"/>
                <a:gd name="T84" fmla="*/ 0 w 225"/>
                <a:gd name="T85" fmla="*/ 0 h 273"/>
                <a:gd name="T86" fmla="*/ 0 w 225"/>
                <a:gd name="T87" fmla="*/ 0 h 273"/>
                <a:gd name="T88" fmla="*/ 0 w 225"/>
                <a:gd name="T89" fmla="*/ 0 h 273"/>
                <a:gd name="T90" fmla="*/ 0 w 225"/>
                <a:gd name="T91" fmla="*/ 0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4" name="Freeform 801"/>
            <p:cNvSpPr>
              <a:spLocks/>
            </p:cNvSpPr>
            <p:nvPr>
              <p:custDataLst>
                <p:tags r:id="rId162"/>
              </p:custDataLst>
            </p:nvPr>
          </p:nvSpPr>
          <p:spPr bwMode="auto">
            <a:xfrm>
              <a:off x="2453" y="1772"/>
              <a:ext cx="209" cy="246"/>
            </a:xfrm>
            <a:custGeom>
              <a:avLst/>
              <a:gdLst>
                <a:gd name="T0" fmla="*/ 12 w 232"/>
                <a:gd name="T1" fmla="*/ 206 h 248"/>
                <a:gd name="T2" fmla="*/ 12 w 232"/>
                <a:gd name="T3" fmla="*/ 203 h 248"/>
                <a:gd name="T4" fmla="*/ 13 w 232"/>
                <a:gd name="T5" fmla="*/ 198 h 248"/>
                <a:gd name="T6" fmla="*/ 13 w 232"/>
                <a:gd name="T7" fmla="*/ 192 h 248"/>
                <a:gd name="T8" fmla="*/ 13 w 232"/>
                <a:gd name="T9" fmla="*/ 191 h 248"/>
                <a:gd name="T10" fmla="*/ 13 w 232"/>
                <a:gd name="T11" fmla="*/ 198 h 248"/>
                <a:gd name="T12" fmla="*/ 13 w 232"/>
                <a:gd name="T13" fmla="*/ 201 h 248"/>
                <a:gd name="T14" fmla="*/ 13 w 232"/>
                <a:gd name="T15" fmla="*/ 202 h 248"/>
                <a:gd name="T16" fmla="*/ 14 w 232"/>
                <a:gd name="T17" fmla="*/ 202 h 248"/>
                <a:gd name="T18" fmla="*/ 14 w 232"/>
                <a:gd name="T19" fmla="*/ 201 h 248"/>
                <a:gd name="T20" fmla="*/ 14 w 232"/>
                <a:gd name="T21" fmla="*/ 198 h 248"/>
                <a:gd name="T22" fmla="*/ 27 w 232"/>
                <a:gd name="T23" fmla="*/ 194 h 248"/>
                <a:gd name="T24" fmla="*/ 27 w 232"/>
                <a:gd name="T25" fmla="*/ 175 h 248"/>
                <a:gd name="T26" fmla="*/ 26 w 232"/>
                <a:gd name="T27" fmla="*/ 118 h 248"/>
                <a:gd name="T28" fmla="*/ 24 w 232"/>
                <a:gd name="T29" fmla="*/ 62 h 248"/>
                <a:gd name="T30" fmla="*/ 24 w 232"/>
                <a:gd name="T31" fmla="*/ 43 h 248"/>
                <a:gd name="T32" fmla="*/ 27 w 232"/>
                <a:gd name="T33" fmla="*/ 44 h 248"/>
                <a:gd name="T34" fmla="*/ 29 w 232"/>
                <a:gd name="T35" fmla="*/ 46 h 248"/>
                <a:gd name="T36" fmla="*/ 20 w 232"/>
                <a:gd name="T37" fmla="*/ 2 h 248"/>
                <a:gd name="T38" fmla="*/ 20 w 232"/>
                <a:gd name="T39" fmla="*/ 8 h 248"/>
                <a:gd name="T40" fmla="*/ 20 w 232"/>
                <a:gd name="T41" fmla="*/ 18 h 248"/>
                <a:gd name="T42" fmla="*/ 13 w 232"/>
                <a:gd name="T43" fmla="*/ 24 h 248"/>
                <a:gd name="T44" fmla="*/ 13 w 232"/>
                <a:gd name="T45" fmla="*/ 62 h 248"/>
                <a:gd name="T46" fmla="*/ 12 w 232"/>
                <a:gd name="T47" fmla="*/ 62 h 248"/>
                <a:gd name="T48" fmla="*/ 11 w 232"/>
                <a:gd name="T49" fmla="*/ 62 h 248"/>
                <a:gd name="T50" fmla="*/ 10 w 232"/>
                <a:gd name="T51" fmla="*/ 62 h 248"/>
                <a:gd name="T52" fmla="*/ 10 w 232"/>
                <a:gd name="T53" fmla="*/ 68 h 248"/>
                <a:gd name="T54" fmla="*/ 10 w 232"/>
                <a:gd name="T55" fmla="*/ 76 h 248"/>
                <a:gd name="T56" fmla="*/ 11 w 232"/>
                <a:gd name="T57" fmla="*/ 85 h 248"/>
                <a:gd name="T58" fmla="*/ 11 w 232"/>
                <a:gd name="T59" fmla="*/ 95 h 248"/>
                <a:gd name="T60" fmla="*/ 5 w 232"/>
                <a:gd name="T61" fmla="*/ 99 h 248"/>
                <a:gd name="T62" fmla="*/ 5 w 232"/>
                <a:gd name="T63" fmla="*/ 110 h 248"/>
                <a:gd name="T64" fmla="*/ 5 w 232"/>
                <a:gd name="T65" fmla="*/ 123 h 248"/>
                <a:gd name="T66" fmla="*/ 5 w 232"/>
                <a:gd name="T67" fmla="*/ 135 h 248"/>
                <a:gd name="T68" fmla="*/ 5 w 232"/>
                <a:gd name="T69" fmla="*/ 148 h 248"/>
                <a:gd name="T70" fmla="*/ 5 w 232"/>
                <a:gd name="T71" fmla="*/ 162 h 248"/>
                <a:gd name="T72" fmla="*/ 5 w 232"/>
                <a:gd name="T73" fmla="*/ 170 h 248"/>
                <a:gd name="T74" fmla="*/ 5 w 232"/>
                <a:gd name="T75" fmla="*/ 176 h 248"/>
                <a:gd name="T76" fmla="*/ 2 w 232"/>
                <a:gd name="T77" fmla="*/ 181 h 248"/>
                <a:gd name="T78" fmla="*/ 2 w 232"/>
                <a:gd name="T79" fmla="*/ 182 h 248"/>
                <a:gd name="T80" fmla="*/ 3 w 232"/>
                <a:gd name="T81" fmla="*/ 183 h 248"/>
                <a:gd name="T82" fmla="*/ 3 w 232"/>
                <a:gd name="T83" fmla="*/ 184 h 248"/>
                <a:gd name="T84" fmla="*/ 5 w 232"/>
                <a:gd name="T85" fmla="*/ 181 h 248"/>
                <a:gd name="T86" fmla="*/ 5 w 232"/>
                <a:gd name="T87" fmla="*/ 179 h 248"/>
                <a:gd name="T88" fmla="*/ 5 w 232"/>
                <a:gd name="T89" fmla="*/ 176 h 248"/>
                <a:gd name="T90" fmla="*/ 5 w 232"/>
                <a:gd name="T91" fmla="*/ 177 h 248"/>
                <a:gd name="T92" fmla="*/ 6 w 232"/>
                <a:gd name="T93" fmla="*/ 179 h 248"/>
                <a:gd name="T94" fmla="*/ 7 w 232"/>
                <a:gd name="T95" fmla="*/ 180 h 248"/>
                <a:gd name="T96" fmla="*/ 8 w 232"/>
                <a:gd name="T97" fmla="*/ 180 h 248"/>
                <a:gd name="T98" fmla="*/ 9 w 232"/>
                <a:gd name="T99" fmla="*/ 182 h 248"/>
                <a:gd name="T100" fmla="*/ 9 w 232"/>
                <a:gd name="T101" fmla="*/ 185 h 248"/>
                <a:gd name="T102" fmla="*/ 9 w 232"/>
                <a:gd name="T103" fmla="*/ 191 h 248"/>
                <a:gd name="T104" fmla="*/ 10 w 232"/>
                <a:gd name="T105" fmla="*/ 195 h 248"/>
                <a:gd name="T106" fmla="*/ 11 w 232"/>
                <a:gd name="T107" fmla="*/ 203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5" name="Freeform 802"/>
            <p:cNvSpPr>
              <a:spLocks/>
            </p:cNvSpPr>
            <p:nvPr>
              <p:custDataLst>
                <p:tags r:id="rId163"/>
              </p:custDataLst>
            </p:nvPr>
          </p:nvSpPr>
          <p:spPr bwMode="auto">
            <a:xfrm>
              <a:off x="2532" y="1810"/>
              <a:ext cx="283" cy="295"/>
            </a:xfrm>
            <a:custGeom>
              <a:avLst/>
              <a:gdLst>
                <a:gd name="T0" fmla="*/ 0 w 948"/>
                <a:gd name="T1" fmla="*/ 0 h 893"/>
                <a:gd name="T2" fmla="*/ 0 w 948"/>
                <a:gd name="T3" fmla="*/ 0 h 893"/>
                <a:gd name="T4" fmla="*/ 0 w 948"/>
                <a:gd name="T5" fmla="*/ 0 h 893"/>
                <a:gd name="T6" fmla="*/ 0 w 948"/>
                <a:gd name="T7" fmla="*/ 0 h 893"/>
                <a:gd name="T8" fmla="*/ 0 w 948"/>
                <a:gd name="T9" fmla="*/ 0 h 893"/>
                <a:gd name="T10" fmla="*/ 0 w 948"/>
                <a:gd name="T11" fmla="*/ 0 h 893"/>
                <a:gd name="T12" fmla="*/ 0 w 948"/>
                <a:gd name="T13" fmla="*/ 0 h 893"/>
                <a:gd name="T14" fmla="*/ 0 w 948"/>
                <a:gd name="T15" fmla="*/ 0 h 893"/>
                <a:gd name="T16" fmla="*/ 0 w 948"/>
                <a:gd name="T17" fmla="*/ 0 h 893"/>
                <a:gd name="T18" fmla="*/ 0 w 948"/>
                <a:gd name="T19" fmla="*/ 0 h 893"/>
                <a:gd name="T20" fmla="*/ 0 w 948"/>
                <a:gd name="T21" fmla="*/ 0 h 893"/>
                <a:gd name="T22" fmla="*/ 0 w 948"/>
                <a:gd name="T23" fmla="*/ 0 h 893"/>
                <a:gd name="T24" fmla="*/ 0 w 948"/>
                <a:gd name="T25" fmla="*/ 0 h 893"/>
                <a:gd name="T26" fmla="*/ 0 w 948"/>
                <a:gd name="T27" fmla="*/ 0 h 893"/>
                <a:gd name="T28" fmla="*/ 0 w 948"/>
                <a:gd name="T29" fmla="*/ 0 h 893"/>
                <a:gd name="T30" fmla="*/ 0 w 948"/>
                <a:gd name="T31" fmla="*/ 0 h 893"/>
                <a:gd name="T32" fmla="*/ 0 w 948"/>
                <a:gd name="T33" fmla="*/ 0 h 893"/>
                <a:gd name="T34" fmla="*/ 0 w 948"/>
                <a:gd name="T35" fmla="*/ 0 h 893"/>
                <a:gd name="T36" fmla="*/ 0 w 948"/>
                <a:gd name="T37" fmla="*/ 0 h 893"/>
                <a:gd name="T38" fmla="*/ 0 w 948"/>
                <a:gd name="T39" fmla="*/ 0 h 893"/>
                <a:gd name="T40" fmla="*/ 0 w 948"/>
                <a:gd name="T41" fmla="*/ 0 h 893"/>
                <a:gd name="T42" fmla="*/ 0 w 948"/>
                <a:gd name="T43" fmla="*/ 0 h 893"/>
                <a:gd name="T44" fmla="*/ 0 w 948"/>
                <a:gd name="T45" fmla="*/ 0 h 893"/>
                <a:gd name="T46" fmla="*/ 0 w 948"/>
                <a:gd name="T47" fmla="*/ 0 h 893"/>
                <a:gd name="T48" fmla="*/ 0 w 948"/>
                <a:gd name="T49" fmla="*/ 0 h 893"/>
                <a:gd name="T50" fmla="*/ 0 w 948"/>
                <a:gd name="T51" fmla="*/ 0 h 893"/>
                <a:gd name="T52" fmla="*/ 0 w 948"/>
                <a:gd name="T53" fmla="*/ 0 h 893"/>
                <a:gd name="T54" fmla="*/ 0 w 948"/>
                <a:gd name="T55" fmla="*/ 0 h 893"/>
                <a:gd name="T56" fmla="*/ 0 w 948"/>
                <a:gd name="T57" fmla="*/ 0 h 893"/>
                <a:gd name="T58" fmla="*/ 0 w 948"/>
                <a:gd name="T59" fmla="*/ 0 h 893"/>
                <a:gd name="T60" fmla="*/ 0 w 948"/>
                <a:gd name="T61" fmla="*/ 0 h 893"/>
                <a:gd name="T62" fmla="*/ 0 w 948"/>
                <a:gd name="T63" fmla="*/ 0 h 893"/>
                <a:gd name="T64" fmla="*/ 0 w 948"/>
                <a:gd name="T65" fmla="*/ 0 h 893"/>
                <a:gd name="T66" fmla="*/ 0 w 948"/>
                <a:gd name="T67" fmla="*/ 0 h 893"/>
                <a:gd name="T68" fmla="*/ 0 w 948"/>
                <a:gd name="T69" fmla="*/ 0 h 893"/>
                <a:gd name="T70" fmla="*/ 0 w 948"/>
                <a:gd name="T71" fmla="*/ 0 h 893"/>
                <a:gd name="T72" fmla="*/ 0 w 948"/>
                <a:gd name="T73" fmla="*/ 0 h 893"/>
                <a:gd name="T74" fmla="*/ 0 w 948"/>
                <a:gd name="T75" fmla="*/ 0 h 893"/>
                <a:gd name="T76" fmla="*/ 0 w 948"/>
                <a:gd name="T77" fmla="*/ 0 h 893"/>
                <a:gd name="T78" fmla="*/ 0 w 948"/>
                <a:gd name="T79" fmla="*/ 0 h 893"/>
                <a:gd name="T80" fmla="*/ 0 w 948"/>
                <a:gd name="T81" fmla="*/ 0 h 893"/>
                <a:gd name="T82" fmla="*/ 0 w 948"/>
                <a:gd name="T83" fmla="*/ 0 h 893"/>
                <a:gd name="T84" fmla="*/ 0 w 948"/>
                <a:gd name="T85" fmla="*/ 0 h 893"/>
                <a:gd name="T86" fmla="*/ 0 w 948"/>
                <a:gd name="T87" fmla="*/ 0 h 893"/>
                <a:gd name="T88" fmla="*/ 0 w 948"/>
                <a:gd name="T89" fmla="*/ 0 h 893"/>
                <a:gd name="T90" fmla="*/ 0 w 948"/>
                <a:gd name="T91" fmla="*/ 0 h 893"/>
                <a:gd name="T92" fmla="*/ 0 w 948"/>
                <a:gd name="T93" fmla="*/ 0 h 893"/>
                <a:gd name="T94" fmla="*/ 0 w 948"/>
                <a:gd name="T95" fmla="*/ 0 h 893"/>
                <a:gd name="T96" fmla="*/ 0 w 948"/>
                <a:gd name="T97" fmla="*/ 0 h 893"/>
                <a:gd name="T98" fmla="*/ 0 w 948"/>
                <a:gd name="T99" fmla="*/ 0 h 893"/>
                <a:gd name="T100" fmla="*/ 0 w 948"/>
                <a:gd name="T101" fmla="*/ 0 h 893"/>
                <a:gd name="T102" fmla="*/ 0 w 948"/>
                <a:gd name="T103" fmla="*/ 0 h 893"/>
                <a:gd name="T104" fmla="*/ 0 w 948"/>
                <a:gd name="T105" fmla="*/ 0 h 893"/>
                <a:gd name="T106" fmla="*/ 0 w 948"/>
                <a:gd name="T107" fmla="*/ 0 h 893"/>
                <a:gd name="T108" fmla="*/ 0 w 948"/>
                <a:gd name="T109" fmla="*/ 0 h 893"/>
                <a:gd name="T110" fmla="*/ 0 w 948"/>
                <a:gd name="T111" fmla="*/ 0 h 893"/>
                <a:gd name="T112" fmla="*/ 0 w 948"/>
                <a:gd name="T113" fmla="*/ 0 h 893"/>
                <a:gd name="T114" fmla="*/ 0 w 948"/>
                <a:gd name="T115" fmla="*/ 0 h 893"/>
                <a:gd name="T116" fmla="*/ 0 w 948"/>
                <a:gd name="T117" fmla="*/ 0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6" name="Freeform 803"/>
            <p:cNvSpPr>
              <a:spLocks/>
            </p:cNvSpPr>
            <p:nvPr>
              <p:custDataLst>
                <p:tags r:id="rId164"/>
              </p:custDataLst>
            </p:nvPr>
          </p:nvSpPr>
          <p:spPr bwMode="auto">
            <a:xfrm>
              <a:off x="2599" y="1562"/>
              <a:ext cx="337" cy="365"/>
            </a:xfrm>
            <a:custGeom>
              <a:avLst/>
              <a:gdLst>
                <a:gd name="T0" fmla="*/ 31 w 373"/>
                <a:gd name="T1" fmla="*/ 280 h 370"/>
                <a:gd name="T2" fmla="*/ 32 w 373"/>
                <a:gd name="T3" fmla="*/ 278 h 370"/>
                <a:gd name="T4" fmla="*/ 34 w 373"/>
                <a:gd name="T5" fmla="*/ 281 h 370"/>
                <a:gd name="T6" fmla="*/ 48 w 373"/>
                <a:gd name="T7" fmla="*/ 212 h 370"/>
                <a:gd name="T8" fmla="*/ 48 w 373"/>
                <a:gd name="T9" fmla="*/ 207 h 370"/>
                <a:gd name="T10" fmla="*/ 48 w 373"/>
                <a:gd name="T11" fmla="*/ 202 h 370"/>
                <a:gd name="T12" fmla="*/ 46 w 373"/>
                <a:gd name="T13" fmla="*/ 199 h 370"/>
                <a:gd name="T14" fmla="*/ 43 w 373"/>
                <a:gd name="T15" fmla="*/ 194 h 370"/>
                <a:gd name="T16" fmla="*/ 43 w 373"/>
                <a:gd name="T17" fmla="*/ 187 h 370"/>
                <a:gd name="T18" fmla="*/ 43 w 373"/>
                <a:gd name="T19" fmla="*/ 173 h 370"/>
                <a:gd name="T20" fmla="*/ 43 w 373"/>
                <a:gd name="T21" fmla="*/ 152 h 370"/>
                <a:gd name="T22" fmla="*/ 43 w 373"/>
                <a:gd name="T23" fmla="*/ 128 h 370"/>
                <a:gd name="T24" fmla="*/ 43 w 373"/>
                <a:gd name="T25" fmla="*/ 115 h 370"/>
                <a:gd name="T26" fmla="*/ 42 w 373"/>
                <a:gd name="T27" fmla="*/ 106 h 370"/>
                <a:gd name="T28" fmla="*/ 42 w 373"/>
                <a:gd name="T29" fmla="*/ 89 h 370"/>
                <a:gd name="T30" fmla="*/ 39 w 373"/>
                <a:gd name="T31" fmla="*/ 70 h 370"/>
                <a:gd name="T32" fmla="*/ 39 w 373"/>
                <a:gd name="T33" fmla="*/ 58 h 370"/>
                <a:gd name="T34" fmla="*/ 39 w 373"/>
                <a:gd name="T35" fmla="*/ 43 h 370"/>
                <a:gd name="T36" fmla="*/ 39 w 373"/>
                <a:gd name="T37" fmla="*/ 37 h 370"/>
                <a:gd name="T38" fmla="*/ 39 w 373"/>
                <a:gd name="T39" fmla="*/ 23 h 370"/>
                <a:gd name="T40" fmla="*/ 41 w 373"/>
                <a:gd name="T41" fmla="*/ 7 h 370"/>
                <a:gd name="T42" fmla="*/ 39 w 373"/>
                <a:gd name="T43" fmla="*/ 6 h 370"/>
                <a:gd name="T44" fmla="*/ 36 w 373"/>
                <a:gd name="T45" fmla="*/ 12 h 370"/>
                <a:gd name="T46" fmla="*/ 32 w 373"/>
                <a:gd name="T47" fmla="*/ 12 h 370"/>
                <a:gd name="T48" fmla="*/ 27 w 373"/>
                <a:gd name="T49" fmla="*/ 14 h 370"/>
                <a:gd name="T50" fmla="*/ 22 w 373"/>
                <a:gd name="T51" fmla="*/ 24 h 370"/>
                <a:gd name="T52" fmla="*/ 19 w 373"/>
                <a:gd name="T53" fmla="*/ 32 h 370"/>
                <a:gd name="T54" fmla="*/ 16 w 373"/>
                <a:gd name="T55" fmla="*/ 37 h 370"/>
                <a:gd name="T56" fmla="*/ 16 w 373"/>
                <a:gd name="T57" fmla="*/ 37 h 370"/>
                <a:gd name="T58" fmla="*/ 17 w 373"/>
                <a:gd name="T59" fmla="*/ 69 h 370"/>
                <a:gd name="T60" fmla="*/ 17 w 373"/>
                <a:gd name="T61" fmla="*/ 73 h 370"/>
                <a:gd name="T62" fmla="*/ 19 w 373"/>
                <a:gd name="T63" fmla="*/ 78 h 370"/>
                <a:gd name="T64" fmla="*/ 19 w 373"/>
                <a:gd name="T65" fmla="*/ 82 h 370"/>
                <a:gd name="T66" fmla="*/ 19 w 373"/>
                <a:gd name="T67" fmla="*/ 87 h 370"/>
                <a:gd name="T68" fmla="*/ 17 w 373"/>
                <a:gd name="T69" fmla="*/ 87 h 370"/>
                <a:gd name="T70" fmla="*/ 14 w 373"/>
                <a:gd name="T71" fmla="*/ 91 h 370"/>
                <a:gd name="T72" fmla="*/ 13 w 373"/>
                <a:gd name="T73" fmla="*/ 96 h 370"/>
                <a:gd name="T74" fmla="*/ 12 w 373"/>
                <a:gd name="T75" fmla="*/ 100 h 370"/>
                <a:gd name="T76" fmla="*/ 11 w 373"/>
                <a:gd name="T77" fmla="*/ 103 h 370"/>
                <a:gd name="T78" fmla="*/ 9 w 373"/>
                <a:gd name="T79" fmla="*/ 110 h 370"/>
                <a:gd name="T80" fmla="*/ 7 w 373"/>
                <a:gd name="T81" fmla="*/ 118 h 370"/>
                <a:gd name="T82" fmla="*/ 5 w 373"/>
                <a:gd name="T83" fmla="*/ 120 h 370"/>
                <a:gd name="T84" fmla="*/ 5 w 373"/>
                <a:gd name="T85" fmla="*/ 124 h 370"/>
                <a:gd name="T86" fmla="*/ 5 w 373"/>
                <a:gd name="T87" fmla="*/ 134 h 370"/>
                <a:gd name="T88" fmla="*/ 0 w 373"/>
                <a:gd name="T89" fmla="*/ 155 h 370"/>
                <a:gd name="T90" fmla="*/ 23 w 373"/>
                <a:gd name="T91" fmla="*/ 253 h 370"/>
                <a:gd name="T92" fmla="*/ 26 w 373"/>
                <a:gd name="T93" fmla="*/ 268 h 370"/>
                <a:gd name="T94" fmla="*/ 30 w 373"/>
                <a:gd name="T95" fmla="*/ 281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7" name="Freeform 804"/>
            <p:cNvSpPr>
              <a:spLocks/>
            </p:cNvSpPr>
            <p:nvPr>
              <p:custDataLst>
                <p:tags r:id="rId165"/>
              </p:custDataLst>
            </p:nvPr>
          </p:nvSpPr>
          <p:spPr bwMode="auto">
            <a:xfrm>
              <a:off x="2897" y="1647"/>
              <a:ext cx="262" cy="275"/>
            </a:xfrm>
            <a:custGeom>
              <a:avLst/>
              <a:gdLst>
                <a:gd name="T0" fmla="*/ 0 w 877"/>
                <a:gd name="T1" fmla="*/ 0 h 826"/>
                <a:gd name="T2" fmla="*/ 0 w 877"/>
                <a:gd name="T3" fmla="*/ 0 h 826"/>
                <a:gd name="T4" fmla="*/ 0 w 877"/>
                <a:gd name="T5" fmla="*/ 0 h 826"/>
                <a:gd name="T6" fmla="*/ 0 w 877"/>
                <a:gd name="T7" fmla="*/ 0 h 826"/>
                <a:gd name="T8" fmla="*/ 0 w 877"/>
                <a:gd name="T9" fmla="*/ 0 h 826"/>
                <a:gd name="T10" fmla="*/ 0 w 877"/>
                <a:gd name="T11" fmla="*/ 0 h 826"/>
                <a:gd name="T12" fmla="*/ 0 w 877"/>
                <a:gd name="T13" fmla="*/ 0 h 826"/>
                <a:gd name="T14" fmla="*/ 0 w 877"/>
                <a:gd name="T15" fmla="*/ 0 h 826"/>
                <a:gd name="T16" fmla="*/ 0 w 877"/>
                <a:gd name="T17" fmla="*/ 0 h 826"/>
                <a:gd name="T18" fmla="*/ 0 w 877"/>
                <a:gd name="T19" fmla="*/ 0 h 826"/>
                <a:gd name="T20" fmla="*/ 0 w 877"/>
                <a:gd name="T21" fmla="*/ 0 h 826"/>
                <a:gd name="T22" fmla="*/ 0 w 877"/>
                <a:gd name="T23" fmla="*/ 0 h 826"/>
                <a:gd name="T24" fmla="*/ 0 w 877"/>
                <a:gd name="T25" fmla="*/ 0 h 826"/>
                <a:gd name="T26" fmla="*/ 0 w 877"/>
                <a:gd name="T27" fmla="*/ 0 h 826"/>
                <a:gd name="T28" fmla="*/ 0 w 877"/>
                <a:gd name="T29" fmla="*/ 0 h 826"/>
                <a:gd name="T30" fmla="*/ 0 w 877"/>
                <a:gd name="T31" fmla="*/ 0 h 826"/>
                <a:gd name="T32" fmla="*/ 0 w 877"/>
                <a:gd name="T33" fmla="*/ 0 h 826"/>
                <a:gd name="T34" fmla="*/ 0 w 877"/>
                <a:gd name="T35" fmla="*/ 0 h 826"/>
                <a:gd name="T36" fmla="*/ 0 w 877"/>
                <a:gd name="T37" fmla="*/ 0 h 826"/>
                <a:gd name="T38" fmla="*/ 0 w 877"/>
                <a:gd name="T39" fmla="*/ 0 h 826"/>
                <a:gd name="T40" fmla="*/ 0 w 877"/>
                <a:gd name="T41" fmla="*/ 0 h 826"/>
                <a:gd name="T42" fmla="*/ 0 w 877"/>
                <a:gd name="T43" fmla="*/ 0 h 826"/>
                <a:gd name="T44" fmla="*/ 0 w 877"/>
                <a:gd name="T45" fmla="*/ 0 h 826"/>
                <a:gd name="T46" fmla="*/ 0 w 877"/>
                <a:gd name="T47" fmla="*/ 0 h 826"/>
                <a:gd name="T48" fmla="*/ 0 w 877"/>
                <a:gd name="T49" fmla="*/ 0 h 826"/>
                <a:gd name="T50" fmla="*/ 0 w 877"/>
                <a:gd name="T51" fmla="*/ 0 h 826"/>
                <a:gd name="T52" fmla="*/ 0 w 877"/>
                <a:gd name="T53" fmla="*/ 0 h 826"/>
                <a:gd name="T54" fmla="*/ 0 w 877"/>
                <a:gd name="T55" fmla="*/ 0 h 826"/>
                <a:gd name="T56" fmla="*/ 0 w 877"/>
                <a:gd name="T57" fmla="*/ 0 h 826"/>
                <a:gd name="T58" fmla="*/ 0 w 877"/>
                <a:gd name="T59" fmla="*/ 0 h 826"/>
                <a:gd name="T60" fmla="*/ 0 w 877"/>
                <a:gd name="T61" fmla="*/ 0 h 826"/>
                <a:gd name="T62" fmla="*/ 0 w 877"/>
                <a:gd name="T63" fmla="*/ 0 h 826"/>
                <a:gd name="T64" fmla="*/ 0 w 877"/>
                <a:gd name="T65" fmla="*/ 0 h 826"/>
                <a:gd name="T66" fmla="*/ 0 w 877"/>
                <a:gd name="T67" fmla="*/ 0 h 826"/>
                <a:gd name="T68" fmla="*/ 0 w 877"/>
                <a:gd name="T69" fmla="*/ 0 h 826"/>
                <a:gd name="T70" fmla="*/ 0 w 877"/>
                <a:gd name="T71" fmla="*/ 0 h 826"/>
                <a:gd name="T72" fmla="*/ 0 w 877"/>
                <a:gd name="T73" fmla="*/ 0 h 826"/>
                <a:gd name="T74" fmla="*/ 0 w 877"/>
                <a:gd name="T75" fmla="*/ 0 h 826"/>
                <a:gd name="T76" fmla="*/ 0 w 877"/>
                <a:gd name="T77" fmla="*/ 0 h 826"/>
                <a:gd name="T78" fmla="*/ 0 w 877"/>
                <a:gd name="T79" fmla="*/ 0 h 826"/>
                <a:gd name="T80" fmla="*/ 0 w 877"/>
                <a:gd name="T81" fmla="*/ 0 h 826"/>
                <a:gd name="T82" fmla="*/ 0 w 877"/>
                <a:gd name="T83" fmla="*/ 0 h 826"/>
                <a:gd name="T84" fmla="*/ 0 w 877"/>
                <a:gd name="T85" fmla="*/ 0 h 826"/>
                <a:gd name="T86" fmla="*/ 0 w 877"/>
                <a:gd name="T87" fmla="*/ 0 h 826"/>
                <a:gd name="T88" fmla="*/ 0 w 877"/>
                <a:gd name="T89" fmla="*/ 0 h 826"/>
                <a:gd name="T90" fmla="*/ 0 w 877"/>
                <a:gd name="T91" fmla="*/ 0 h 826"/>
                <a:gd name="T92" fmla="*/ 0 w 877"/>
                <a:gd name="T93" fmla="*/ 0 h 826"/>
                <a:gd name="T94" fmla="*/ 0 w 877"/>
                <a:gd name="T95" fmla="*/ 0 h 826"/>
                <a:gd name="T96" fmla="*/ 0 w 877"/>
                <a:gd name="T97" fmla="*/ 0 h 826"/>
                <a:gd name="T98" fmla="*/ 0 w 877"/>
                <a:gd name="T99" fmla="*/ 0 h 826"/>
                <a:gd name="T100" fmla="*/ 0 w 877"/>
                <a:gd name="T101" fmla="*/ 0 h 826"/>
                <a:gd name="T102" fmla="*/ 0 w 877"/>
                <a:gd name="T103" fmla="*/ 0 h 826"/>
                <a:gd name="T104" fmla="*/ 0 w 877"/>
                <a:gd name="T105" fmla="*/ 0 h 826"/>
                <a:gd name="T106" fmla="*/ 0 w 877"/>
                <a:gd name="T107" fmla="*/ 0 h 826"/>
                <a:gd name="T108" fmla="*/ 0 w 877"/>
                <a:gd name="T109" fmla="*/ 0 h 826"/>
                <a:gd name="T110" fmla="*/ 0 w 877"/>
                <a:gd name="T111" fmla="*/ 0 h 826"/>
                <a:gd name="T112" fmla="*/ 0 w 877"/>
                <a:gd name="T113" fmla="*/ 0 h 826"/>
                <a:gd name="T114" fmla="*/ 0 w 877"/>
                <a:gd name="T115" fmla="*/ 0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8" name="Freeform 805"/>
            <p:cNvSpPr>
              <a:spLocks/>
            </p:cNvSpPr>
            <p:nvPr>
              <p:custDataLst>
                <p:tags r:id="rId166"/>
              </p:custDataLst>
            </p:nvPr>
          </p:nvSpPr>
          <p:spPr bwMode="auto">
            <a:xfrm>
              <a:off x="2864" y="1562"/>
              <a:ext cx="64" cy="149"/>
            </a:xfrm>
            <a:custGeom>
              <a:avLst/>
              <a:gdLst>
                <a:gd name="T0" fmla="*/ 0 w 206"/>
                <a:gd name="T1" fmla="*/ 0 h 455"/>
                <a:gd name="T2" fmla="*/ 0 w 206"/>
                <a:gd name="T3" fmla="*/ 0 h 455"/>
                <a:gd name="T4" fmla="*/ 0 w 206"/>
                <a:gd name="T5" fmla="*/ 0 h 455"/>
                <a:gd name="T6" fmla="*/ 0 w 206"/>
                <a:gd name="T7" fmla="*/ 0 h 455"/>
                <a:gd name="T8" fmla="*/ 0 w 206"/>
                <a:gd name="T9" fmla="*/ 0 h 455"/>
                <a:gd name="T10" fmla="*/ 0 w 206"/>
                <a:gd name="T11" fmla="*/ 0 h 455"/>
                <a:gd name="T12" fmla="*/ 0 w 206"/>
                <a:gd name="T13" fmla="*/ 0 h 455"/>
                <a:gd name="T14" fmla="*/ 0 w 206"/>
                <a:gd name="T15" fmla="*/ 0 h 455"/>
                <a:gd name="T16" fmla="*/ 0 w 206"/>
                <a:gd name="T17" fmla="*/ 0 h 455"/>
                <a:gd name="T18" fmla="*/ 0 w 206"/>
                <a:gd name="T19" fmla="*/ 0 h 455"/>
                <a:gd name="T20" fmla="*/ 0 w 206"/>
                <a:gd name="T21" fmla="*/ 0 h 455"/>
                <a:gd name="T22" fmla="*/ 0 w 206"/>
                <a:gd name="T23" fmla="*/ 0 h 455"/>
                <a:gd name="T24" fmla="*/ 0 w 206"/>
                <a:gd name="T25" fmla="*/ 0 h 455"/>
                <a:gd name="T26" fmla="*/ 0 w 206"/>
                <a:gd name="T27" fmla="*/ 0 h 455"/>
                <a:gd name="T28" fmla="*/ 0 w 206"/>
                <a:gd name="T29" fmla="*/ 0 h 455"/>
                <a:gd name="T30" fmla="*/ 0 w 206"/>
                <a:gd name="T31" fmla="*/ 0 h 455"/>
                <a:gd name="T32" fmla="*/ 0 w 206"/>
                <a:gd name="T33" fmla="*/ 0 h 455"/>
                <a:gd name="T34" fmla="*/ 0 w 206"/>
                <a:gd name="T35" fmla="*/ 0 h 455"/>
                <a:gd name="T36" fmla="*/ 0 w 206"/>
                <a:gd name="T37" fmla="*/ 0 h 455"/>
                <a:gd name="T38" fmla="*/ 0 w 206"/>
                <a:gd name="T39" fmla="*/ 0 h 455"/>
                <a:gd name="T40" fmla="*/ 0 w 206"/>
                <a:gd name="T41" fmla="*/ 0 h 455"/>
                <a:gd name="T42" fmla="*/ 0 w 206"/>
                <a:gd name="T43" fmla="*/ 0 h 455"/>
                <a:gd name="T44" fmla="*/ 0 w 206"/>
                <a:gd name="T45" fmla="*/ 0 h 455"/>
                <a:gd name="T46" fmla="*/ 0 w 206"/>
                <a:gd name="T47" fmla="*/ 0 h 455"/>
                <a:gd name="T48" fmla="*/ 0 w 206"/>
                <a:gd name="T49" fmla="*/ 0 h 455"/>
                <a:gd name="T50" fmla="*/ 0 w 206"/>
                <a:gd name="T51" fmla="*/ 0 h 455"/>
                <a:gd name="T52" fmla="*/ 0 w 206"/>
                <a:gd name="T53" fmla="*/ 0 h 455"/>
                <a:gd name="T54" fmla="*/ 0 w 206"/>
                <a:gd name="T55" fmla="*/ 0 h 455"/>
                <a:gd name="T56" fmla="*/ 0 w 206"/>
                <a:gd name="T57" fmla="*/ 0 h 455"/>
                <a:gd name="T58" fmla="*/ 0 w 206"/>
                <a:gd name="T59" fmla="*/ 0 h 455"/>
                <a:gd name="T60" fmla="*/ 0 w 206"/>
                <a:gd name="T61" fmla="*/ 0 h 455"/>
                <a:gd name="T62" fmla="*/ 0 w 206"/>
                <a:gd name="T63" fmla="*/ 0 h 455"/>
                <a:gd name="T64" fmla="*/ 0 w 206"/>
                <a:gd name="T65" fmla="*/ 0 h 455"/>
                <a:gd name="T66" fmla="*/ 0 w 206"/>
                <a:gd name="T67" fmla="*/ 0 h 455"/>
                <a:gd name="T68" fmla="*/ 0 w 206"/>
                <a:gd name="T69" fmla="*/ 0 h 455"/>
                <a:gd name="T70" fmla="*/ 0 w 206"/>
                <a:gd name="T71" fmla="*/ 0 h 455"/>
                <a:gd name="T72" fmla="*/ 0 w 206"/>
                <a:gd name="T73" fmla="*/ 0 h 455"/>
                <a:gd name="T74" fmla="*/ 0 w 206"/>
                <a:gd name="T75" fmla="*/ 0 h 455"/>
                <a:gd name="T76" fmla="*/ 0 w 206"/>
                <a:gd name="T77" fmla="*/ 0 h 455"/>
                <a:gd name="T78" fmla="*/ 0 w 206"/>
                <a:gd name="T79" fmla="*/ 0 h 455"/>
                <a:gd name="T80" fmla="*/ 0 w 206"/>
                <a:gd name="T81" fmla="*/ 0 h 455"/>
                <a:gd name="T82" fmla="*/ 0 w 206"/>
                <a:gd name="T83" fmla="*/ 0 h 455"/>
                <a:gd name="T84" fmla="*/ 0 w 206"/>
                <a:gd name="T85" fmla="*/ 0 h 455"/>
                <a:gd name="T86" fmla="*/ 0 w 206"/>
                <a:gd name="T87" fmla="*/ 0 h 455"/>
                <a:gd name="T88" fmla="*/ 0 w 206"/>
                <a:gd name="T89" fmla="*/ 0 h 455"/>
                <a:gd name="T90" fmla="*/ 0 w 206"/>
                <a:gd name="T91" fmla="*/ 0 h 455"/>
                <a:gd name="T92" fmla="*/ 0 w 206"/>
                <a:gd name="T93" fmla="*/ 0 h 455"/>
                <a:gd name="T94" fmla="*/ 0 w 206"/>
                <a:gd name="T95" fmla="*/ 0 h 455"/>
                <a:gd name="T96" fmla="*/ 0 w 206"/>
                <a:gd name="T97" fmla="*/ 0 h 455"/>
                <a:gd name="T98" fmla="*/ 0 w 206"/>
                <a:gd name="T99" fmla="*/ 0 h 455"/>
                <a:gd name="T100" fmla="*/ 0 w 206"/>
                <a:gd name="T101" fmla="*/ 0 h 455"/>
                <a:gd name="T102" fmla="*/ 0 w 206"/>
                <a:gd name="T103" fmla="*/ 0 h 455"/>
                <a:gd name="T104" fmla="*/ 0 w 206"/>
                <a:gd name="T105" fmla="*/ 0 h 455"/>
                <a:gd name="T106" fmla="*/ 0 w 206"/>
                <a:gd name="T107" fmla="*/ 0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9" name="Freeform 806"/>
            <p:cNvSpPr>
              <a:spLocks/>
            </p:cNvSpPr>
            <p:nvPr>
              <p:custDataLst>
                <p:tags r:id="rId167"/>
              </p:custDataLst>
            </p:nvPr>
          </p:nvSpPr>
          <p:spPr bwMode="auto">
            <a:xfrm>
              <a:off x="2443" y="1758"/>
              <a:ext cx="158" cy="136"/>
            </a:xfrm>
            <a:custGeom>
              <a:avLst/>
              <a:gdLst>
                <a:gd name="T0" fmla="*/ 0 w 518"/>
                <a:gd name="T1" fmla="*/ 0 h 406"/>
                <a:gd name="T2" fmla="*/ 0 w 518"/>
                <a:gd name="T3" fmla="*/ 0 h 406"/>
                <a:gd name="T4" fmla="*/ 0 w 518"/>
                <a:gd name="T5" fmla="*/ 0 h 406"/>
                <a:gd name="T6" fmla="*/ 0 w 518"/>
                <a:gd name="T7" fmla="*/ 0 h 406"/>
                <a:gd name="T8" fmla="*/ 0 w 518"/>
                <a:gd name="T9" fmla="*/ 0 h 406"/>
                <a:gd name="T10" fmla="*/ 0 w 518"/>
                <a:gd name="T11" fmla="*/ 0 h 406"/>
                <a:gd name="T12" fmla="*/ 0 w 518"/>
                <a:gd name="T13" fmla="*/ 0 h 406"/>
                <a:gd name="T14" fmla="*/ 0 w 518"/>
                <a:gd name="T15" fmla="*/ 0 h 406"/>
                <a:gd name="T16" fmla="*/ 0 w 518"/>
                <a:gd name="T17" fmla="*/ 0 h 406"/>
                <a:gd name="T18" fmla="*/ 0 w 518"/>
                <a:gd name="T19" fmla="*/ 0 h 406"/>
                <a:gd name="T20" fmla="*/ 0 w 518"/>
                <a:gd name="T21" fmla="*/ 0 h 406"/>
                <a:gd name="T22" fmla="*/ 0 w 518"/>
                <a:gd name="T23" fmla="*/ 0 h 406"/>
                <a:gd name="T24" fmla="*/ 0 w 518"/>
                <a:gd name="T25" fmla="*/ 0 h 406"/>
                <a:gd name="T26" fmla="*/ 0 w 518"/>
                <a:gd name="T27" fmla="*/ 0 h 406"/>
                <a:gd name="T28" fmla="*/ 0 w 518"/>
                <a:gd name="T29" fmla="*/ 0 h 406"/>
                <a:gd name="T30" fmla="*/ 0 w 518"/>
                <a:gd name="T31" fmla="*/ 0 h 406"/>
                <a:gd name="T32" fmla="*/ 0 w 518"/>
                <a:gd name="T33" fmla="*/ 0 h 406"/>
                <a:gd name="T34" fmla="*/ 0 w 518"/>
                <a:gd name="T35" fmla="*/ 0 h 406"/>
                <a:gd name="T36" fmla="*/ 0 w 518"/>
                <a:gd name="T37" fmla="*/ 0 h 406"/>
                <a:gd name="T38" fmla="*/ 0 w 518"/>
                <a:gd name="T39" fmla="*/ 0 h 406"/>
                <a:gd name="T40" fmla="*/ 0 w 518"/>
                <a:gd name="T41" fmla="*/ 0 h 406"/>
                <a:gd name="T42" fmla="*/ 0 w 518"/>
                <a:gd name="T43" fmla="*/ 0 h 406"/>
                <a:gd name="T44" fmla="*/ 0 w 518"/>
                <a:gd name="T45" fmla="*/ 0 h 406"/>
                <a:gd name="T46" fmla="*/ 0 w 518"/>
                <a:gd name="T47" fmla="*/ 0 h 406"/>
                <a:gd name="T48" fmla="*/ 0 w 518"/>
                <a:gd name="T49" fmla="*/ 0 h 406"/>
                <a:gd name="T50" fmla="*/ 0 w 518"/>
                <a:gd name="T51" fmla="*/ 0 h 406"/>
                <a:gd name="T52" fmla="*/ 0 w 518"/>
                <a:gd name="T53" fmla="*/ 0 h 406"/>
                <a:gd name="T54" fmla="*/ 0 w 518"/>
                <a:gd name="T55" fmla="*/ 0 h 406"/>
                <a:gd name="T56" fmla="*/ 0 w 518"/>
                <a:gd name="T57" fmla="*/ 0 h 406"/>
                <a:gd name="T58" fmla="*/ 0 w 518"/>
                <a:gd name="T59" fmla="*/ 0 h 406"/>
                <a:gd name="T60" fmla="*/ 0 w 518"/>
                <a:gd name="T61" fmla="*/ 0 h 406"/>
                <a:gd name="T62" fmla="*/ 0 w 518"/>
                <a:gd name="T63" fmla="*/ 0 h 406"/>
                <a:gd name="T64" fmla="*/ 0 w 518"/>
                <a:gd name="T65" fmla="*/ 0 h 406"/>
                <a:gd name="T66" fmla="*/ 0 w 518"/>
                <a:gd name="T67" fmla="*/ 0 h 406"/>
                <a:gd name="T68" fmla="*/ 0 w 518"/>
                <a:gd name="T69" fmla="*/ 0 h 406"/>
                <a:gd name="T70" fmla="*/ 0 w 518"/>
                <a:gd name="T71" fmla="*/ 0 h 406"/>
                <a:gd name="T72" fmla="*/ 0 w 518"/>
                <a:gd name="T73" fmla="*/ 0 h 406"/>
                <a:gd name="T74" fmla="*/ 0 w 518"/>
                <a:gd name="T75" fmla="*/ 0 h 406"/>
                <a:gd name="T76" fmla="*/ 0 w 518"/>
                <a:gd name="T77" fmla="*/ 0 h 406"/>
                <a:gd name="T78" fmla="*/ 0 w 518"/>
                <a:gd name="T79" fmla="*/ 0 h 406"/>
                <a:gd name="T80" fmla="*/ 0 w 518"/>
                <a:gd name="T81" fmla="*/ 0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0" name="Freeform 807"/>
            <p:cNvSpPr>
              <a:spLocks/>
            </p:cNvSpPr>
            <p:nvPr>
              <p:custDataLst>
                <p:tags r:id="rId168"/>
              </p:custDataLst>
            </p:nvPr>
          </p:nvSpPr>
          <p:spPr bwMode="auto">
            <a:xfrm>
              <a:off x="2421" y="1007"/>
              <a:ext cx="130" cy="59"/>
            </a:xfrm>
            <a:custGeom>
              <a:avLst/>
              <a:gdLst>
                <a:gd name="T0" fmla="*/ 0 w 446"/>
                <a:gd name="T1" fmla="*/ 0 h 178"/>
                <a:gd name="T2" fmla="*/ 0 w 446"/>
                <a:gd name="T3" fmla="*/ 0 h 178"/>
                <a:gd name="T4" fmla="*/ 0 w 446"/>
                <a:gd name="T5" fmla="*/ 0 h 178"/>
                <a:gd name="T6" fmla="*/ 0 w 446"/>
                <a:gd name="T7" fmla="*/ 0 h 178"/>
                <a:gd name="T8" fmla="*/ 0 w 446"/>
                <a:gd name="T9" fmla="*/ 0 h 178"/>
                <a:gd name="T10" fmla="*/ 0 w 446"/>
                <a:gd name="T11" fmla="*/ 0 h 178"/>
                <a:gd name="T12" fmla="*/ 0 w 446"/>
                <a:gd name="T13" fmla="*/ 0 h 178"/>
                <a:gd name="T14" fmla="*/ 0 w 446"/>
                <a:gd name="T15" fmla="*/ 0 h 178"/>
                <a:gd name="T16" fmla="*/ 0 w 446"/>
                <a:gd name="T17" fmla="*/ 0 h 178"/>
                <a:gd name="T18" fmla="*/ 0 w 446"/>
                <a:gd name="T19" fmla="*/ 0 h 178"/>
                <a:gd name="T20" fmla="*/ 0 w 446"/>
                <a:gd name="T21" fmla="*/ 0 h 178"/>
                <a:gd name="T22" fmla="*/ 0 w 446"/>
                <a:gd name="T23" fmla="*/ 0 h 178"/>
                <a:gd name="T24" fmla="*/ 0 w 446"/>
                <a:gd name="T25" fmla="*/ 0 h 178"/>
                <a:gd name="T26" fmla="*/ 0 w 446"/>
                <a:gd name="T27" fmla="*/ 0 h 178"/>
                <a:gd name="T28" fmla="*/ 0 w 446"/>
                <a:gd name="T29" fmla="*/ 0 h 178"/>
                <a:gd name="T30" fmla="*/ 0 w 446"/>
                <a:gd name="T31" fmla="*/ 0 h 178"/>
                <a:gd name="T32" fmla="*/ 0 w 446"/>
                <a:gd name="T33" fmla="*/ 0 h 178"/>
                <a:gd name="T34" fmla="*/ 0 w 446"/>
                <a:gd name="T35" fmla="*/ 0 h 178"/>
                <a:gd name="T36" fmla="*/ 0 w 446"/>
                <a:gd name="T37" fmla="*/ 0 h 178"/>
                <a:gd name="T38" fmla="*/ 0 w 446"/>
                <a:gd name="T39" fmla="*/ 0 h 178"/>
                <a:gd name="T40" fmla="*/ 0 w 446"/>
                <a:gd name="T41" fmla="*/ 0 h 178"/>
                <a:gd name="T42" fmla="*/ 0 w 446"/>
                <a:gd name="T43" fmla="*/ 0 h 178"/>
                <a:gd name="T44" fmla="*/ 0 w 446"/>
                <a:gd name="T45" fmla="*/ 0 h 178"/>
                <a:gd name="T46" fmla="*/ 0 w 446"/>
                <a:gd name="T47" fmla="*/ 0 h 178"/>
                <a:gd name="T48" fmla="*/ 0 w 446"/>
                <a:gd name="T49" fmla="*/ 0 h 178"/>
                <a:gd name="T50" fmla="*/ 0 w 446"/>
                <a:gd name="T51" fmla="*/ 0 h 178"/>
                <a:gd name="T52" fmla="*/ 0 w 446"/>
                <a:gd name="T53" fmla="*/ 0 h 178"/>
                <a:gd name="T54" fmla="*/ 0 w 446"/>
                <a:gd name="T55" fmla="*/ 0 h 178"/>
                <a:gd name="T56" fmla="*/ 0 w 446"/>
                <a:gd name="T57" fmla="*/ 0 h 178"/>
                <a:gd name="T58" fmla="*/ 0 w 446"/>
                <a:gd name="T59" fmla="*/ 0 h 178"/>
                <a:gd name="T60" fmla="*/ 0 w 446"/>
                <a:gd name="T61" fmla="*/ 0 h 178"/>
                <a:gd name="T62" fmla="*/ 0 w 446"/>
                <a:gd name="T63" fmla="*/ 0 h 178"/>
                <a:gd name="T64" fmla="*/ 0 w 446"/>
                <a:gd name="T65" fmla="*/ 0 h 178"/>
                <a:gd name="T66" fmla="*/ 0 w 446"/>
                <a:gd name="T67" fmla="*/ 0 h 178"/>
                <a:gd name="T68" fmla="*/ 0 w 446"/>
                <a:gd name="T69" fmla="*/ 0 h 178"/>
                <a:gd name="T70" fmla="*/ 0 w 446"/>
                <a:gd name="T71" fmla="*/ 0 h 178"/>
                <a:gd name="T72" fmla="*/ 0 w 446"/>
                <a:gd name="T73" fmla="*/ 0 h 178"/>
                <a:gd name="T74" fmla="*/ 0 w 446"/>
                <a:gd name="T75" fmla="*/ 0 h 178"/>
                <a:gd name="T76" fmla="*/ 0 w 446"/>
                <a:gd name="T77" fmla="*/ 0 h 178"/>
                <a:gd name="T78" fmla="*/ 0 w 446"/>
                <a:gd name="T79" fmla="*/ 0 h 178"/>
                <a:gd name="T80" fmla="*/ 0 w 446"/>
                <a:gd name="T81" fmla="*/ 0 h 178"/>
                <a:gd name="T82" fmla="*/ 0 w 446"/>
                <a:gd name="T83" fmla="*/ 0 h 178"/>
                <a:gd name="T84" fmla="*/ 0 w 446"/>
                <a:gd name="T85" fmla="*/ 0 h 178"/>
                <a:gd name="T86" fmla="*/ 0 w 446"/>
                <a:gd name="T87" fmla="*/ 0 h 178"/>
                <a:gd name="T88" fmla="*/ 0 w 446"/>
                <a:gd name="T89" fmla="*/ 0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1" name="Freeform 808"/>
            <p:cNvSpPr>
              <a:spLocks/>
            </p:cNvSpPr>
            <p:nvPr>
              <p:custDataLst>
                <p:tags r:id="rId169"/>
              </p:custDataLst>
            </p:nvPr>
          </p:nvSpPr>
          <p:spPr bwMode="auto">
            <a:xfrm>
              <a:off x="2962" y="1173"/>
              <a:ext cx="10" cy="36"/>
            </a:xfrm>
            <a:custGeom>
              <a:avLst/>
              <a:gdLst>
                <a:gd name="T0" fmla="*/ 0 w 28"/>
                <a:gd name="T1" fmla="*/ 0 h 73"/>
                <a:gd name="T2" fmla="*/ 0 w 28"/>
                <a:gd name="T3" fmla="*/ 0 h 73"/>
                <a:gd name="T4" fmla="*/ 0 w 28"/>
                <a:gd name="T5" fmla="*/ 0 h 73"/>
                <a:gd name="T6" fmla="*/ 0 w 28"/>
                <a:gd name="T7" fmla="*/ 0 h 73"/>
                <a:gd name="T8" fmla="*/ 0 w 28"/>
                <a:gd name="T9" fmla="*/ 0 h 73"/>
                <a:gd name="T10" fmla="*/ 0 w 28"/>
                <a:gd name="T11" fmla="*/ 0 h 73"/>
                <a:gd name="T12" fmla="*/ 0 w 28"/>
                <a:gd name="T13" fmla="*/ 0 h 73"/>
                <a:gd name="T14" fmla="*/ 0 w 28"/>
                <a:gd name="T15" fmla="*/ 0 h 73"/>
                <a:gd name="T16" fmla="*/ 0 w 28"/>
                <a:gd name="T17" fmla="*/ 0 h 73"/>
                <a:gd name="T18" fmla="*/ 0 w 28"/>
                <a:gd name="T19" fmla="*/ 0 h 73"/>
                <a:gd name="T20" fmla="*/ 0 w 28"/>
                <a:gd name="T21" fmla="*/ 0 h 73"/>
                <a:gd name="T22" fmla="*/ 0 w 28"/>
                <a:gd name="T23" fmla="*/ 0 h 73"/>
                <a:gd name="T24" fmla="*/ 0 w 28"/>
                <a:gd name="T25" fmla="*/ 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2" name="Freeform 809"/>
            <p:cNvSpPr>
              <a:spLocks/>
            </p:cNvSpPr>
            <p:nvPr>
              <p:custDataLst>
                <p:tags r:id="rId170"/>
              </p:custDataLst>
            </p:nvPr>
          </p:nvSpPr>
          <p:spPr bwMode="auto">
            <a:xfrm>
              <a:off x="2885" y="961"/>
              <a:ext cx="160" cy="249"/>
            </a:xfrm>
            <a:custGeom>
              <a:avLst/>
              <a:gdLst>
                <a:gd name="T0" fmla="*/ 0 w 531"/>
                <a:gd name="T1" fmla="*/ 0 h 757"/>
                <a:gd name="T2" fmla="*/ 0 w 531"/>
                <a:gd name="T3" fmla="*/ 0 h 757"/>
                <a:gd name="T4" fmla="*/ 0 w 531"/>
                <a:gd name="T5" fmla="*/ 0 h 757"/>
                <a:gd name="T6" fmla="*/ 0 w 531"/>
                <a:gd name="T7" fmla="*/ 0 h 757"/>
                <a:gd name="T8" fmla="*/ 0 w 531"/>
                <a:gd name="T9" fmla="*/ 0 h 757"/>
                <a:gd name="T10" fmla="*/ 0 w 531"/>
                <a:gd name="T11" fmla="*/ 0 h 757"/>
                <a:gd name="T12" fmla="*/ 0 w 531"/>
                <a:gd name="T13" fmla="*/ 0 h 757"/>
                <a:gd name="T14" fmla="*/ 0 w 531"/>
                <a:gd name="T15" fmla="*/ 0 h 757"/>
                <a:gd name="T16" fmla="*/ 0 w 531"/>
                <a:gd name="T17" fmla="*/ 0 h 757"/>
                <a:gd name="T18" fmla="*/ 0 w 531"/>
                <a:gd name="T19" fmla="*/ 0 h 757"/>
                <a:gd name="T20" fmla="*/ 0 w 531"/>
                <a:gd name="T21" fmla="*/ 0 h 757"/>
                <a:gd name="T22" fmla="*/ 0 w 531"/>
                <a:gd name="T23" fmla="*/ 0 h 757"/>
                <a:gd name="T24" fmla="*/ 0 w 531"/>
                <a:gd name="T25" fmla="*/ 0 h 757"/>
                <a:gd name="T26" fmla="*/ 0 w 531"/>
                <a:gd name="T27" fmla="*/ 0 h 757"/>
                <a:gd name="T28" fmla="*/ 0 w 531"/>
                <a:gd name="T29" fmla="*/ 0 h 757"/>
                <a:gd name="T30" fmla="*/ 0 w 531"/>
                <a:gd name="T31" fmla="*/ 0 h 757"/>
                <a:gd name="T32" fmla="*/ 0 w 531"/>
                <a:gd name="T33" fmla="*/ 0 h 757"/>
                <a:gd name="T34" fmla="*/ 0 w 531"/>
                <a:gd name="T35" fmla="*/ 0 h 757"/>
                <a:gd name="T36" fmla="*/ 0 w 531"/>
                <a:gd name="T37" fmla="*/ 0 h 757"/>
                <a:gd name="T38" fmla="*/ 0 w 531"/>
                <a:gd name="T39" fmla="*/ 0 h 757"/>
                <a:gd name="T40" fmla="*/ 0 w 531"/>
                <a:gd name="T41" fmla="*/ 0 h 757"/>
                <a:gd name="T42" fmla="*/ 0 w 531"/>
                <a:gd name="T43" fmla="*/ 0 h 757"/>
                <a:gd name="T44" fmla="*/ 0 w 531"/>
                <a:gd name="T45" fmla="*/ 0 h 757"/>
                <a:gd name="T46" fmla="*/ 0 w 531"/>
                <a:gd name="T47" fmla="*/ 0 h 757"/>
                <a:gd name="T48" fmla="*/ 0 w 531"/>
                <a:gd name="T49" fmla="*/ 0 h 757"/>
                <a:gd name="T50" fmla="*/ 0 w 531"/>
                <a:gd name="T51" fmla="*/ 0 h 757"/>
                <a:gd name="T52" fmla="*/ 0 w 531"/>
                <a:gd name="T53" fmla="*/ 0 h 757"/>
                <a:gd name="T54" fmla="*/ 0 w 531"/>
                <a:gd name="T55" fmla="*/ 0 h 757"/>
                <a:gd name="T56" fmla="*/ 0 w 531"/>
                <a:gd name="T57" fmla="*/ 0 h 757"/>
                <a:gd name="T58" fmla="*/ 0 w 531"/>
                <a:gd name="T59" fmla="*/ 0 h 757"/>
                <a:gd name="T60" fmla="*/ 0 w 531"/>
                <a:gd name="T61" fmla="*/ 0 h 757"/>
                <a:gd name="T62" fmla="*/ 0 w 531"/>
                <a:gd name="T63" fmla="*/ 0 h 757"/>
                <a:gd name="T64" fmla="*/ 0 w 531"/>
                <a:gd name="T65" fmla="*/ 0 h 757"/>
                <a:gd name="T66" fmla="*/ 0 w 531"/>
                <a:gd name="T67" fmla="*/ 0 h 757"/>
                <a:gd name="T68" fmla="*/ 0 w 531"/>
                <a:gd name="T69" fmla="*/ 0 h 757"/>
                <a:gd name="T70" fmla="*/ 0 w 531"/>
                <a:gd name="T71" fmla="*/ 0 h 757"/>
                <a:gd name="T72" fmla="*/ 0 w 531"/>
                <a:gd name="T73" fmla="*/ 0 h 757"/>
                <a:gd name="T74" fmla="*/ 0 w 531"/>
                <a:gd name="T75" fmla="*/ 0 h 757"/>
                <a:gd name="T76" fmla="*/ 0 w 531"/>
                <a:gd name="T77" fmla="*/ 0 h 757"/>
                <a:gd name="T78" fmla="*/ 0 w 531"/>
                <a:gd name="T79" fmla="*/ 0 h 757"/>
                <a:gd name="T80" fmla="*/ 0 w 531"/>
                <a:gd name="T81" fmla="*/ 0 h 757"/>
                <a:gd name="T82" fmla="*/ 0 w 531"/>
                <a:gd name="T83" fmla="*/ 0 h 757"/>
                <a:gd name="T84" fmla="*/ 0 w 531"/>
                <a:gd name="T85" fmla="*/ 0 h 757"/>
                <a:gd name="T86" fmla="*/ 0 w 531"/>
                <a:gd name="T87" fmla="*/ 0 h 757"/>
                <a:gd name="T88" fmla="*/ 0 w 531"/>
                <a:gd name="T89" fmla="*/ 0 h 757"/>
                <a:gd name="T90" fmla="*/ 0 w 531"/>
                <a:gd name="T91" fmla="*/ 0 h 757"/>
                <a:gd name="T92" fmla="*/ 0 w 531"/>
                <a:gd name="T93" fmla="*/ 0 h 757"/>
                <a:gd name="T94" fmla="*/ 0 w 531"/>
                <a:gd name="T95" fmla="*/ 0 h 757"/>
                <a:gd name="T96" fmla="*/ 0 w 531"/>
                <a:gd name="T97" fmla="*/ 0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3" name="Freeform 810"/>
            <p:cNvSpPr>
              <a:spLocks/>
            </p:cNvSpPr>
            <p:nvPr>
              <p:custDataLst>
                <p:tags r:id="rId171"/>
              </p:custDataLst>
            </p:nvPr>
          </p:nvSpPr>
          <p:spPr bwMode="auto">
            <a:xfrm>
              <a:off x="2979" y="1159"/>
              <a:ext cx="19" cy="36"/>
            </a:xfrm>
            <a:custGeom>
              <a:avLst/>
              <a:gdLst>
                <a:gd name="T0" fmla="*/ 0 w 60"/>
                <a:gd name="T1" fmla="*/ 1 h 51"/>
                <a:gd name="T2" fmla="*/ 0 w 60"/>
                <a:gd name="T3" fmla="*/ 1 h 51"/>
                <a:gd name="T4" fmla="*/ 0 w 60"/>
                <a:gd name="T5" fmla="*/ 1 h 51"/>
                <a:gd name="T6" fmla="*/ 0 w 60"/>
                <a:gd name="T7" fmla="*/ 1 h 51"/>
                <a:gd name="T8" fmla="*/ 0 w 60"/>
                <a:gd name="T9" fmla="*/ 1 h 51"/>
                <a:gd name="T10" fmla="*/ 0 w 60"/>
                <a:gd name="T11" fmla="*/ 1 h 51"/>
                <a:gd name="T12" fmla="*/ 0 w 60"/>
                <a:gd name="T13" fmla="*/ 0 h 51"/>
                <a:gd name="T14" fmla="*/ 0 w 60"/>
                <a:gd name="T15" fmla="*/ 1 h 51"/>
                <a:gd name="T16" fmla="*/ 0 w 60"/>
                <a:gd name="T17" fmla="*/ 1 h 51"/>
                <a:gd name="T18" fmla="*/ 0 w 60"/>
                <a:gd name="T19" fmla="*/ 1 h 51"/>
                <a:gd name="T20" fmla="*/ 0 w 60"/>
                <a:gd name="T21" fmla="*/ 1 h 51"/>
                <a:gd name="T22" fmla="*/ 0 w 60"/>
                <a:gd name="T23" fmla="*/ 1 h 51"/>
                <a:gd name="T24" fmla="*/ 0 w 60"/>
                <a:gd name="T25" fmla="*/ 1 h 51"/>
                <a:gd name="T26" fmla="*/ 0 w 60"/>
                <a:gd name="T27" fmla="*/ 1 h 51"/>
                <a:gd name="T28" fmla="*/ 0 w 60"/>
                <a:gd name="T29" fmla="*/ 1 h 51"/>
                <a:gd name="T30" fmla="*/ 0 w 60"/>
                <a:gd name="T31" fmla="*/ 1 h 51"/>
                <a:gd name="T32" fmla="*/ 0 w 60"/>
                <a:gd name="T33" fmla="*/ 1 h 51"/>
                <a:gd name="T34" fmla="*/ 0 w 60"/>
                <a:gd name="T35" fmla="*/ 1 h 51"/>
                <a:gd name="T36" fmla="*/ 0 w 60"/>
                <a:gd name="T37" fmla="*/ 1 h 51"/>
                <a:gd name="T38" fmla="*/ 0 w 60"/>
                <a:gd name="T39" fmla="*/ 1 h 51"/>
                <a:gd name="T40" fmla="*/ 0 w 60"/>
                <a:gd name="T41" fmla="*/ 1 h 51"/>
                <a:gd name="T42" fmla="*/ 0 w 60"/>
                <a:gd name="T43" fmla="*/ 1 h 51"/>
                <a:gd name="T44" fmla="*/ 0 w 60"/>
                <a:gd name="T45" fmla="*/ 1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4" name="Freeform 811"/>
            <p:cNvSpPr>
              <a:spLocks/>
            </p:cNvSpPr>
            <p:nvPr>
              <p:custDataLst>
                <p:tags r:id="rId172"/>
              </p:custDataLst>
            </p:nvPr>
          </p:nvSpPr>
          <p:spPr bwMode="auto">
            <a:xfrm>
              <a:off x="2600" y="1261"/>
              <a:ext cx="20" cy="36"/>
            </a:xfrm>
            <a:custGeom>
              <a:avLst/>
              <a:gdLst>
                <a:gd name="T0" fmla="*/ 0 w 66"/>
                <a:gd name="T1" fmla="*/ 1 h 51"/>
                <a:gd name="T2" fmla="*/ 0 w 66"/>
                <a:gd name="T3" fmla="*/ 1 h 51"/>
                <a:gd name="T4" fmla="*/ 0 w 66"/>
                <a:gd name="T5" fmla="*/ 1 h 51"/>
                <a:gd name="T6" fmla="*/ 0 w 66"/>
                <a:gd name="T7" fmla="*/ 1 h 51"/>
                <a:gd name="T8" fmla="*/ 0 w 66"/>
                <a:gd name="T9" fmla="*/ 1 h 51"/>
                <a:gd name="T10" fmla="*/ 0 w 66"/>
                <a:gd name="T11" fmla="*/ 1 h 51"/>
                <a:gd name="T12" fmla="*/ 0 w 66"/>
                <a:gd name="T13" fmla="*/ 1 h 51"/>
                <a:gd name="T14" fmla="*/ 0 w 66"/>
                <a:gd name="T15" fmla="*/ 1 h 51"/>
                <a:gd name="T16" fmla="*/ 0 w 66"/>
                <a:gd name="T17" fmla="*/ 1 h 51"/>
                <a:gd name="T18" fmla="*/ 0 w 66"/>
                <a:gd name="T19" fmla="*/ 1 h 51"/>
                <a:gd name="T20" fmla="*/ 0 w 66"/>
                <a:gd name="T21" fmla="*/ 1 h 51"/>
                <a:gd name="T22" fmla="*/ 0 w 66"/>
                <a:gd name="T23" fmla="*/ 1 h 51"/>
                <a:gd name="T24" fmla="*/ 0 w 66"/>
                <a:gd name="T25" fmla="*/ 1 h 51"/>
                <a:gd name="T26" fmla="*/ 0 w 66"/>
                <a:gd name="T27" fmla="*/ 1 h 51"/>
                <a:gd name="T28" fmla="*/ 0 w 66"/>
                <a:gd name="T29" fmla="*/ 1 h 51"/>
                <a:gd name="T30" fmla="*/ 0 w 66"/>
                <a:gd name="T31" fmla="*/ 1 h 51"/>
                <a:gd name="T32" fmla="*/ 0 w 66"/>
                <a:gd name="T33" fmla="*/ 0 h 51"/>
                <a:gd name="T34" fmla="*/ 0 w 66"/>
                <a:gd name="T35" fmla="*/ 1 h 51"/>
                <a:gd name="T36" fmla="*/ 0 w 66"/>
                <a:gd name="T37" fmla="*/ 1 h 51"/>
                <a:gd name="T38" fmla="*/ 0 w 66"/>
                <a:gd name="T39" fmla="*/ 1 h 51"/>
                <a:gd name="T40" fmla="*/ 0 w 66"/>
                <a:gd name="T41" fmla="*/ 0 h 51"/>
                <a:gd name="T42" fmla="*/ 0 w 66"/>
                <a:gd name="T43" fmla="*/ 1 h 51"/>
                <a:gd name="T44" fmla="*/ 0 w 66"/>
                <a:gd name="T45" fmla="*/ 1 h 51"/>
                <a:gd name="T46" fmla="*/ 0 w 66"/>
                <a:gd name="T47" fmla="*/ 1 h 51"/>
                <a:gd name="T48" fmla="*/ 0 w 66"/>
                <a:gd name="T49" fmla="*/ 1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5" name="Freeform 812"/>
            <p:cNvSpPr>
              <a:spLocks/>
            </p:cNvSpPr>
            <p:nvPr>
              <p:custDataLst>
                <p:tags r:id="rId173"/>
              </p:custDataLst>
            </p:nvPr>
          </p:nvSpPr>
          <p:spPr bwMode="auto">
            <a:xfrm>
              <a:off x="3250" y="1594"/>
              <a:ext cx="35" cy="36"/>
            </a:xfrm>
            <a:custGeom>
              <a:avLst/>
              <a:gdLst>
                <a:gd name="T0" fmla="*/ 0 w 113"/>
                <a:gd name="T1" fmla="*/ 0 h 74"/>
                <a:gd name="T2" fmla="*/ 0 w 113"/>
                <a:gd name="T3" fmla="*/ 0 h 74"/>
                <a:gd name="T4" fmla="*/ 0 w 113"/>
                <a:gd name="T5" fmla="*/ 0 h 74"/>
                <a:gd name="T6" fmla="*/ 0 w 113"/>
                <a:gd name="T7" fmla="*/ 0 h 74"/>
                <a:gd name="T8" fmla="*/ 0 w 113"/>
                <a:gd name="T9" fmla="*/ 0 h 74"/>
                <a:gd name="T10" fmla="*/ 0 w 113"/>
                <a:gd name="T11" fmla="*/ 0 h 74"/>
                <a:gd name="T12" fmla="*/ 0 w 113"/>
                <a:gd name="T13" fmla="*/ 0 h 74"/>
                <a:gd name="T14" fmla="*/ 0 w 113"/>
                <a:gd name="T15" fmla="*/ 0 h 74"/>
                <a:gd name="T16" fmla="*/ 0 w 113"/>
                <a:gd name="T17" fmla="*/ 0 h 74"/>
                <a:gd name="T18" fmla="*/ 0 w 113"/>
                <a:gd name="T19" fmla="*/ 0 h 74"/>
                <a:gd name="T20" fmla="*/ 0 w 113"/>
                <a:gd name="T21" fmla="*/ 0 h 74"/>
                <a:gd name="T22" fmla="*/ 0 w 113"/>
                <a:gd name="T23" fmla="*/ 0 h 74"/>
                <a:gd name="T24" fmla="*/ 0 w 113"/>
                <a:gd name="T25" fmla="*/ 0 h 74"/>
                <a:gd name="T26" fmla="*/ 0 w 113"/>
                <a:gd name="T27" fmla="*/ 0 h 74"/>
                <a:gd name="T28" fmla="*/ 0 w 113"/>
                <a:gd name="T29" fmla="*/ 0 h 74"/>
                <a:gd name="T30" fmla="*/ 0 w 113"/>
                <a:gd name="T31" fmla="*/ 0 h 74"/>
                <a:gd name="T32" fmla="*/ 0 w 113"/>
                <a:gd name="T33" fmla="*/ 0 h 74"/>
                <a:gd name="T34" fmla="*/ 0 w 113"/>
                <a:gd name="T35" fmla="*/ 0 h 74"/>
                <a:gd name="T36" fmla="*/ 0 w 113"/>
                <a:gd name="T37" fmla="*/ 0 h 74"/>
                <a:gd name="T38" fmla="*/ 0 w 113"/>
                <a:gd name="T39" fmla="*/ 0 h 74"/>
                <a:gd name="T40" fmla="*/ 0 w 113"/>
                <a:gd name="T41" fmla="*/ 0 h 74"/>
                <a:gd name="T42" fmla="*/ 0 w 113"/>
                <a:gd name="T43" fmla="*/ 0 h 74"/>
                <a:gd name="T44" fmla="*/ 0 w 113"/>
                <a:gd name="T45" fmla="*/ 0 h 74"/>
                <a:gd name="T46" fmla="*/ 0 w 113"/>
                <a:gd name="T47" fmla="*/ 0 h 74"/>
                <a:gd name="T48" fmla="*/ 0 w 113"/>
                <a:gd name="T49" fmla="*/ 0 h 74"/>
                <a:gd name="T50" fmla="*/ 0 w 113"/>
                <a:gd name="T51" fmla="*/ 0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6" name="Freeform 813"/>
            <p:cNvSpPr>
              <a:spLocks/>
            </p:cNvSpPr>
            <p:nvPr>
              <p:custDataLst>
                <p:tags r:id="rId174"/>
              </p:custDataLst>
            </p:nvPr>
          </p:nvSpPr>
          <p:spPr bwMode="auto">
            <a:xfrm>
              <a:off x="2982" y="2093"/>
              <a:ext cx="223" cy="154"/>
            </a:xfrm>
            <a:custGeom>
              <a:avLst/>
              <a:gdLst>
                <a:gd name="T0" fmla="*/ 0 w 746"/>
                <a:gd name="T1" fmla="*/ 0 h 469"/>
                <a:gd name="T2" fmla="*/ 0 w 746"/>
                <a:gd name="T3" fmla="*/ 0 h 469"/>
                <a:gd name="T4" fmla="*/ 0 w 746"/>
                <a:gd name="T5" fmla="*/ 0 h 469"/>
                <a:gd name="T6" fmla="*/ 0 w 746"/>
                <a:gd name="T7" fmla="*/ 0 h 469"/>
                <a:gd name="T8" fmla="*/ 0 w 746"/>
                <a:gd name="T9" fmla="*/ 0 h 469"/>
                <a:gd name="T10" fmla="*/ 0 w 746"/>
                <a:gd name="T11" fmla="*/ 0 h 469"/>
                <a:gd name="T12" fmla="*/ 0 w 746"/>
                <a:gd name="T13" fmla="*/ 0 h 469"/>
                <a:gd name="T14" fmla="*/ 0 w 746"/>
                <a:gd name="T15" fmla="*/ 0 h 469"/>
                <a:gd name="T16" fmla="*/ 0 w 746"/>
                <a:gd name="T17" fmla="*/ 0 h 469"/>
                <a:gd name="T18" fmla="*/ 0 w 746"/>
                <a:gd name="T19" fmla="*/ 0 h 469"/>
                <a:gd name="T20" fmla="*/ 0 w 746"/>
                <a:gd name="T21" fmla="*/ 0 h 469"/>
                <a:gd name="T22" fmla="*/ 0 w 746"/>
                <a:gd name="T23" fmla="*/ 0 h 469"/>
                <a:gd name="T24" fmla="*/ 0 w 746"/>
                <a:gd name="T25" fmla="*/ 0 h 469"/>
                <a:gd name="T26" fmla="*/ 0 w 746"/>
                <a:gd name="T27" fmla="*/ 0 h 469"/>
                <a:gd name="T28" fmla="*/ 0 w 746"/>
                <a:gd name="T29" fmla="*/ 0 h 469"/>
                <a:gd name="T30" fmla="*/ 0 w 746"/>
                <a:gd name="T31" fmla="*/ 0 h 469"/>
                <a:gd name="T32" fmla="*/ 0 w 746"/>
                <a:gd name="T33" fmla="*/ 0 h 469"/>
                <a:gd name="T34" fmla="*/ 0 w 746"/>
                <a:gd name="T35" fmla="*/ 0 h 469"/>
                <a:gd name="T36" fmla="*/ 0 w 746"/>
                <a:gd name="T37" fmla="*/ 0 h 469"/>
                <a:gd name="T38" fmla="*/ 0 w 746"/>
                <a:gd name="T39" fmla="*/ 0 h 469"/>
                <a:gd name="T40" fmla="*/ 0 w 746"/>
                <a:gd name="T41" fmla="*/ 0 h 469"/>
                <a:gd name="T42" fmla="*/ 0 w 746"/>
                <a:gd name="T43" fmla="*/ 0 h 469"/>
                <a:gd name="T44" fmla="*/ 0 w 746"/>
                <a:gd name="T45" fmla="*/ 0 h 469"/>
                <a:gd name="T46" fmla="*/ 0 w 746"/>
                <a:gd name="T47" fmla="*/ 0 h 469"/>
                <a:gd name="T48" fmla="*/ 0 w 746"/>
                <a:gd name="T49" fmla="*/ 0 h 469"/>
                <a:gd name="T50" fmla="*/ 0 w 746"/>
                <a:gd name="T51" fmla="*/ 0 h 469"/>
                <a:gd name="T52" fmla="*/ 0 w 746"/>
                <a:gd name="T53" fmla="*/ 0 h 469"/>
                <a:gd name="T54" fmla="*/ 0 w 746"/>
                <a:gd name="T55" fmla="*/ 0 h 469"/>
                <a:gd name="T56" fmla="*/ 0 w 746"/>
                <a:gd name="T57" fmla="*/ 0 h 469"/>
                <a:gd name="T58" fmla="*/ 0 w 746"/>
                <a:gd name="T59" fmla="*/ 0 h 469"/>
                <a:gd name="T60" fmla="*/ 0 w 746"/>
                <a:gd name="T61" fmla="*/ 0 h 469"/>
                <a:gd name="T62" fmla="*/ 0 w 746"/>
                <a:gd name="T63" fmla="*/ 0 h 469"/>
                <a:gd name="T64" fmla="*/ 0 w 746"/>
                <a:gd name="T65" fmla="*/ 0 h 469"/>
                <a:gd name="T66" fmla="*/ 0 w 746"/>
                <a:gd name="T67" fmla="*/ 0 h 469"/>
                <a:gd name="T68" fmla="*/ 0 w 746"/>
                <a:gd name="T69" fmla="*/ 0 h 469"/>
                <a:gd name="T70" fmla="*/ 0 w 746"/>
                <a:gd name="T71" fmla="*/ 0 h 469"/>
                <a:gd name="T72" fmla="*/ 0 w 746"/>
                <a:gd name="T73" fmla="*/ 0 h 469"/>
                <a:gd name="T74" fmla="*/ 0 w 746"/>
                <a:gd name="T75" fmla="*/ 0 h 469"/>
                <a:gd name="T76" fmla="*/ 0 w 746"/>
                <a:gd name="T77" fmla="*/ 0 h 469"/>
                <a:gd name="T78" fmla="*/ 0 w 746"/>
                <a:gd name="T79" fmla="*/ 0 h 469"/>
                <a:gd name="T80" fmla="*/ 0 w 746"/>
                <a:gd name="T81" fmla="*/ 0 h 469"/>
                <a:gd name="T82" fmla="*/ 0 w 746"/>
                <a:gd name="T83" fmla="*/ 0 h 469"/>
                <a:gd name="T84" fmla="*/ 0 w 746"/>
                <a:gd name="T85" fmla="*/ 0 h 469"/>
                <a:gd name="T86" fmla="*/ 0 w 746"/>
                <a:gd name="T87" fmla="*/ 0 h 469"/>
                <a:gd name="T88" fmla="*/ 0 w 746"/>
                <a:gd name="T89" fmla="*/ 0 h 469"/>
                <a:gd name="T90" fmla="*/ 0 w 746"/>
                <a:gd name="T91" fmla="*/ 0 h 469"/>
                <a:gd name="T92" fmla="*/ 0 w 746"/>
                <a:gd name="T93" fmla="*/ 0 h 469"/>
                <a:gd name="T94" fmla="*/ 0 w 746"/>
                <a:gd name="T95" fmla="*/ 0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7" name="Freeform 814"/>
            <p:cNvSpPr>
              <a:spLocks/>
            </p:cNvSpPr>
            <p:nvPr>
              <p:custDataLst>
                <p:tags r:id="rId175"/>
              </p:custDataLst>
            </p:nvPr>
          </p:nvSpPr>
          <p:spPr bwMode="auto">
            <a:xfrm>
              <a:off x="2939" y="2199"/>
              <a:ext cx="341" cy="348"/>
            </a:xfrm>
            <a:custGeom>
              <a:avLst/>
              <a:gdLst>
                <a:gd name="T0" fmla="*/ 0 w 1145"/>
                <a:gd name="T1" fmla="*/ 0 h 1053"/>
                <a:gd name="T2" fmla="*/ 0 w 1145"/>
                <a:gd name="T3" fmla="*/ 0 h 1053"/>
                <a:gd name="T4" fmla="*/ 0 w 1145"/>
                <a:gd name="T5" fmla="*/ 0 h 1053"/>
                <a:gd name="T6" fmla="*/ 0 w 1145"/>
                <a:gd name="T7" fmla="*/ 0 h 1053"/>
                <a:gd name="T8" fmla="*/ 0 w 1145"/>
                <a:gd name="T9" fmla="*/ 0 h 1053"/>
                <a:gd name="T10" fmla="*/ 0 w 1145"/>
                <a:gd name="T11" fmla="*/ 0 h 1053"/>
                <a:gd name="T12" fmla="*/ 0 w 1145"/>
                <a:gd name="T13" fmla="*/ 0 h 1053"/>
                <a:gd name="T14" fmla="*/ 0 w 1145"/>
                <a:gd name="T15" fmla="*/ 0 h 1053"/>
                <a:gd name="T16" fmla="*/ 0 w 1145"/>
                <a:gd name="T17" fmla="*/ 0 h 1053"/>
                <a:gd name="T18" fmla="*/ 0 w 1145"/>
                <a:gd name="T19" fmla="*/ 0 h 1053"/>
                <a:gd name="T20" fmla="*/ 0 w 1145"/>
                <a:gd name="T21" fmla="*/ 0 h 1053"/>
                <a:gd name="T22" fmla="*/ 0 w 1145"/>
                <a:gd name="T23" fmla="*/ 0 h 1053"/>
                <a:gd name="T24" fmla="*/ 0 w 1145"/>
                <a:gd name="T25" fmla="*/ 0 h 1053"/>
                <a:gd name="T26" fmla="*/ 0 w 1145"/>
                <a:gd name="T27" fmla="*/ 0 h 1053"/>
                <a:gd name="T28" fmla="*/ 0 w 1145"/>
                <a:gd name="T29" fmla="*/ 0 h 1053"/>
                <a:gd name="T30" fmla="*/ 0 w 1145"/>
                <a:gd name="T31" fmla="*/ 0 h 1053"/>
                <a:gd name="T32" fmla="*/ 0 w 1145"/>
                <a:gd name="T33" fmla="*/ 0 h 1053"/>
                <a:gd name="T34" fmla="*/ 0 w 1145"/>
                <a:gd name="T35" fmla="*/ 0 h 1053"/>
                <a:gd name="T36" fmla="*/ 0 w 1145"/>
                <a:gd name="T37" fmla="*/ 0 h 1053"/>
                <a:gd name="T38" fmla="*/ 0 w 1145"/>
                <a:gd name="T39" fmla="*/ 0 h 1053"/>
                <a:gd name="T40" fmla="*/ 0 w 1145"/>
                <a:gd name="T41" fmla="*/ 0 h 1053"/>
                <a:gd name="T42" fmla="*/ 0 w 1145"/>
                <a:gd name="T43" fmla="*/ 0 h 1053"/>
                <a:gd name="T44" fmla="*/ 0 w 1145"/>
                <a:gd name="T45" fmla="*/ 0 h 1053"/>
                <a:gd name="T46" fmla="*/ 0 w 1145"/>
                <a:gd name="T47" fmla="*/ 0 h 1053"/>
                <a:gd name="T48" fmla="*/ 0 w 1145"/>
                <a:gd name="T49" fmla="*/ 0 h 1053"/>
                <a:gd name="T50" fmla="*/ 0 w 1145"/>
                <a:gd name="T51" fmla="*/ 0 h 1053"/>
                <a:gd name="T52" fmla="*/ 0 w 1145"/>
                <a:gd name="T53" fmla="*/ 0 h 1053"/>
                <a:gd name="T54" fmla="*/ 0 w 1145"/>
                <a:gd name="T55" fmla="*/ 0 h 1053"/>
                <a:gd name="T56" fmla="*/ 0 w 1145"/>
                <a:gd name="T57" fmla="*/ 0 h 1053"/>
                <a:gd name="T58" fmla="*/ 0 w 1145"/>
                <a:gd name="T59" fmla="*/ 0 h 1053"/>
                <a:gd name="T60" fmla="*/ 0 w 1145"/>
                <a:gd name="T61" fmla="*/ 0 h 1053"/>
                <a:gd name="T62" fmla="*/ 0 w 1145"/>
                <a:gd name="T63" fmla="*/ 0 h 1053"/>
                <a:gd name="T64" fmla="*/ 0 w 1145"/>
                <a:gd name="T65" fmla="*/ 0 h 1053"/>
                <a:gd name="T66" fmla="*/ 0 w 1145"/>
                <a:gd name="T67" fmla="*/ 0 h 1053"/>
                <a:gd name="T68" fmla="*/ 0 w 1145"/>
                <a:gd name="T69" fmla="*/ 0 h 1053"/>
                <a:gd name="T70" fmla="*/ 0 w 1145"/>
                <a:gd name="T71" fmla="*/ 0 h 1053"/>
                <a:gd name="T72" fmla="*/ 0 w 1145"/>
                <a:gd name="T73" fmla="*/ 0 h 1053"/>
                <a:gd name="T74" fmla="*/ 0 w 1145"/>
                <a:gd name="T75" fmla="*/ 0 h 1053"/>
                <a:gd name="T76" fmla="*/ 0 w 1145"/>
                <a:gd name="T77" fmla="*/ 0 h 1053"/>
                <a:gd name="T78" fmla="*/ 0 w 1145"/>
                <a:gd name="T79" fmla="*/ 0 h 1053"/>
                <a:gd name="T80" fmla="*/ 0 w 1145"/>
                <a:gd name="T81" fmla="*/ 0 h 1053"/>
                <a:gd name="T82" fmla="*/ 0 w 1145"/>
                <a:gd name="T83" fmla="*/ 0 h 1053"/>
                <a:gd name="T84" fmla="*/ 0 w 1145"/>
                <a:gd name="T85" fmla="*/ 0 h 1053"/>
                <a:gd name="T86" fmla="*/ 0 w 1145"/>
                <a:gd name="T87" fmla="*/ 0 h 1053"/>
                <a:gd name="T88" fmla="*/ 0 w 1145"/>
                <a:gd name="T89" fmla="*/ 0 h 1053"/>
                <a:gd name="T90" fmla="*/ 0 w 1145"/>
                <a:gd name="T91" fmla="*/ 0 h 1053"/>
                <a:gd name="T92" fmla="*/ 0 w 1145"/>
                <a:gd name="T93" fmla="*/ 0 h 1053"/>
                <a:gd name="T94" fmla="*/ 0 w 1145"/>
                <a:gd name="T95" fmla="*/ 0 h 1053"/>
                <a:gd name="T96" fmla="*/ 0 w 1145"/>
                <a:gd name="T97" fmla="*/ 0 h 1053"/>
                <a:gd name="T98" fmla="*/ 0 w 1145"/>
                <a:gd name="T99" fmla="*/ 0 h 1053"/>
                <a:gd name="T100" fmla="*/ 0 w 1145"/>
                <a:gd name="T101" fmla="*/ 0 h 1053"/>
                <a:gd name="T102" fmla="*/ 0 w 1145"/>
                <a:gd name="T103" fmla="*/ 0 h 1053"/>
                <a:gd name="T104" fmla="*/ 0 w 1145"/>
                <a:gd name="T105" fmla="*/ 0 h 1053"/>
                <a:gd name="T106" fmla="*/ 0 w 1145"/>
                <a:gd name="T107" fmla="*/ 0 h 1053"/>
                <a:gd name="T108" fmla="*/ 0 w 1145"/>
                <a:gd name="T109" fmla="*/ 0 h 1053"/>
                <a:gd name="T110" fmla="*/ 0 w 1145"/>
                <a:gd name="T111" fmla="*/ 0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8" name="Freeform 815"/>
            <p:cNvSpPr>
              <a:spLocks/>
            </p:cNvSpPr>
            <p:nvPr>
              <p:custDataLst>
                <p:tags r:id="rId176"/>
              </p:custDataLst>
            </p:nvPr>
          </p:nvSpPr>
          <p:spPr bwMode="auto">
            <a:xfrm>
              <a:off x="2896" y="2262"/>
              <a:ext cx="38" cy="35"/>
            </a:xfrm>
            <a:custGeom>
              <a:avLst/>
              <a:gdLst>
                <a:gd name="T0" fmla="*/ 0 w 125"/>
                <a:gd name="T1" fmla="*/ 0 h 81"/>
                <a:gd name="T2" fmla="*/ 0 w 125"/>
                <a:gd name="T3" fmla="*/ 0 h 81"/>
                <a:gd name="T4" fmla="*/ 0 w 125"/>
                <a:gd name="T5" fmla="*/ 0 h 81"/>
                <a:gd name="T6" fmla="*/ 0 w 125"/>
                <a:gd name="T7" fmla="*/ 0 h 81"/>
                <a:gd name="T8" fmla="*/ 0 w 125"/>
                <a:gd name="T9" fmla="*/ 0 h 81"/>
                <a:gd name="T10" fmla="*/ 0 w 125"/>
                <a:gd name="T11" fmla="*/ 0 h 81"/>
                <a:gd name="T12" fmla="*/ 0 w 125"/>
                <a:gd name="T13" fmla="*/ 0 h 81"/>
                <a:gd name="T14" fmla="*/ 0 w 125"/>
                <a:gd name="T15" fmla="*/ 0 h 81"/>
                <a:gd name="T16" fmla="*/ 0 w 125"/>
                <a:gd name="T17" fmla="*/ 0 h 81"/>
                <a:gd name="T18" fmla="*/ 0 w 125"/>
                <a:gd name="T19" fmla="*/ 0 h 81"/>
                <a:gd name="T20" fmla="*/ 0 w 125"/>
                <a:gd name="T21" fmla="*/ 0 h 81"/>
                <a:gd name="T22" fmla="*/ 0 w 125"/>
                <a:gd name="T23" fmla="*/ 0 h 81"/>
                <a:gd name="T24" fmla="*/ 0 w 125"/>
                <a:gd name="T25" fmla="*/ 0 h 81"/>
                <a:gd name="T26" fmla="*/ 0 w 125"/>
                <a:gd name="T27" fmla="*/ 0 h 81"/>
                <a:gd name="T28" fmla="*/ 0 w 125"/>
                <a:gd name="T29" fmla="*/ 0 h 81"/>
                <a:gd name="T30" fmla="*/ 0 w 125"/>
                <a:gd name="T31" fmla="*/ 0 h 81"/>
                <a:gd name="T32" fmla="*/ 0 w 125"/>
                <a:gd name="T33" fmla="*/ 0 h 81"/>
                <a:gd name="T34" fmla="*/ 0 w 125"/>
                <a:gd name="T35" fmla="*/ 0 h 81"/>
                <a:gd name="T36" fmla="*/ 0 w 125"/>
                <a:gd name="T37" fmla="*/ 0 h 81"/>
                <a:gd name="T38" fmla="*/ 0 w 125"/>
                <a:gd name="T39" fmla="*/ 0 h 81"/>
                <a:gd name="T40" fmla="*/ 0 w 125"/>
                <a:gd name="T41" fmla="*/ 0 h 81"/>
                <a:gd name="T42" fmla="*/ 0 w 125"/>
                <a:gd name="T43" fmla="*/ 0 h 81"/>
                <a:gd name="T44" fmla="*/ 0 w 125"/>
                <a:gd name="T45" fmla="*/ 0 h 81"/>
                <a:gd name="T46" fmla="*/ 0 w 125"/>
                <a:gd name="T47" fmla="*/ 0 h 81"/>
                <a:gd name="T48" fmla="*/ 0 w 125"/>
                <a:gd name="T49" fmla="*/ 0 h 81"/>
                <a:gd name="T50" fmla="*/ 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9" name="Freeform 816"/>
            <p:cNvSpPr>
              <a:spLocks/>
            </p:cNvSpPr>
            <p:nvPr>
              <p:custDataLst>
                <p:tags r:id="rId177"/>
              </p:custDataLst>
            </p:nvPr>
          </p:nvSpPr>
          <p:spPr bwMode="auto">
            <a:xfrm>
              <a:off x="2884" y="2262"/>
              <a:ext cx="104" cy="127"/>
            </a:xfrm>
            <a:custGeom>
              <a:avLst/>
              <a:gdLst>
                <a:gd name="T0" fmla="*/ 0 w 355"/>
                <a:gd name="T1" fmla="*/ 0 h 388"/>
                <a:gd name="T2" fmla="*/ 0 w 355"/>
                <a:gd name="T3" fmla="*/ 0 h 388"/>
                <a:gd name="T4" fmla="*/ 0 w 355"/>
                <a:gd name="T5" fmla="*/ 0 h 388"/>
                <a:gd name="T6" fmla="*/ 0 w 355"/>
                <a:gd name="T7" fmla="*/ 0 h 388"/>
                <a:gd name="T8" fmla="*/ 0 w 355"/>
                <a:gd name="T9" fmla="*/ 0 h 388"/>
                <a:gd name="T10" fmla="*/ 0 w 355"/>
                <a:gd name="T11" fmla="*/ 0 h 388"/>
                <a:gd name="T12" fmla="*/ 0 w 355"/>
                <a:gd name="T13" fmla="*/ 0 h 388"/>
                <a:gd name="T14" fmla="*/ 0 w 355"/>
                <a:gd name="T15" fmla="*/ 0 h 388"/>
                <a:gd name="T16" fmla="*/ 0 w 355"/>
                <a:gd name="T17" fmla="*/ 0 h 388"/>
                <a:gd name="T18" fmla="*/ 0 w 355"/>
                <a:gd name="T19" fmla="*/ 0 h 388"/>
                <a:gd name="T20" fmla="*/ 0 w 355"/>
                <a:gd name="T21" fmla="*/ 0 h 388"/>
                <a:gd name="T22" fmla="*/ 0 w 355"/>
                <a:gd name="T23" fmla="*/ 0 h 388"/>
                <a:gd name="T24" fmla="*/ 0 w 355"/>
                <a:gd name="T25" fmla="*/ 0 h 388"/>
                <a:gd name="T26" fmla="*/ 0 w 355"/>
                <a:gd name="T27" fmla="*/ 0 h 388"/>
                <a:gd name="T28" fmla="*/ 0 w 355"/>
                <a:gd name="T29" fmla="*/ 0 h 388"/>
                <a:gd name="T30" fmla="*/ 0 w 355"/>
                <a:gd name="T31" fmla="*/ 0 h 388"/>
                <a:gd name="T32" fmla="*/ 0 w 355"/>
                <a:gd name="T33" fmla="*/ 0 h 388"/>
                <a:gd name="T34" fmla="*/ 0 w 355"/>
                <a:gd name="T35" fmla="*/ 0 h 388"/>
                <a:gd name="T36" fmla="*/ 0 w 355"/>
                <a:gd name="T37" fmla="*/ 0 h 388"/>
                <a:gd name="T38" fmla="*/ 0 w 355"/>
                <a:gd name="T39" fmla="*/ 0 h 388"/>
                <a:gd name="T40" fmla="*/ 0 w 355"/>
                <a:gd name="T41" fmla="*/ 0 h 388"/>
                <a:gd name="T42" fmla="*/ 0 w 355"/>
                <a:gd name="T43" fmla="*/ 0 h 388"/>
                <a:gd name="T44" fmla="*/ 0 w 355"/>
                <a:gd name="T45" fmla="*/ 0 h 388"/>
                <a:gd name="T46" fmla="*/ 0 w 355"/>
                <a:gd name="T47" fmla="*/ 0 h 388"/>
                <a:gd name="T48" fmla="*/ 0 w 355"/>
                <a:gd name="T49" fmla="*/ 0 h 388"/>
                <a:gd name="T50" fmla="*/ 0 w 355"/>
                <a:gd name="T51" fmla="*/ 0 h 388"/>
                <a:gd name="T52" fmla="*/ 0 w 355"/>
                <a:gd name="T53" fmla="*/ 0 h 388"/>
                <a:gd name="T54" fmla="*/ 0 w 355"/>
                <a:gd name="T55" fmla="*/ 0 h 388"/>
                <a:gd name="T56" fmla="*/ 0 w 355"/>
                <a:gd name="T57" fmla="*/ 0 h 388"/>
                <a:gd name="T58" fmla="*/ 0 w 355"/>
                <a:gd name="T59" fmla="*/ 0 h 388"/>
                <a:gd name="T60" fmla="*/ 0 w 355"/>
                <a:gd name="T61" fmla="*/ 0 h 388"/>
                <a:gd name="T62" fmla="*/ 0 w 355"/>
                <a:gd name="T63" fmla="*/ 0 h 388"/>
                <a:gd name="T64" fmla="*/ 0 w 355"/>
                <a:gd name="T65" fmla="*/ 0 h 388"/>
                <a:gd name="T66" fmla="*/ 0 w 355"/>
                <a:gd name="T67" fmla="*/ 0 h 388"/>
                <a:gd name="T68" fmla="*/ 0 w 355"/>
                <a:gd name="T69" fmla="*/ 0 h 388"/>
                <a:gd name="T70" fmla="*/ 0 w 355"/>
                <a:gd name="T71" fmla="*/ 0 h 388"/>
                <a:gd name="T72" fmla="*/ 0 w 355"/>
                <a:gd name="T73" fmla="*/ 0 h 388"/>
                <a:gd name="T74" fmla="*/ 0 w 355"/>
                <a:gd name="T75" fmla="*/ 0 h 388"/>
                <a:gd name="T76" fmla="*/ 0 w 355"/>
                <a:gd name="T77" fmla="*/ 0 h 388"/>
                <a:gd name="T78" fmla="*/ 0 w 355"/>
                <a:gd name="T79" fmla="*/ 0 h 388"/>
                <a:gd name="T80" fmla="*/ 0 w 355"/>
                <a:gd name="T81" fmla="*/ 0 h 388"/>
                <a:gd name="T82" fmla="*/ 0 w 355"/>
                <a:gd name="T83" fmla="*/ 0 h 388"/>
                <a:gd name="T84" fmla="*/ 0 w 355"/>
                <a:gd name="T85" fmla="*/ 0 h 388"/>
                <a:gd name="T86" fmla="*/ 0 w 355"/>
                <a:gd name="T87" fmla="*/ 0 h 388"/>
                <a:gd name="T88" fmla="*/ 0 w 355"/>
                <a:gd name="T89" fmla="*/ 0 h 388"/>
                <a:gd name="T90" fmla="*/ 0 w 355"/>
                <a:gd name="T91" fmla="*/ 0 h 388"/>
                <a:gd name="T92" fmla="*/ 0 w 355"/>
                <a:gd name="T93" fmla="*/ 0 h 388"/>
                <a:gd name="T94" fmla="*/ 0 w 355"/>
                <a:gd name="T95" fmla="*/ 0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0" name="Freeform 817"/>
            <p:cNvSpPr>
              <a:spLocks/>
            </p:cNvSpPr>
            <p:nvPr>
              <p:custDataLst>
                <p:tags r:id="rId178"/>
              </p:custDataLst>
            </p:nvPr>
          </p:nvSpPr>
          <p:spPr bwMode="auto">
            <a:xfrm>
              <a:off x="3248" y="2517"/>
              <a:ext cx="178" cy="328"/>
            </a:xfrm>
            <a:custGeom>
              <a:avLst/>
              <a:gdLst>
                <a:gd name="T0" fmla="*/ 0 w 599"/>
                <a:gd name="T1" fmla="*/ 0 h 993"/>
                <a:gd name="T2" fmla="*/ 0 w 599"/>
                <a:gd name="T3" fmla="*/ 0 h 993"/>
                <a:gd name="T4" fmla="*/ 0 w 599"/>
                <a:gd name="T5" fmla="*/ 0 h 993"/>
                <a:gd name="T6" fmla="*/ 0 w 599"/>
                <a:gd name="T7" fmla="*/ 0 h 993"/>
                <a:gd name="T8" fmla="*/ 0 w 599"/>
                <a:gd name="T9" fmla="*/ 0 h 993"/>
                <a:gd name="T10" fmla="*/ 0 w 599"/>
                <a:gd name="T11" fmla="*/ 0 h 993"/>
                <a:gd name="T12" fmla="*/ 0 w 599"/>
                <a:gd name="T13" fmla="*/ 0 h 993"/>
                <a:gd name="T14" fmla="*/ 0 w 599"/>
                <a:gd name="T15" fmla="*/ 0 h 993"/>
                <a:gd name="T16" fmla="*/ 0 w 599"/>
                <a:gd name="T17" fmla="*/ 0 h 993"/>
                <a:gd name="T18" fmla="*/ 0 w 599"/>
                <a:gd name="T19" fmla="*/ 0 h 993"/>
                <a:gd name="T20" fmla="*/ 0 w 599"/>
                <a:gd name="T21" fmla="*/ 0 h 993"/>
                <a:gd name="T22" fmla="*/ 0 w 599"/>
                <a:gd name="T23" fmla="*/ 0 h 993"/>
                <a:gd name="T24" fmla="*/ 0 w 599"/>
                <a:gd name="T25" fmla="*/ 0 h 993"/>
                <a:gd name="T26" fmla="*/ 0 w 599"/>
                <a:gd name="T27" fmla="*/ 0 h 993"/>
                <a:gd name="T28" fmla="*/ 0 w 599"/>
                <a:gd name="T29" fmla="*/ 0 h 993"/>
                <a:gd name="T30" fmla="*/ 0 w 599"/>
                <a:gd name="T31" fmla="*/ 0 h 993"/>
                <a:gd name="T32" fmla="*/ 0 w 599"/>
                <a:gd name="T33" fmla="*/ 0 h 993"/>
                <a:gd name="T34" fmla="*/ 0 w 599"/>
                <a:gd name="T35" fmla="*/ 0 h 993"/>
                <a:gd name="T36" fmla="*/ 0 w 599"/>
                <a:gd name="T37" fmla="*/ 0 h 993"/>
                <a:gd name="T38" fmla="*/ 0 w 599"/>
                <a:gd name="T39" fmla="*/ 0 h 993"/>
                <a:gd name="T40" fmla="*/ 0 w 599"/>
                <a:gd name="T41" fmla="*/ 0 h 993"/>
                <a:gd name="T42" fmla="*/ 0 w 599"/>
                <a:gd name="T43" fmla="*/ 0 h 993"/>
                <a:gd name="T44" fmla="*/ 0 w 599"/>
                <a:gd name="T45" fmla="*/ 0 h 993"/>
                <a:gd name="T46" fmla="*/ 0 w 599"/>
                <a:gd name="T47" fmla="*/ 0 h 993"/>
                <a:gd name="T48" fmla="*/ 0 w 599"/>
                <a:gd name="T49" fmla="*/ 0 h 993"/>
                <a:gd name="T50" fmla="*/ 0 w 599"/>
                <a:gd name="T51" fmla="*/ 0 h 993"/>
                <a:gd name="T52" fmla="*/ 0 w 599"/>
                <a:gd name="T53" fmla="*/ 0 h 993"/>
                <a:gd name="T54" fmla="*/ 0 w 599"/>
                <a:gd name="T55" fmla="*/ 0 h 993"/>
                <a:gd name="T56" fmla="*/ 0 w 599"/>
                <a:gd name="T57" fmla="*/ 0 h 993"/>
                <a:gd name="T58" fmla="*/ 0 w 599"/>
                <a:gd name="T59" fmla="*/ 0 h 993"/>
                <a:gd name="T60" fmla="*/ 0 w 599"/>
                <a:gd name="T61" fmla="*/ 0 h 993"/>
                <a:gd name="T62" fmla="*/ 0 w 599"/>
                <a:gd name="T63" fmla="*/ 0 h 993"/>
                <a:gd name="T64" fmla="*/ 0 w 599"/>
                <a:gd name="T65" fmla="*/ 0 h 993"/>
                <a:gd name="T66" fmla="*/ 0 w 599"/>
                <a:gd name="T67" fmla="*/ 0 h 993"/>
                <a:gd name="T68" fmla="*/ 0 w 599"/>
                <a:gd name="T69" fmla="*/ 0 h 993"/>
                <a:gd name="T70" fmla="*/ 0 w 599"/>
                <a:gd name="T71" fmla="*/ 0 h 993"/>
                <a:gd name="T72" fmla="*/ 0 w 599"/>
                <a:gd name="T73" fmla="*/ 0 h 993"/>
                <a:gd name="T74" fmla="*/ 0 w 599"/>
                <a:gd name="T75" fmla="*/ 0 h 993"/>
                <a:gd name="T76" fmla="*/ 0 w 599"/>
                <a:gd name="T77" fmla="*/ 0 h 993"/>
                <a:gd name="T78" fmla="*/ 0 w 599"/>
                <a:gd name="T79" fmla="*/ 0 h 993"/>
                <a:gd name="T80" fmla="*/ 0 w 599"/>
                <a:gd name="T81" fmla="*/ 0 h 993"/>
                <a:gd name="T82" fmla="*/ 0 w 599"/>
                <a:gd name="T83" fmla="*/ 0 h 993"/>
                <a:gd name="T84" fmla="*/ 0 w 599"/>
                <a:gd name="T85" fmla="*/ 0 h 993"/>
                <a:gd name="T86" fmla="*/ 0 w 599"/>
                <a:gd name="T87" fmla="*/ 0 h 993"/>
                <a:gd name="T88" fmla="*/ 0 w 599"/>
                <a:gd name="T89" fmla="*/ 0 h 993"/>
                <a:gd name="T90" fmla="*/ 0 w 599"/>
                <a:gd name="T91" fmla="*/ 0 h 993"/>
                <a:gd name="T92" fmla="*/ 0 w 599"/>
                <a:gd name="T93" fmla="*/ 0 h 993"/>
                <a:gd name="T94" fmla="*/ 0 w 599"/>
                <a:gd name="T95" fmla="*/ 0 h 993"/>
                <a:gd name="T96" fmla="*/ 0 w 599"/>
                <a:gd name="T97" fmla="*/ 0 h 993"/>
                <a:gd name="T98" fmla="*/ 0 w 599"/>
                <a:gd name="T99" fmla="*/ 0 h 993"/>
                <a:gd name="T100" fmla="*/ 0 w 599"/>
                <a:gd name="T101" fmla="*/ 0 h 993"/>
                <a:gd name="T102" fmla="*/ 0 w 599"/>
                <a:gd name="T103" fmla="*/ 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1" name="Freeform 818"/>
            <p:cNvSpPr>
              <a:spLocks/>
            </p:cNvSpPr>
            <p:nvPr>
              <p:custDataLst>
                <p:tags r:id="rId179"/>
              </p:custDataLst>
            </p:nvPr>
          </p:nvSpPr>
          <p:spPr bwMode="auto">
            <a:xfrm>
              <a:off x="3067" y="2668"/>
              <a:ext cx="162" cy="181"/>
            </a:xfrm>
            <a:custGeom>
              <a:avLst/>
              <a:gdLst>
                <a:gd name="T0" fmla="*/ 0 w 545"/>
                <a:gd name="T1" fmla="*/ 0 h 549"/>
                <a:gd name="T2" fmla="*/ 0 w 545"/>
                <a:gd name="T3" fmla="*/ 0 h 549"/>
                <a:gd name="T4" fmla="*/ 0 w 545"/>
                <a:gd name="T5" fmla="*/ 0 h 549"/>
                <a:gd name="T6" fmla="*/ 0 w 545"/>
                <a:gd name="T7" fmla="*/ 0 h 549"/>
                <a:gd name="T8" fmla="*/ 0 w 545"/>
                <a:gd name="T9" fmla="*/ 0 h 549"/>
                <a:gd name="T10" fmla="*/ 0 w 545"/>
                <a:gd name="T11" fmla="*/ 0 h 549"/>
                <a:gd name="T12" fmla="*/ 0 w 545"/>
                <a:gd name="T13" fmla="*/ 0 h 549"/>
                <a:gd name="T14" fmla="*/ 0 w 545"/>
                <a:gd name="T15" fmla="*/ 0 h 549"/>
                <a:gd name="T16" fmla="*/ 0 w 545"/>
                <a:gd name="T17" fmla="*/ 0 h 549"/>
                <a:gd name="T18" fmla="*/ 0 w 545"/>
                <a:gd name="T19" fmla="*/ 0 h 549"/>
                <a:gd name="T20" fmla="*/ 0 w 545"/>
                <a:gd name="T21" fmla="*/ 0 h 549"/>
                <a:gd name="T22" fmla="*/ 0 w 545"/>
                <a:gd name="T23" fmla="*/ 0 h 549"/>
                <a:gd name="T24" fmla="*/ 0 w 545"/>
                <a:gd name="T25" fmla="*/ 0 h 549"/>
                <a:gd name="T26" fmla="*/ 0 w 545"/>
                <a:gd name="T27" fmla="*/ 0 h 549"/>
                <a:gd name="T28" fmla="*/ 0 w 545"/>
                <a:gd name="T29" fmla="*/ 0 h 549"/>
                <a:gd name="T30" fmla="*/ 0 w 545"/>
                <a:gd name="T31" fmla="*/ 0 h 549"/>
                <a:gd name="T32" fmla="*/ 0 w 545"/>
                <a:gd name="T33" fmla="*/ 0 h 549"/>
                <a:gd name="T34" fmla="*/ 0 w 545"/>
                <a:gd name="T35" fmla="*/ 0 h 549"/>
                <a:gd name="T36" fmla="*/ 0 w 545"/>
                <a:gd name="T37" fmla="*/ 0 h 549"/>
                <a:gd name="T38" fmla="*/ 0 w 545"/>
                <a:gd name="T39" fmla="*/ 0 h 549"/>
                <a:gd name="T40" fmla="*/ 0 w 545"/>
                <a:gd name="T41" fmla="*/ 0 h 549"/>
                <a:gd name="T42" fmla="*/ 0 w 545"/>
                <a:gd name="T43" fmla="*/ 0 h 549"/>
                <a:gd name="T44" fmla="*/ 0 w 545"/>
                <a:gd name="T45" fmla="*/ 0 h 549"/>
                <a:gd name="T46" fmla="*/ 0 w 545"/>
                <a:gd name="T47" fmla="*/ 0 h 549"/>
                <a:gd name="T48" fmla="*/ 0 w 545"/>
                <a:gd name="T49" fmla="*/ 0 h 549"/>
                <a:gd name="T50" fmla="*/ 0 w 545"/>
                <a:gd name="T51" fmla="*/ 0 h 549"/>
                <a:gd name="T52" fmla="*/ 0 w 545"/>
                <a:gd name="T53" fmla="*/ 0 h 549"/>
                <a:gd name="T54" fmla="*/ 0 w 545"/>
                <a:gd name="T55" fmla="*/ 0 h 549"/>
                <a:gd name="T56" fmla="*/ 0 w 545"/>
                <a:gd name="T57" fmla="*/ 0 h 549"/>
                <a:gd name="T58" fmla="*/ 0 w 545"/>
                <a:gd name="T59" fmla="*/ 0 h 549"/>
                <a:gd name="T60" fmla="*/ 0 w 545"/>
                <a:gd name="T61" fmla="*/ 0 h 549"/>
                <a:gd name="T62" fmla="*/ 0 w 545"/>
                <a:gd name="T63" fmla="*/ 0 h 549"/>
                <a:gd name="T64" fmla="*/ 0 w 545"/>
                <a:gd name="T65" fmla="*/ 0 h 549"/>
                <a:gd name="T66" fmla="*/ 0 w 545"/>
                <a:gd name="T67" fmla="*/ 0 h 549"/>
                <a:gd name="T68" fmla="*/ 0 w 545"/>
                <a:gd name="T69" fmla="*/ 0 h 549"/>
                <a:gd name="T70" fmla="*/ 0 w 545"/>
                <a:gd name="T71" fmla="*/ 0 h 549"/>
                <a:gd name="T72" fmla="*/ 0 w 545"/>
                <a:gd name="T73" fmla="*/ 0 h 549"/>
                <a:gd name="T74" fmla="*/ 0 w 545"/>
                <a:gd name="T75" fmla="*/ 0 h 549"/>
                <a:gd name="T76" fmla="*/ 0 w 545"/>
                <a:gd name="T77" fmla="*/ 0 h 549"/>
                <a:gd name="T78" fmla="*/ 0 w 545"/>
                <a:gd name="T79" fmla="*/ 0 h 549"/>
                <a:gd name="T80" fmla="*/ 0 w 545"/>
                <a:gd name="T81" fmla="*/ 0 h 549"/>
                <a:gd name="T82" fmla="*/ 0 w 545"/>
                <a:gd name="T83" fmla="*/ 0 h 549"/>
                <a:gd name="T84" fmla="*/ 0 w 545"/>
                <a:gd name="T85" fmla="*/ 0 h 549"/>
                <a:gd name="T86" fmla="*/ 0 w 545"/>
                <a:gd name="T87" fmla="*/ 0 h 549"/>
                <a:gd name="T88" fmla="*/ 0 w 545"/>
                <a:gd name="T89" fmla="*/ 0 h 549"/>
                <a:gd name="T90" fmla="*/ 0 w 545"/>
                <a:gd name="T91" fmla="*/ 0 h 549"/>
                <a:gd name="T92" fmla="*/ 0 w 545"/>
                <a:gd name="T93" fmla="*/ 0 h 549"/>
                <a:gd name="T94" fmla="*/ 0 w 545"/>
                <a:gd name="T95" fmla="*/ 0 h 549"/>
                <a:gd name="T96" fmla="*/ 0 w 545"/>
                <a:gd name="T97" fmla="*/ 0 h 549"/>
                <a:gd name="T98" fmla="*/ 0 w 545"/>
                <a:gd name="T99" fmla="*/ 0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2" name="Freeform 819"/>
            <p:cNvSpPr>
              <a:spLocks/>
            </p:cNvSpPr>
            <p:nvPr>
              <p:custDataLst>
                <p:tags r:id="rId180"/>
              </p:custDataLst>
            </p:nvPr>
          </p:nvSpPr>
          <p:spPr bwMode="auto">
            <a:xfrm>
              <a:off x="3458" y="2543"/>
              <a:ext cx="134" cy="274"/>
            </a:xfrm>
            <a:custGeom>
              <a:avLst/>
              <a:gdLst>
                <a:gd name="T0" fmla="*/ 0 w 452"/>
                <a:gd name="T1" fmla="*/ 0 h 832"/>
                <a:gd name="T2" fmla="*/ 0 w 452"/>
                <a:gd name="T3" fmla="*/ 0 h 832"/>
                <a:gd name="T4" fmla="*/ 0 w 452"/>
                <a:gd name="T5" fmla="*/ 0 h 832"/>
                <a:gd name="T6" fmla="*/ 0 w 452"/>
                <a:gd name="T7" fmla="*/ 0 h 832"/>
                <a:gd name="T8" fmla="*/ 0 w 452"/>
                <a:gd name="T9" fmla="*/ 0 h 832"/>
                <a:gd name="T10" fmla="*/ 0 w 452"/>
                <a:gd name="T11" fmla="*/ 0 h 832"/>
                <a:gd name="T12" fmla="*/ 0 w 452"/>
                <a:gd name="T13" fmla="*/ 0 h 832"/>
                <a:gd name="T14" fmla="*/ 0 w 452"/>
                <a:gd name="T15" fmla="*/ 0 h 832"/>
                <a:gd name="T16" fmla="*/ 0 w 452"/>
                <a:gd name="T17" fmla="*/ 0 h 832"/>
                <a:gd name="T18" fmla="*/ 0 w 452"/>
                <a:gd name="T19" fmla="*/ 0 h 832"/>
                <a:gd name="T20" fmla="*/ 0 w 452"/>
                <a:gd name="T21" fmla="*/ 0 h 832"/>
                <a:gd name="T22" fmla="*/ 0 w 452"/>
                <a:gd name="T23" fmla="*/ 0 h 832"/>
                <a:gd name="T24" fmla="*/ 0 w 452"/>
                <a:gd name="T25" fmla="*/ 0 h 832"/>
                <a:gd name="T26" fmla="*/ 0 w 452"/>
                <a:gd name="T27" fmla="*/ 0 h 832"/>
                <a:gd name="T28" fmla="*/ 0 w 452"/>
                <a:gd name="T29" fmla="*/ 0 h 832"/>
                <a:gd name="T30" fmla="*/ 0 w 452"/>
                <a:gd name="T31" fmla="*/ 0 h 832"/>
                <a:gd name="T32" fmla="*/ 0 w 452"/>
                <a:gd name="T33" fmla="*/ 0 h 832"/>
                <a:gd name="T34" fmla="*/ 0 w 452"/>
                <a:gd name="T35" fmla="*/ 0 h 832"/>
                <a:gd name="T36" fmla="*/ 0 w 452"/>
                <a:gd name="T37" fmla="*/ 0 h 832"/>
                <a:gd name="T38" fmla="*/ 0 w 452"/>
                <a:gd name="T39" fmla="*/ 0 h 832"/>
                <a:gd name="T40" fmla="*/ 0 w 452"/>
                <a:gd name="T41" fmla="*/ 0 h 832"/>
                <a:gd name="T42" fmla="*/ 0 w 452"/>
                <a:gd name="T43" fmla="*/ 0 h 832"/>
                <a:gd name="T44" fmla="*/ 0 w 452"/>
                <a:gd name="T45" fmla="*/ 0 h 832"/>
                <a:gd name="T46" fmla="*/ 0 w 452"/>
                <a:gd name="T47" fmla="*/ 0 h 832"/>
                <a:gd name="T48" fmla="*/ 0 w 452"/>
                <a:gd name="T49" fmla="*/ 0 h 832"/>
                <a:gd name="T50" fmla="*/ 0 w 452"/>
                <a:gd name="T51" fmla="*/ 0 h 832"/>
                <a:gd name="T52" fmla="*/ 0 w 452"/>
                <a:gd name="T53" fmla="*/ 0 h 832"/>
                <a:gd name="T54" fmla="*/ 0 w 452"/>
                <a:gd name="T55" fmla="*/ 0 h 832"/>
                <a:gd name="T56" fmla="*/ 0 w 452"/>
                <a:gd name="T57" fmla="*/ 0 h 832"/>
                <a:gd name="T58" fmla="*/ 0 w 452"/>
                <a:gd name="T59" fmla="*/ 0 h 832"/>
                <a:gd name="T60" fmla="*/ 0 w 452"/>
                <a:gd name="T61" fmla="*/ 0 h 832"/>
                <a:gd name="T62" fmla="*/ 0 w 452"/>
                <a:gd name="T63" fmla="*/ 0 h 832"/>
                <a:gd name="T64" fmla="*/ 0 w 452"/>
                <a:gd name="T65" fmla="*/ 0 h 832"/>
                <a:gd name="T66" fmla="*/ 0 w 452"/>
                <a:gd name="T67" fmla="*/ 0 h 832"/>
                <a:gd name="T68" fmla="*/ 0 w 452"/>
                <a:gd name="T69" fmla="*/ 0 h 832"/>
                <a:gd name="T70" fmla="*/ 0 w 452"/>
                <a:gd name="T71" fmla="*/ 0 h 832"/>
                <a:gd name="T72" fmla="*/ 0 w 452"/>
                <a:gd name="T73" fmla="*/ 0 h 832"/>
                <a:gd name="T74" fmla="*/ 0 w 452"/>
                <a:gd name="T75" fmla="*/ 0 h 832"/>
                <a:gd name="T76" fmla="*/ 0 w 452"/>
                <a:gd name="T77" fmla="*/ 0 h 832"/>
                <a:gd name="T78" fmla="*/ 0 w 452"/>
                <a:gd name="T79" fmla="*/ 0 h 832"/>
                <a:gd name="T80" fmla="*/ 0 w 452"/>
                <a:gd name="T81" fmla="*/ 0 h 832"/>
                <a:gd name="T82" fmla="*/ 0 w 452"/>
                <a:gd name="T83" fmla="*/ 0 h 832"/>
                <a:gd name="T84" fmla="*/ 0 w 452"/>
                <a:gd name="T85" fmla="*/ 0 h 832"/>
                <a:gd name="T86" fmla="*/ 0 w 452"/>
                <a:gd name="T87" fmla="*/ 0 h 832"/>
                <a:gd name="T88" fmla="*/ 0 w 452"/>
                <a:gd name="T89" fmla="*/ 0 h 832"/>
                <a:gd name="T90" fmla="*/ 0 w 452"/>
                <a:gd name="T91" fmla="*/ 0 h 832"/>
                <a:gd name="T92" fmla="*/ 0 w 452"/>
                <a:gd name="T93" fmla="*/ 0 h 832"/>
                <a:gd name="T94" fmla="*/ 0 w 452"/>
                <a:gd name="T95" fmla="*/ 0 h 832"/>
                <a:gd name="T96" fmla="*/ 0 w 452"/>
                <a:gd name="T97" fmla="*/ 0 h 832"/>
                <a:gd name="T98" fmla="*/ 0 w 452"/>
                <a:gd name="T99" fmla="*/ 0 h 832"/>
                <a:gd name="T100" fmla="*/ 0 w 452"/>
                <a:gd name="T101" fmla="*/ 0 h 832"/>
                <a:gd name="T102" fmla="*/ 0 w 452"/>
                <a:gd name="T103" fmla="*/ 0 h 832"/>
                <a:gd name="T104" fmla="*/ 0 w 452"/>
                <a:gd name="T105" fmla="*/ 0 h 832"/>
                <a:gd name="T106" fmla="*/ 0 w 452"/>
                <a:gd name="T107" fmla="*/ 0 h 832"/>
                <a:gd name="T108" fmla="*/ 0 w 452"/>
                <a:gd name="T109" fmla="*/ 0 h 832"/>
                <a:gd name="T110" fmla="*/ 0 w 452"/>
                <a:gd name="T111" fmla="*/ 0 h 832"/>
                <a:gd name="T112" fmla="*/ 0 w 452"/>
                <a:gd name="T113" fmla="*/ 0 h 832"/>
                <a:gd name="T114" fmla="*/ 0 w 452"/>
                <a:gd name="T115" fmla="*/ 0 h 832"/>
                <a:gd name="T116" fmla="*/ 0 w 452"/>
                <a:gd name="T117" fmla="*/ 0 h 832"/>
                <a:gd name="T118" fmla="*/ 0 w 452"/>
                <a:gd name="T119" fmla="*/ 0 h 832"/>
                <a:gd name="T120" fmla="*/ 0 w 452"/>
                <a:gd name="T121" fmla="*/ 0 h 832"/>
                <a:gd name="T122" fmla="*/ 0 w 452"/>
                <a:gd name="T123" fmla="*/ 0 h 832"/>
                <a:gd name="T124" fmla="*/ 0 w 452"/>
                <a:gd name="T125" fmla="*/ 0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3" name="Freeform 820"/>
            <p:cNvSpPr>
              <a:spLocks/>
            </p:cNvSpPr>
            <p:nvPr>
              <p:custDataLst>
                <p:tags r:id="rId181"/>
              </p:custDataLst>
            </p:nvPr>
          </p:nvSpPr>
          <p:spPr bwMode="auto">
            <a:xfrm>
              <a:off x="3237" y="2353"/>
              <a:ext cx="25" cy="42"/>
            </a:xfrm>
            <a:custGeom>
              <a:avLst/>
              <a:gdLst>
                <a:gd name="T0" fmla="*/ 0 w 80"/>
                <a:gd name="T1" fmla="*/ 0 h 126"/>
                <a:gd name="T2" fmla="*/ 0 w 80"/>
                <a:gd name="T3" fmla="*/ 0 h 126"/>
                <a:gd name="T4" fmla="*/ 0 w 80"/>
                <a:gd name="T5" fmla="*/ 0 h 126"/>
                <a:gd name="T6" fmla="*/ 0 w 80"/>
                <a:gd name="T7" fmla="*/ 0 h 126"/>
                <a:gd name="T8" fmla="*/ 0 w 80"/>
                <a:gd name="T9" fmla="*/ 0 h 126"/>
                <a:gd name="T10" fmla="*/ 0 w 80"/>
                <a:gd name="T11" fmla="*/ 0 h 126"/>
                <a:gd name="T12" fmla="*/ 0 w 80"/>
                <a:gd name="T13" fmla="*/ 0 h 126"/>
                <a:gd name="T14" fmla="*/ 0 w 80"/>
                <a:gd name="T15" fmla="*/ 0 h 126"/>
                <a:gd name="T16" fmla="*/ 0 w 80"/>
                <a:gd name="T17" fmla="*/ 0 h 126"/>
                <a:gd name="T18" fmla="*/ 0 w 80"/>
                <a:gd name="T19" fmla="*/ 0 h 126"/>
                <a:gd name="T20" fmla="*/ 0 w 80"/>
                <a:gd name="T21" fmla="*/ 0 h 126"/>
                <a:gd name="T22" fmla="*/ 0 w 80"/>
                <a:gd name="T23" fmla="*/ 0 h 126"/>
                <a:gd name="T24" fmla="*/ 0 w 80"/>
                <a:gd name="T25" fmla="*/ 0 h 126"/>
                <a:gd name="T26" fmla="*/ 0 w 80"/>
                <a:gd name="T27" fmla="*/ 0 h 126"/>
                <a:gd name="T28" fmla="*/ 0 w 80"/>
                <a:gd name="T29" fmla="*/ 0 h 126"/>
                <a:gd name="T30" fmla="*/ 0 w 80"/>
                <a:gd name="T31" fmla="*/ 0 h 126"/>
                <a:gd name="T32" fmla="*/ 0 w 80"/>
                <a:gd name="T33" fmla="*/ 0 h 126"/>
                <a:gd name="T34" fmla="*/ 0 w 80"/>
                <a:gd name="T35" fmla="*/ 0 h 126"/>
                <a:gd name="T36" fmla="*/ 0 w 80"/>
                <a:gd name="T37" fmla="*/ 0 h 126"/>
                <a:gd name="T38" fmla="*/ 0 w 80"/>
                <a:gd name="T39" fmla="*/ 0 h 126"/>
                <a:gd name="T40" fmla="*/ 0 w 80"/>
                <a:gd name="T41" fmla="*/ 0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4" name="Freeform 821"/>
            <p:cNvSpPr>
              <a:spLocks/>
            </p:cNvSpPr>
            <p:nvPr>
              <p:custDataLst>
                <p:tags r:id="rId182"/>
              </p:custDataLst>
            </p:nvPr>
          </p:nvSpPr>
          <p:spPr bwMode="auto">
            <a:xfrm>
              <a:off x="3229" y="2328"/>
              <a:ext cx="38" cy="38"/>
            </a:xfrm>
            <a:custGeom>
              <a:avLst/>
              <a:gdLst>
                <a:gd name="T0" fmla="*/ 0 w 124"/>
                <a:gd name="T1" fmla="*/ 0 h 117"/>
                <a:gd name="T2" fmla="*/ 0 w 124"/>
                <a:gd name="T3" fmla="*/ 0 h 117"/>
                <a:gd name="T4" fmla="*/ 0 w 124"/>
                <a:gd name="T5" fmla="*/ 0 h 117"/>
                <a:gd name="T6" fmla="*/ 0 w 124"/>
                <a:gd name="T7" fmla="*/ 0 h 117"/>
                <a:gd name="T8" fmla="*/ 0 w 124"/>
                <a:gd name="T9" fmla="*/ 0 h 117"/>
                <a:gd name="T10" fmla="*/ 0 w 124"/>
                <a:gd name="T11" fmla="*/ 0 h 117"/>
                <a:gd name="T12" fmla="*/ 0 w 124"/>
                <a:gd name="T13" fmla="*/ 0 h 117"/>
                <a:gd name="T14" fmla="*/ 0 w 124"/>
                <a:gd name="T15" fmla="*/ 0 h 117"/>
                <a:gd name="T16" fmla="*/ 0 w 124"/>
                <a:gd name="T17" fmla="*/ 0 h 117"/>
                <a:gd name="T18" fmla="*/ 0 w 124"/>
                <a:gd name="T19" fmla="*/ 0 h 117"/>
                <a:gd name="T20" fmla="*/ 0 w 124"/>
                <a:gd name="T21" fmla="*/ 0 h 117"/>
                <a:gd name="T22" fmla="*/ 0 w 124"/>
                <a:gd name="T23" fmla="*/ 0 h 117"/>
                <a:gd name="T24" fmla="*/ 0 w 124"/>
                <a:gd name="T25" fmla="*/ 0 h 117"/>
                <a:gd name="T26" fmla="*/ 0 w 124"/>
                <a:gd name="T27" fmla="*/ 0 h 117"/>
                <a:gd name="T28" fmla="*/ 0 w 124"/>
                <a:gd name="T29" fmla="*/ 0 h 117"/>
                <a:gd name="T30" fmla="*/ 0 w 124"/>
                <a:gd name="T31" fmla="*/ 0 h 117"/>
                <a:gd name="T32" fmla="*/ 0 w 124"/>
                <a:gd name="T33" fmla="*/ 0 h 117"/>
                <a:gd name="T34" fmla="*/ 0 w 124"/>
                <a:gd name="T35" fmla="*/ 0 h 117"/>
                <a:gd name="T36" fmla="*/ 0 w 124"/>
                <a:gd name="T37" fmla="*/ 0 h 117"/>
                <a:gd name="T38" fmla="*/ 0 w 124"/>
                <a:gd name="T39" fmla="*/ 0 h 117"/>
                <a:gd name="T40" fmla="*/ 0 w 124"/>
                <a:gd name="T41" fmla="*/ 0 h 117"/>
                <a:gd name="T42" fmla="*/ 0 w 124"/>
                <a:gd name="T43" fmla="*/ 0 h 117"/>
                <a:gd name="T44" fmla="*/ 0 w 124"/>
                <a:gd name="T45" fmla="*/ 0 h 117"/>
                <a:gd name="T46" fmla="*/ 0 w 124"/>
                <a:gd name="T47" fmla="*/ 0 h 117"/>
                <a:gd name="T48" fmla="*/ 0 w 124"/>
                <a:gd name="T49" fmla="*/ 0 h 117"/>
                <a:gd name="T50" fmla="*/ 0 w 124"/>
                <a:gd name="T51" fmla="*/ 0 h 117"/>
                <a:gd name="T52" fmla="*/ 0 w 124"/>
                <a:gd name="T53" fmla="*/ 0 h 117"/>
                <a:gd name="T54" fmla="*/ 0 w 124"/>
                <a:gd name="T55" fmla="*/ 0 h 117"/>
                <a:gd name="T56" fmla="*/ 0 w 124"/>
                <a:gd name="T57" fmla="*/ 0 h 117"/>
                <a:gd name="T58" fmla="*/ 0 w 124"/>
                <a:gd name="T59" fmla="*/ 0 h 117"/>
                <a:gd name="T60" fmla="*/ 0 w 124"/>
                <a:gd name="T61" fmla="*/ 0 h 117"/>
                <a:gd name="T62" fmla="*/ 0 w 124"/>
                <a:gd name="T63" fmla="*/ 0 h 117"/>
                <a:gd name="T64" fmla="*/ 0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5" name="Freeform 822"/>
            <p:cNvSpPr>
              <a:spLocks/>
            </p:cNvSpPr>
            <p:nvPr>
              <p:custDataLst>
                <p:tags r:id="rId183"/>
              </p:custDataLst>
            </p:nvPr>
          </p:nvSpPr>
          <p:spPr bwMode="auto">
            <a:xfrm>
              <a:off x="3441" y="1509"/>
              <a:ext cx="343" cy="298"/>
            </a:xfrm>
            <a:custGeom>
              <a:avLst/>
              <a:gdLst>
                <a:gd name="T0" fmla="*/ 0 w 1156"/>
                <a:gd name="T1" fmla="*/ 0 h 900"/>
                <a:gd name="T2" fmla="*/ 0 w 1156"/>
                <a:gd name="T3" fmla="*/ 0 h 900"/>
                <a:gd name="T4" fmla="*/ 0 w 1156"/>
                <a:gd name="T5" fmla="*/ 0 h 900"/>
                <a:gd name="T6" fmla="*/ 0 w 1156"/>
                <a:gd name="T7" fmla="*/ 0 h 900"/>
                <a:gd name="T8" fmla="*/ 0 w 1156"/>
                <a:gd name="T9" fmla="*/ 0 h 900"/>
                <a:gd name="T10" fmla="*/ 0 w 1156"/>
                <a:gd name="T11" fmla="*/ 0 h 900"/>
                <a:gd name="T12" fmla="*/ 0 w 1156"/>
                <a:gd name="T13" fmla="*/ 0 h 900"/>
                <a:gd name="T14" fmla="*/ 0 w 1156"/>
                <a:gd name="T15" fmla="*/ 0 h 900"/>
                <a:gd name="T16" fmla="*/ 0 w 1156"/>
                <a:gd name="T17" fmla="*/ 0 h 900"/>
                <a:gd name="T18" fmla="*/ 0 w 1156"/>
                <a:gd name="T19" fmla="*/ 0 h 900"/>
                <a:gd name="T20" fmla="*/ 0 w 1156"/>
                <a:gd name="T21" fmla="*/ 0 h 900"/>
                <a:gd name="T22" fmla="*/ 0 w 1156"/>
                <a:gd name="T23" fmla="*/ 0 h 900"/>
                <a:gd name="T24" fmla="*/ 0 w 1156"/>
                <a:gd name="T25" fmla="*/ 0 h 900"/>
                <a:gd name="T26" fmla="*/ 0 w 1156"/>
                <a:gd name="T27" fmla="*/ 0 h 900"/>
                <a:gd name="T28" fmla="*/ 0 w 1156"/>
                <a:gd name="T29" fmla="*/ 0 h 900"/>
                <a:gd name="T30" fmla="*/ 0 w 1156"/>
                <a:gd name="T31" fmla="*/ 0 h 900"/>
                <a:gd name="T32" fmla="*/ 0 w 1156"/>
                <a:gd name="T33" fmla="*/ 0 h 900"/>
                <a:gd name="T34" fmla="*/ 0 w 1156"/>
                <a:gd name="T35" fmla="*/ 0 h 900"/>
                <a:gd name="T36" fmla="*/ 0 w 1156"/>
                <a:gd name="T37" fmla="*/ 0 h 900"/>
                <a:gd name="T38" fmla="*/ 0 w 1156"/>
                <a:gd name="T39" fmla="*/ 0 h 900"/>
                <a:gd name="T40" fmla="*/ 0 w 1156"/>
                <a:gd name="T41" fmla="*/ 0 h 900"/>
                <a:gd name="T42" fmla="*/ 0 w 1156"/>
                <a:gd name="T43" fmla="*/ 0 h 900"/>
                <a:gd name="T44" fmla="*/ 0 w 1156"/>
                <a:gd name="T45" fmla="*/ 0 h 900"/>
                <a:gd name="T46" fmla="*/ 0 w 1156"/>
                <a:gd name="T47" fmla="*/ 0 h 900"/>
                <a:gd name="T48" fmla="*/ 0 w 1156"/>
                <a:gd name="T49" fmla="*/ 0 h 900"/>
                <a:gd name="T50" fmla="*/ 0 w 1156"/>
                <a:gd name="T51" fmla="*/ 0 h 900"/>
                <a:gd name="T52" fmla="*/ 0 w 1156"/>
                <a:gd name="T53" fmla="*/ 0 h 900"/>
                <a:gd name="T54" fmla="*/ 0 w 1156"/>
                <a:gd name="T55" fmla="*/ 0 h 900"/>
                <a:gd name="T56" fmla="*/ 0 w 1156"/>
                <a:gd name="T57" fmla="*/ 0 h 900"/>
                <a:gd name="T58" fmla="*/ 0 w 1156"/>
                <a:gd name="T59" fmla="*/ 0 h 900"/>
                <a:gd name="T60" fmla="*/ 0 w 1156"/>
                <a:gd name="T61" fmla="*/ 0 h 900"/>
                <a:gd name="T62" fmla="*/ 0 w 1156"/>
                <a:gd name="T63" fmla="*/ 0 h 900"/>
                <a:gd name="T64" fmla="*/ 0 w 1156"/>
                <a:gd name="T65" fmla="*/ 0 h 900"/>
                <a:gd name="T66" fmla="*/ 0 w 1156"/>
                <a:gd name="T67" fmla="*/ 0 h 900"/>
                <a:gd name="T68" fmla="*/ 0 w 1156"/>
                <a:gd name="T69" fmla="*/ 0 h 900"/>
                <a:gd name="T70" fmla="*/ 0 w 1156"/>
                <a:gd name="T71" fmla="*/ 0 h 900"/>
                <a:gd name="T72" fmla="*/ 0 w 1156"/>
                <a:gd name="T73" fmla="*/ 0 h 900"/>
                <a:gd name="T74" fmla="*/ 0 w 1156"/>
                <a:gd name="T75" fmla="*/ 0 h 900"/>
                <a:gd name="T76" fmla="*/ 0 w 1156"/>
                <a:gd name="T77" fmla="*/ 0 h 900"/>
                <a:gd name="T78" fmla="*/ 0 w 1156"/>
                <a:gd name="T79" fmla="*/ 0 h 900"/>
                <a:gd name="T80" fmla="*/ 0 w 1156"/>
                <a:gd name="T81" fmla="*/ 0 h 900"/>
                <a:gd name="T82" fmla="*/ 0 w 1156"/>
                <a:gd name="T83" fmla="*/ 0 h 900"/>
                <a:gd name="T84" fmla="*/ 0 w 1156"/>
                <a:gd name="T85" fmla="*/ 0 h 900"/>
                <a:gd name="T86" fmla="*/ 0 w 1156"/>
                <a:gd name="T87" fmla="*/ 0 h 900"/>
                <a:gd name="T88" fmla="*/ 0 w 1156"/>
                <a:gd name="T89" fmla="*/ 0 h 900"/>
                <a:gd name="T90" fmla="*/ 0 w 1156"/>
                <a:gd name="T91" fmla="*/ 0 h 900"/>
                <a:gd name="T92" fmla="*/ 0 w 1156"/>
                <a:gd name="T93" fmla="*/ 0 h 900"/>
                <a:gd name="T94" fmla="*/ 0 w 1156"/>
                <a:gd name="T95" fmla="*/ 0 h 900"/>
                <a:gd name="T96" fmla="*/ 0 w 1156"/>
                <a:gd name="T97" fmla="*/ 0 h 900"/>
                <a:gd name="T98" fmla="*/ 0 w 1156"/>
                <a:gd name="T99" fmla="*/ 0 h 900"/>
                <a:gd name="T100" fmla="*/ 0 w 1156"/>
                <a:gd name="T101" fmla="*/ 0 h 900"/>
                <a:gd name="T102" fmla="*/ 0 w 1156"/>
                <a:gd name="T103" fmla="*/ 0 h 900"/>
                <a:gd name="T104" fmla="*/ 0 w 1156"/>
                <a:gd name="T105" fmla="*/ 0 h 900"/>
                <a:gd name="T106" fmla="*/ 0 w 1156"/>
                <a:gd name="T107" fmla="*/ 0 h 900"/>
                <a:gd name="T108" fmla="*/ 0 w 1156"/>
                <a:gd name="T109" fmla="*/ 0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6" name="Freeform 823"/>
            <p:cNvSpPr>
              <a:spLocks/>
            </p:cNvSpPr>
            <p:nvPr>
              <p:custDataLst>
                <p:tags r:id="rId184"/>
              </p:custDataLst>
            </p:nvPr>
          </p:nvSpPr>
          <p:spPr bwMode="auto">
            <a:xfrm>
              <a:off x="3457" y="1923"/>
              <a:ext cx="169" cy="144"/>
            </a:xfrm>
            <a:custGeom>
              <a:avLst/>
              <a:gdLst>
                <a:gd name="T0" fmla="*/ 0 w 571"/>
                <a:gd name="T1" fmla="*/ 0 h 443"/>
                <a:gd name="T2" fmla="*/ 0 w 571"/>
                <a:gd name="T3" fmla="*/ 0 h 443"/>
                <a:gd name="T4" fmla="*/ 0 w 571"/>
                <a:gd name="T5" fmla="*/ 0 h 443"/>
                <a:gd name="T6" fmla="*/ 0 w 571"/>
                <a:gd name="T7" fmla="*/ 0 h 443"/>
                <a:gd name="T8" fmla="*/ 0 w 571"/>
                <a:gd name="T9" fmla="*/ 0 h 443"/>
                <a:gd name="T10" fmla="*/ 0 w 571"/>
                <a:gd name="T11" fmla="*/ 0 h 443"/>
                <a:gd name="T12" fmla="*/ 0 w 571"/>
                <a:gd name="T13" fmla="*/ 0 h 443"/>
                <a:gd name="T14" fmla="*/ 0 w 571"/>
                <a:gd name="T15" fmla="*/ 0 h 443"/>
                <a:gd name="T16" fmla="*/ 0 w 571"/>
                <a:gd name="T17" fmla="*/ 0 h 443"/>
                <a:gd name="T18" fmla="*/ 0 w 571"/>
                <a:gd name="T19" fmla="*/ 0 h 443"/>
                <a:gd name="T20" fmla="*/ 0 w 571"/>
                <a:gd name="T21" fmla="*/ 0 h 443"/>
                <a:gd name="T22" fmla="*/ 0 w 571"/>
                <a:gd name="T23" fmla="*/ 0 h 443"/>
                <a:gd name="T24" fmla="*/ 0 w 571"/>
                <a:gd name="T25" fmla="*/ 0 h 443"/>
                <a:gd name="T26" fmla="*/ 0 w 571"/>
                <a:gd name="T27" fmla="*/ 0 h 443"/>
                <a:gd name="T28" fmla="*/ 0 w 571"/>
                <a:gd name="T29" fmla="*/ 0 h 443"/>
                <a:gd name="T30" fmla="*/ 0 w 571"/>
                <a:gd name="T31" fmla="*/ 0 h 443"/>
                <a:gd name="T32" fmla="*/ 0 w 571"/>
                <a:gd name="T33" fmla="*/ 0 h 443"/>
                <a:gd name="T34" fmla="*/ 0 w 571"/>
                <a:gd name="T35" fmla="*/ 0 h 443"/>
                <a:gd name="T36" fmla="*/ 0 w 571"/>
                <a:gd name="T37" fmla="*/ 0 h 443"/>
                <a:gd name="T38" fmla="*/ 0 w 571"/>
                <a:gd name="T39" fmla="*/ 0 h 443"/>
                <a:gd name="T40" fmla="*/ 0 w 571"/>
                <a:gd name="T41" fmla="*/ 0 h 443"/>
                <a:gd name="T42" fmla="*/ 0 w 571"/>
                <a:gd name="T43" fmla="*/ 0 h 443"/>
                <a:gd name="T44" fmla="*/ 0 w 571"/>
                <a:gd name="T45" fmla="*/ 0 h 443"/>
                <a:gd name="T46" fmla="*/ 0 w 571"/>
                <a:gd name="T47" fmla="*/ 0 h 443"/>
                <a:gd name="T48" fmla="*/ 0 w 571"/>
                <a:gd name="T49" fmla="*/ 0 h 443"/>
                <a:gd name="T50" fmla="*/ 0 w 571"/>
                <a:gd name="T51" fmla="*/ 0 h 443"/>
                <a:gd name="T52" fmla="*/ 0 w 571"/>
                <a:gd name="T53" fmla="*/ 0 h 443"/>
                <a:gd name="T54" fmla="*/ 0 w 571"/>
                <a:gd name="T55" fmla="*/ 0 h 443"/>
                <a:gd name="T56" fmla="*/ 0 w 571"/>
                <a:gd name="T57" fmla="*/ 0 h 443"/>
                <a:gd name="T58" fmla="*/ 0 w 571"/>
                <a:gd name="T59" fmla="*/ 0 h 443"/>
                <a:gd name="T60" fmla="*/ 0 w 571"/>
                <a:gd name="T61" fmla="*/ 0 h 443"/>
                <a:gd name="T62" fmla="*/ 0 w 571"/>
                <a:gd name="T63" fmla="*/ 0 h 443"/>
                <a:gd name="T64" fmla="*/ 0 w 571"/>
                <a:gd name="T65" fmla="*/ 0 h 443"/>
                <a:gd name="T66" fmla="*/ 0 w 571"/>
                <a:gd name="T67" fmla="*/ 0 h 443"/>
                <a:gd name="T68" fmla="*/ 0 w 571"/>
                <a:gd name="T69" fmla="*/ 0 h 443"/>
                <a:gd name="T70" fmla="*/ 0 w 571"/>
                <a:gd name="T71" fmla="*/ 0 h 443"/>
                <a:gd name="T72" fmla="*/ 0 w 571"/>
                <a:gd name="T73" fmla="*/ 0 h 443"/>
                <a:gd name="T74" fmla="*/ 0 w 571"/>
                <a:gd name="T75" fmla="*/ 0 h 443"/>
                <a:gd name="T76" fmla="*/ 0 w 571"/>
                <a:gd name="T77" fmla="*/ 0 h 443"/>
                <a:gd name="T78" fmla="*/ 0 w 571"/>
                <a:gd name="T79" fmla="*/ 0 h 443"/>
                <a:gd name="T80" fmla="*/ 0 w 571"/>
                <a:gd name="T81" fmla="*/ 0 h 443"/>
                <a:gd name="T82" fmla="*/ 0 w 571"/>
                <a:gd name="T83" fmla="*/ 0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7" name="Freeform 824"/>
            <p:cNvSpPr>
              <a:spLocks/>
            </p:cNvSpPr>
            <p:nvPr>
              <p:custDataLst>
                <p:tags r:id="rId185"/>
              </p:custDataLst>
            </p:nvPr>
          </p:nvSpPr>
          <p:spPr bwMode="auto">
            <a:xfrm>
              <a:off x="3590" y="1781"/>
              <a:ext cx="83" cy="76"/>
            </a:xfrm>
            <a:custGeom>
              <a:avLst/>
              <a:gdLst>
                <a:gd name="T0" fmla="*/ 0 w 286"/>
                <a:gd name="T1" fmla="*/ 0 h 228"/>
                <a:gd name="T2" fmla="*/ 0 w 286"/>
                <a:gd name="T3" fmla="*/ 0 h 228"/>
                <a:gd name="T4" fmla="*/ 0 w 286"/>
                <a:gd name="T5" fmla="*/ 0 h 228"/>
                <a:gd name="T6" fmla="*/ 0 w 286"/>
                <a:gd name="T7" fmla="*/ 0 h 228"/>
                <a:gd name="T8" fmla="*/ 0 w 286"/>
                <a:gd name="T9" fmla="*/ 0 h 228"/>
                <a:gd name="T10" fmla="*/ 0 w 286"/>
                <a:gd name="T11" fmla="*/ 0 h 228"/>
                <a:gd name="T12" fmla="*/ 0 w 286"/>
                <a:gd name="T13" fmla="*/ 0 h 228"/>
                <a:gd name="T14" fmla="*/ 0 w 286"/>
                <a:gd name="T15" fmla="*/ 0 h 228"/>
                <a:gd name="T16" fmla="*/ 0 w 286"/>
                <a:gd name="T17" fmla="*/ 0 h 228"/>
                <a:gd name="T18" fmla="*/ 0 w 286"/>
                <a:gd name="T19" fmla="*/ 0 h 228"/>
                <a:gd name="T20" fmla="*/ 0 w 286"/>
                <a:gd name="T21" fmla="*/ 0 h 228"/>
                <a:gd name="T22" fmla="*/ 0 w 286"/>
                <a:gd name="T23" fmla="*/ 0 h 228"/>
                <a:gd name="T24" fmla="*/ 0 w 286"/>
                <a:gd name="T25" fmla="*/ 0 h 228"/>
                <a:gd name="T26" fmla="*/ 0 w 286"/>
                <a:gd name="T27" fmla="*/ 0 h 228"/>
                <a:gd name="T28" fmla="*/ 0 w 286"/>
                <a:gd name="T29" fmla="*/ 0 h 228"/>
                <a:gd name="T30" fmla="*/ 0 w 286"/>
                <a:gd name="T31" fmla="*/ 0 h 228"/>
                <a:gd name="T32" fmla="*/ 0 w 286"/>
                <a:gd name="T33" fmla="*/ 0 h 228"/>
                <a:gd name="T34" fmla="*/ 0 w 286"/>
                <a:gd name="T35" fmla="*/ 0 h 228"/>
                <a:gd name="T36" fmla="*/ 0 w 286"/>
                <a:gd name="T37" fmla="*/ 0 h 228"/>
                <a:gd name="T38" fmla="*/ 0 w 286"/>
                <a:gd name="T39" fmla="*/ 0 h 228"/>
                <a:gd name="T40" fmla="*/ 0 w 286"/>
                <a:gd name="T41" fmla="*/ 0 h 228"/>
                <a:gd name="T42" fmla="*/ 0 w 286"/>
                <a:gd name="T43" fmla="*/ 0 h 228"/>
                <a:gd name="T44" fmla="*/ 0 w 286"/>
                <a:gd name="T45" fmla="*/ 0 h 228"/>
                <a:gd name="T46" fmla="*/ 0 w 286"/>
                <a:gd name="T47" fmla="*/ 0 h 228"/>
                <a:gd name="T48" fmla="*/ 0 w 286"/>
                <a:gd name="T49" fmla="*/ 0 h 228"/>
                <a:gd name="T50" fmla="*/ 0 w 286"/>
                <a:gd name="T51" fmla="*/ 0 h 228"/>
                <a:gd name="T52" fmla="*/ 0 w 286"/>
                <a:gd name="T53" fmla="*/ 0 h 228"/>
                <a:gd name="T54" fmla="*/ 0 w 286"/>
                <a:gd name="T55" fmla="*/ 0 h 228"/>
                <a:gd name="T56" fmla="*/ 0 w 286"/>
                <a:gd name="T57" fmla="*/ 0 h 228"/>
                <a:gd name="T58" fmla="*/ 0 w 286"/>
                <a:gd name="T59" fmla="*/ 0 h 228"/>
                <a:gd name="T60" fmla="*/ 0 w 286"/>
                <a:gd name="T61" fmla="*/ 0 h 228"/>
                <a:gd name="T62" fmla="*/ 0 w 286"/>
                <a:gd name="T63" fmla="*/ 0 h 228"/>
                <a:gd name="T64" fmla="*/ 0 w 286"/>
                <a:gd name="T65" fmla="*/ 0 h 228"/>
                <a:gd name="T66" fmla="*/ 0 w 286"/>
                <a:gd name="T67" fmla="*/ 0 h 228"/>
                <a:gd name="T68" fmla="*/ 0 w 286"/>
                <a:gd name="T69" fmla="*/ 0 h 228"/>
                <a:gd name="T70" fmla="*/ 0 w 286"/>
                <a:gd name="T71" fmla="*/ 0 h 228"/>
                <a:gd name="T72" fmla="*/ 0 w 286"/>
                <a:gd name="T73" fmla="*/ 0 h 228"/>
                <a:gd name="T74" fmla="*/ 0 w 286"/>
                <a:gd name="T75" fmla="*/ 0 h 228"/>
                <a:gd name="T76" fmla="*/ 0 w 286"/>
                <a:gd name="T77" fmla="*/ 0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8" name="Freeform 825"/>
            <p:cNvSpPr>
              <a:spLocks/>
            </p:cNvSpPr>
            <p:nvPr>
              <p:custDataLst>
                <p:tags r:id="rId186"/>
              </p:custDataLst>
            </p:nvPr>
          </p:nvSpPr>
          <p:spPr bwMode="auto">
            <a:xfrm>
              <a:off x="3377" y="1562"/>
              <a:ext cx="151" cy="166"/>
            </a:xfrm>
            <a:custGeom>
              <a:avLst/>
              <a:gdLst>
                <a:gd name="T0" fmla="*/ 0 w 524"/>
                <a:gd name="T1" fmla="*/ 0 h 505"/>
                <a:gd name="T2" fmla="*/ 0 w 524"/>
                <a:gd name="T3" fmla="*/ 0 h 505"/>
                <a:gd name="T4" fmla="*/ 0 w 524"/>
                <a:gd name="T5" fmla="*/ 0 h 505"/>
                <a:gd name="T6" fmla="*/ 0 w 524"/>
                <a:gd name="T7" fmla="*/ 0 h 505"/>
                <a:gd name="T8" fmla="*/ 0 w 524"/>
                <a:gd name="T9" fmla="*/ 0 h 505"/>
                <a:gd name="T10" fmla="*/ 0 w 524"/>
                <a:gd name="T11" fmla="*/ 0 h 505"/>
                <a:gd name="T12" fmla="*/ 0 w 524"/>
                <a:gd name="T13" fmla="*/ 0 h 505"/>
                <a:gd name="T14" fmla="*/ 0 w 524"/>
                <a:gd name="T15" fmla="*/ 0 h 505"/>
                <a:gd name="T16" fmla="*/ 0 w 524"/>
                <a:gd name="T17" fmla="*/ 0 h 505"/>
                <a:gd name="T18" fmla="*/ 0 w 524"/>
                <a:gd name="T19" fmla="*/ 0 h 505"/>
                <a:gd name="T20" fmla="*/ 0 w 524"/>
                <a:gd name="T21" fmla="*/ 0 h 505"/>
                <a:gd name="T22" fmla="*/ 0 w 524"/>
                <a:gd name="T23" fmla="*/ 0 h 505"/>
                <a:gd name="T24" fmla="*/ 0 w 524"/>
                <a:gd name="T25" fmla="*/ 0 h 505"/>
                <a:gd name="T26" fmla="*/ 0 w 524"/>
                <a:gd name="T27" fmla="*/ 0 h 505"/>
                <a:gd name="T28" fmla="*/ 0 w 524"/>
                <a:gd name="T29" fmla="*/ 0 h 505"/>
                <a:gd name="T30" fmla="*/ 0 w 524"/>
                <a:gd name="T31" fmla="*/ 0 h 505"/>
                <a:gd name="T32" fmla="*/ 0 w 524"/>
                <a:gd name="T33" fmla="*/ 0 h 505"/>
                <a:gd name="T34" fmla="*/ 0 w 524"/>
                <a:gd name="T35" fmla="*/ 0 h 505"/>
                <a:gd name="T36" fmla="*/ 0 w 524"/>
                <a:gd name="T37" fmla="*/ 0 h 505"/>
                <a:gd name="T38" fmla="*/ 0 w 524"/>
                <a:gd name="T39" fmla="*/ 0 h 505"/>
                <a:gd name="T40" fmla="*/ 0 w 524"/>
                <a:gd name="T41" fmla="*/ 0 h 505"/>
                <a:gd name="T42" fmla="*/ 0 w 524"/>
                <a:gd name="T43" fmla="*/ 0 h 505"/>
                <a:gd name="T44" fmla="*/ 0 w 524"/>
                <a:gd name="T45" fmla="*/ 0 h 505"/>
                <a:gd name="T46" fmla="*/ 0 w 524"/>
                <a:gd name="T47" fmla="*/ 0 h 505"/>
                <a:gd name="T48" fmla="*/ 0 w 524"/>
                <a:gd name="T49" fmla="*/ 0 h 505"/>
                <a:gd name="T50" fmla="*/ 0 w 524"/>
                <a:gd name="T51" fmla="*/ 0 h 505"/>
                <a:gd name="T52" fmla="*/ 0 w 524"/>
                <a:gd name="T53" fmla="*/ 0 h 505"/>
                <a:gd name="T54" fmla="*/ 0 w 524"/>
                <a:gd name="T55" fmla="*/ 0 h 505"/>
                <a:gd name="T56" fmla="*/ 0 w 524"/>
                <a:gd name="T57" fmla="*/ 0 h 505"/>
                <a:gd name="T58" fmla="*/ 0 w 524"/>
                <a:gd name="T59" fmla="*/ 0 h 505"/>
                <a:gd name="T60" fmla="*/ 0 w 524"/>
                <a:gd name="T61" fmla="*/ 0 h 505"/>
                <a:gd name="T62" fmla="*/ 0 w 524"/>
                <a:gd name="T63" fmla="*/ 0 h 505"/>
                <a:gd name="T64" fmla="*/ 0 w 524"/>
                <a:gd name="T65" fmla="*/ 0 h 505"/>
                <a:gd name="T66" fmla="*/ 0 w 524"/>
                <a:gd name="T67" fmla="*/ 0 h 505"/>
                <a:gd name="T68" fmla="*/ 0 w 524"/>
                <a:gd name="T69" fmla="*/ 0 h 505"/>
                <a:gd name="T70" fmla="*/ 0 w 524"/>
                <a:gd name="T71" fmla="*/ 0 h 505"/>
                <a:gd name="T72" fmla="*/ 0 w 524"/>
                <a:gd name="T73" fmla="*/ 0 h 505"/>
                <a:gd name="T74" fmla="*/ 0 w 524"/>
                <a:gd name="T75" fmla="*/ 0 h 505"/>
                <a:gd name="T76" fmla="*/ 0 w 524"/>
                <a:gd name="T77" fmla="*/ 0 h 505"/>
                <a:gd name="T78" fmla="*/ 0 w 524"/>
                <a:gd name="T79" fmla="*/ 0 h 505"/>
                <a:gd name="T80" fmla="*/ 0 w 524"/>
                <a:gd name="T81" fmla="*/ 0 h 505"/>
                <a:gd name="T82" fmla="*/ 0 w 524"/>
                <a:gd name="T83" fmla="*/ 0 h 505"/>
                <a:gd name="T84" fmla="*/ 0 w 524"/>
                <a:gd name="T85" fmla="*/ 0 h 505"/>
                <a:gd name="T86" fmla="*/ 0 w 524"/>
                <a:gd name="T87" fmla="*/ 0 h 505"/>
                <a:gd name="T88" fmla="*/ 0 w 524"/>
                <a:gd name="T89" fmla="*/ 0 h 505"/>
                <a:gd name="T90" fmla="*/ 0 w 524"/>
                <a:gd name="T91" fmla="*/ 0 h 505"/>
                <a:gd name="T92" fmla="*/ 0 w 524"/>
                <a:gd name="T93" fmla="*/ 0 h 505"/>
                <a:gd name="T94" fmla="*/ 0 w 524"/>
                <a:gd name="T95" fmla="*/ 0 h 505"/>
                <a:gd name="T96" fmla="*/ 0 w 524"/>
                <a:gd name="T97" fmla="*/ 0 h 505"/>
                <a:gd name="T98" fmla="*/ 0 w 524"/>
                <a:gd name="T99" fmla="*/ 0 h 505"/>
                <a:gd name="T100" fmla="*/ 0 w 524"/>
                <a:gd name="T101" fmla="*/ 0 h 505"/>
                <a:gd name="T102" fmla="*/ 0 w 524"/>
                <a:gd name="T103" fmla="*/ 0 h 505"/>
                <a:gd name="T104" fmla="*/ 0 w 524"/>
                <a:gd name="T105" fmla="*/ 0 h 505"/>
                <a:gd name="T106" fmla="*/ 0 w 524"/>
                <a:gd name="T107" fmla="*/ 0 h 505"/>
                <a:gd name="T108" fmla="*/ 0 w 524"/>
                <a:gd name="T109" fmla="*/ 0 h 505"/>
                <a:gd name="T110" fmla="*/ 0 w 524"/>
                <a:gd name="T111" fmla="*/ 0 h 505"/>
                <a:gd name="T112" fmla="*/ 0 w 524"/>
                <a:gd name="T113" fmla="*/ 0 h 505"/>
                <a:gd name="T114" fmla="*/ 0 w 524"/>
                <a:gd name="T115" fmla="*/ 0 h 505"/>
                <a:gd name="T116" fmla="*/ 0 w 524"/>
                <a:gd name="T117" fmla="*/ 0 h 505"/>
                <a:gd name="T118" fmla="*/ 0 w 524"/>
                <a:gd name="T119" fmla="*/ 0 h 505"/>
                <a:gd name="T120" fmla="*/ 0 w 524"/>
                <a:gd name="T121" fmla="*/ 0 h 505"/>
                <a:gd name="T122" fmla="*/ 0 w 524"/>
                <a:gd name="T123" fmla="*/ 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9" name="Freeform 826"/>
            <p:cNvSpPr>
              <a:spLocks/>
            </p:cNvSpPr>
            <p:nvPr>
              <p:custDataLst>
                <p:tags r:id="rId187"/>
              </p:custDataLst>
            </p:nvPr>
          </p:nvSpPr>
          <p:spPr bwMode="auto">
            <a:xfrm>
              <a:off x="3718" y="1537"/>
              <a:ext cx="226" cy="183"/>
            </a:xfrm>
            <a:custGeom>
              <a:avLst/>
              <a:gdLst>
                <a:gd name="T0" fmla="*/ 0 w 764"/>
                <a:gd name="T1" fmla="*/ 0 h 555"/>
                <a:gd name="T2" fmla="*/ 0 w 764"/>
                <a:gd name="T3" fmla="*/ 0 h 555"/>
                <a:gd name="T4" fmla="*/ 0 w 764"/>
                <a:gd name="T5" fmla="*/ 0 h 555"/>
                <a:gd name="T6" fmla="*/ 0 w 764"/>
                <a:gd name="T7" fmla="*/ 0 h 555"/>
                <a:gd name="T8" fmla="*/ 0 w 764"/>
                <a:gd name="T9" fmla="*/ 0 h 555"/>
                <a:gd name="T10" fmla="*/ 0 w 764"/>
                <a:gd name="T11" fmla="*/ 0 h 555"/>
                <a:gd name="T12" fmla="*/ 0 w 764"/>
                <a:gd name="T13" fmla="*/ 0 h 555"/>
                <a:gd name="T14" fmla="*/ 0 w 764"/>
                <a:gd name="T15" fmla="*/ 0 h 555"/>
                <a:gd name="T16" fmla="*/ 0 w 764"/>
                <a:gd name="T17" fmla="*/ 0 h 555"/>
                <a:gd name="T18" fmla="*/ 0 w 764"/>
                <a:gd name="T19" fmla="*/ 0 h 555"/>
                <a:gd name="T20" fmla="*/ 0 w 764"/>
                <a:gd name="T21" fmla="*/ 0 h 555"/>
                <a:gd name="T22" fmla="*/ 0 w 764"/>
                <a:gd name="T23" fmla="*/ 0 h 555"/>
                <a:gd name="T24" fmla="*/ 0 w 764"/>
                <a:gd name="T25" fmla="*/ 0 h 555"/>
                <a:gd name="T26" fmla="*/ 0 w 764"/>
                <a:gd name="T27" fmla="*/ 0 h 555"/>
                <a:gd name="T28" fmla="*/ 0 w 764"/>
                <a:gd name="T29" fmla="*/ 0 h 555"/>
                <a:gd name="T30" fmla="*/ 0 w 764"/>
                <a:gd name="T31" fmla="*/ 0 h 555"/>
                <a:gd name="T32" fmla="*/ 0 w 764"/>
                <a:gd name="T33" fmla="*/ 0 h 555"/>
                <a:gd name="T34" fmla="*/ 0 w 764"/>
                <a:gd name="T35" fmla="*/ 0 h 555"/>
                <a:gd name="T36" fmla="*/ 0 w 764"/>
                <a:gd name="T37" fmla="*/ 0 h 555"/>
                <a:gd name="T38" fmla="*/ 0 w 764"/>
                <a:gd name="T39" fmla="*/ 0 h 555"/>
                <a:gd name="T40" fmla="*/ 0 w 764"/>
                <a:gd name="T41" fmla="*/ 0 h 555"/>
                <a:gd name="T42" fmla="*/ 0 w 764"/>
                <a:gd name="T43" fmla="*/ 0 h 555"/>
                <a:gd name="T44" fmla="*/ 0 w 764"/>
                <a:gd name="T45" fmla="*/ 0 h 555"/>
                <a:gd name="T46" fmla="*/ 0 w 764"/>
                <a:gd name="T47" fmla="*/ 0 h 555"/>
                <a:gd name="T48" fmla="*/ 0 w 764"/>
                <a:gd name="T49" fmla="*/ 0 h 555"/>
                <a:gd name="T50" fmla="*/ 0 w 764"/>
                <a:gd name="T51" fmla="*/ 0 h 555"/>
                <a:gd name="T52" fmla="*/ 0 w 764"/>
                <a:gd name="T53" fmla="*/ 0 h 555"/>
                <a:gd name="T54" fmla="*/ 0 w 764"/>
                <a:gd name="T55" fmla="*/ 0 h 555"/>
                <a:gd name="T56" fmla="*/ 0 w 764"/>
                <a:gd name="T57" fmla="*/ 0 h 555"/>
                <a:gd name="T58" fmla="*/ 0 w 764"/>
                <a:gd name="T59" fmla="*/ 0 h 555"/>
                <a:gd name="T60" fmla="*/ 0 w 764"/>
                <a:gd name="T61" fmla="*/ 0 h 555"/>
                <a:gd name="T62" fmla="*/ 0 w 764"/>
                <a:gd name="T63" fmla="*/ 0 h 555"/>
                <a:gd name="T64" fmla="*/ 0 w 764"/>
                <a:gd name="T65" fmla="*/ 0 h 555"/>
                <a:gd name="T66" fmla="*/ 0 w 764"/>
                <a:gd name="T67" fmla="*/ 0 h 555"/>
                <a:gd name="T68" fmla="*/ 0 w 764"/>
                <a:gd name="T69" fmla="*/ 0 h 555"/>
                <a:gd name="T70" fmla="*/ 0 w 764"/>
                <a:gd name="T71" fmla="*/ 0 h 555"/>
                <a:gd name="T72" fmla="*/ 0 w 764"/>
                <a:gd name="T73" fmla="*/ 0 h 555"/>
                <a:gd name="T74" fmla="*/ 0 w 764"/>
                <a:gd name="T75" fmla="*/ 0 h 555"/>
                <a:gd name="T76" fmla="*/ 0 w 764"/>
                <a:gd name="T77" fmla="*/ 0 h 555"/>
                <a:gd name="T78" fmla="*/ 0 w 764"/>
                <a:gd name="T79" fmla="*/ 0 h 555"/>
                <a:gd name="T80" fmla="*/ 0 w 764"/>
                <a:gd name="T81" fmla="*/ 0 h 555"/>
                <a:gd name="T82" fmla="*/ 0 w 764"/>
                <a:gd name="T83" fmla="*/ 0 h 555"/>
                <a:gd name="T84" fmla="*/ 0 w 764"/>
                <a:gd name="T85" fmla="*/ 0 h 555"/>
                <a:gd name="T86" fmla="*/ 0 w 764"/>
                <a:gd name="T87" fmla="*/ 0 h 555"/>
                <a:gd name="T88" fmla="*/ 0 w 764"/>
                <a:gd name="T89" fmla="*/ 0 h 555"/>
                <a:gd name="T90" fmla="*/ 0 w 764"/>
                <a:gd name="T91" fmla="*/ 0 h 555"/>
                <a:gd name="T92" fmla="*/ 0 w 764"/>
                <a:gd name="T93" fmla="*/ 0 h 555"/>
                <a:gd name="T94" fmla="*/ 0 w 764"/>
                <a:gd name="T95" fmla="*/ 0 h 555"/>
                <a:gd name="T96" fmla="*/ 0 w 764"/>
                <a:gd name="T97" fmla="*/ 0 h 555"/>
                <a:gd name="T98" fmla="*/ 0 w 764"/>
                <a:gd name="T99" fmla="*/ 0 h 555"/>
                <a:gd name="T100" fmla="*/ 0 w 764"/>
                <a:gd name="T101" fmla="*/ 0 h 555"/>
                <a:gd name="T102" fmla="*/ 0 w 764"/>
                <a:gd name="T103" fmla="*/ 0 h 555"/>
                <a:gd name="T104" fmla="*/ 0 w 764"/>
                <a:gd name="T105" fmla="*/ 0 h 555"/>
                <a:gd name="T106" fmla="*/ 0 w 764"/>
                <a:gd name="T107" fmla="*/ 0 h 555"/>
                <a:gd name="T108" fmla="*/ 0 w 764"/>
                <a:gd name="T109" fmla="*/ 0 h 555"/>
                <a:gd name="T110" fmla="*/ 0 w 764"/>
                <a:gd name="T111" fmla="*/ 0 h 555"/>
                <a:gd name="T112" fmla="*/ 0 w 764"/>
                <a:gd name="T113" fmla="*/ 0 h 555"/>
                <a:gd name="T114" fmla="*/ 0 w 764"/>
                <a:gd name="T115" fmla="*/ 0 h 555"/>
                <a:gd name="T116" fmla="*/ 0 w 764"/>
                <a:gd name="T117" fmla="*/ 0 h 555"/>
                <a:gd name="T118" fmla="*/ 0 w 764"/>
                <a:gd name="T119" fmla="*/ 0 h 555"/>
                <a:gd name="T120" fmla="*/ 0 w 764"/>
                <a:gd name="T121" fmla="*/ 0 h 555"/>
                <a:gd name="T122" fmla="*/ 0 w 764"/>
                <a:gd name="T123" fmla="*/ 0 h 555"/>
                <a:gd name="T124" fmla="*/ 0 w 764"/>
                <a:gd name="T125" fmla="*/ 0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0" name="Freeform 827"/>
            <p:cNvSpPr>
              <a:spLocks/>
            </p:cNvSpPr>
            <p:nvPr>
              <p:custDataLst>
                <p:tags r:id="rId188"/>
              </p:custDataLst>
            </p:nvPr>
          </p:nvSpPr>
          <p:spPr bwMode="auto">
            <a:xfrm>
              <a:off x="3740" y="1568"/>
              <a:ext cx="249" cy="267"/>
            </a:xfrm>
            <a:custGeom>
              <a:avLst/>
              <a:gdLst>
                <a:gd name="T0" fmla="*/ 0 w 831"/>
                <a:gd name="T1" fmla="*/ 0 h 812"/>
                <a:gd name="T2" fmla="*/ 0 w 831"/>
                <a:gd name="T3" fmla="*/ 0 h 812"/>
                <a:gd name="T4" fmla="*/ 0 w 831"/>
                <a:gd name="T5" fmla="*/ 0 h 812"/>
                <a:gd name="T6" fmla="*/ 0 w 831"/>
                <a:gd name="T7" fmla="*/ 0 h 812"/>
                <a:gd name="T8" fmla="*/ 0 w 831"/>
                <a:gd name="T9" fmla="*/ 0 h 812"/>
                <a:gd name="T10" fmla="*/ 0 w 831"/>
                <a:gd name="T11" fmla="*/ 0 h 812"/>
                <a:gd name="T12" fmla="*/ 0 w 831"/>
                <a:gd name="T13" fmla="*/ 0 h 812"/>
                <a:gd name="T14" fmla="*/ 0 w 831"/>
                <a:gd name="T15" fmla="*/ 0 h 812"/>
                <a:gd name="T16" fmla="*/ 0 w 831"/>
                <a:gd name="T17" fmla="*/ 0 h 812"/>
                <a:gd name="T18" fmla="*/ 0 w 831"/>
                <a:gd name="T19" fmla="*/ 0 h 812"/>
                <a:gd name="T20" fmla="*/ 0 w 831"/>
                <a:gd name="T21" fmla="*/ 0 h 812"/>
                <a:gd name="T22" fmla="*/ 0 w 831"/>
                <a:gd name="T23" fmla="*/ 0 h 812"/>
                <a:gd name="T24" fmla="*/ 0 w 831"/>
                <a:gd name="T25" fmla="*/ 0 h 812"/>
                <a:gd name="T26" fmla="*/ 0 w 831"/>
                <a:gd name="T27" fmla="*/ 0 h 812"/>
                <a:gd name="T28" fmla="*/ 0 w 831"/>
                <a:gd name="T29" fmla="*/ 0 h 812"/>
                <a:gd name="T30" fmla="*/ 0 w 831"/>
                <a:gd name="T31" fmla="*/ 0 h 812"/>
                <a:gd name="T32" fmla="*/ 0 w 831"/>
                <a:gd name="T33" fmla="*/ 0 h 812"/>
                <a:gd name="T34" fmla="*/ 0 w 831"/>
                <a:gd name="T35" fmla="*/ 0 h 812"/>
                <a:gd name="T36" fmla="*/ 0 w 831"/>
                <a:gd name="T37" fmla="*/ 0 h 812"/>
                <a:gd name="T38" fmla="*/ 0 w 831"/>
                <a:gd name="T39" fmla="*/ 0 h 812"/>
                <a:gd name="T40" fmla="*/ 0 w 831"/>
                <a:gd name="T41" fmla="*/ 0 h 812"/>
                <a:gd name="T42" fmla="*/ 0 w 831"/>
                <a:gd name="T43" fmla="*/ 0 h 812"/>
                <a:gd name="T44" fmla="*/ 0 w 831"/>
                <a:gd name="T45" fmla="*/ 0 h 812"/>
                <a:gd name="T46" fmla="*/ 0 w 831"/>
                <a:gd name="T47" fmla="*/ 0 h 812"/>
                <a:gd name="T48" fmla="*/ 0 w 831"/>
                <a:gd name="T49" fmla="*/ 0 h 812"/>
                <a:gd name="T50" fmla="*/ 0 w 831"/>
                <a:gd name="T51" fmla="*/ 0 h 812"/>
                <a:gd name="T52" fmla="*/ 0 w 831"/>
                <a:gd name="T53" fmla="*/ 0 h 812"/>
                <a:gd name="T54" fmla="*/ 0 w 831"/>
                <a:gd name="T55" fmla="*/ 0 h 812"/>
                <a:gd name="T56" fmla="*/ 0 w 831"/>
                <a:gd name="T57" fmla="*/ 0 h 812"/>
                <a:gd name="T58" fmla="*/ 0 w 831"/>
                <a:gd name="T59" fmla="*/ 0 h 812"/>
                <a:gd name="T60" fmla="*/ 0 w 831"/>
                <a:gd name="T61" fmla="*/ 0 h 812"/>
                <a:gd name="T62" fmla="*/ 0 w 831"/>
                <a:gd name="T63" fmla="*/ 0 h 812"/>
                <a:gd name="T64" fmla="*/ 0 w 831"/>
                <a:gd name="T65" fmla="*/ 0 h 812"/>
                <a:gd name="T66" fmla="*/ 0 w 831"/>
                <a:gd name="T67" fmla="*/ 0 h 812"/>
                <a:gd name="T68" fmla="*/ 0 w 831"/>
                <a:gd name="T69" fmla="*/ 0 h 812"/>
                <a:gd name="T70" fmla="*/ 0 w 831"/>
                <a:gd name="T71" fmla="*/ 0 h 812"/>
                <a:gd name="T72" fmla="*/ 0 w 831"/>
                <a:gd name="T73" fmla="*/ 0 h 812"/>
                <a:gd name="T74" fmla="*/ 0 w 831"/>
                <a:gd name="T75" fmla="*/ 0 h 812"/>
                <a:gd name="T76" fmla="*/ 0 w 831"/>
                <a:gd name="T77" fmla="*/ 0 h 812"/>
                <a:gd name="T78" fmla="*/ 0 w 831"/>
                <a:gd name="T79" fmla="*/ 0 h 812"/>
                <a:gd name="T80" fmla="*/ 0 w 831"/>
                <a:gd name="T81" fmla="*/ 0 h 812"/>
                <a:gd name="T82" fmla="*/ 0 w 831"/>
                <a:gd name="T83" fmla="*/ 0 h 812"/>
                <a:gd name="T84" fmla="*/ 0 w 831"/>
                <a:gd name="T85" fmla="*/ 0 h 812"/>
                <a:gd name="T86" fmla="*/ 0 w 831"/>
                <a:gd name="T87" fmla="*/ 0 h 812"/>
                <a:gd name="T88" fmla="*/ 0 w 831"/>
                <a:gd name="T89" fmla="*/ 0 h 812"/>
                <a:gd name="T90" fmla="*/ 0 w 831"/>
                <a:gd name="T91" fmla="*/ 0 h 812"/>
                <a:gd name="T92" fmla="*/ 0 w 831"/>
                <a:gd name="T93" fmla="*/ 0 h 812"/>
                <a:gd name="T94" fmla="*/ 0 w 831"/>
                <a:gd name="T95" fmla="*/ 0 h 812"/>
                <a:gd name="T96" fmla="*/ 0 w 831"/>
                <a:gd name="T97" fmla="*/ 0 h 812"/>
                <a:gd name="T98" fmla="*/ 0 w 831"/>
                <a:gd name="T99" fmla="*/ 0 h 812"/>
                <a:gd name="T100" fmla="*/ 0 w 831"/>
                <a:gd name="T101" fmla="*/ 0 h 812"/>
                <a:gd name="T102" fmla="*/ 0 w 831"/>
                <a:gd name="T103" fmla="*/ 0 h 812"/>
                <a:gd name="T104" fmla="*/ 0 w 831"/>
                <a:gd name="T105" fmla="*/ 0 h 812"/>
                <a:gd name="T106" fmla="*/ 0 w 831"/>
                <a:gd name="T107" fmla="*/ 0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1" name="Freeform 828"/>
            <p:cNvSpPr>
              <a:spLocks/>
            </p:cNvSpPr>
            <p:nvPr>
              <p:custDataLst>
                <p:tags r:id="rId189"/>
              </p:custDataLst>
            </p:nvPr>
          </p:nvSpPr>
          <p:spPr bwMode="auto">
            <a:xfrm>
              <a:off x="4279" y="1737"/>
              <a:ext cx="151" cy="369"/>
            </a:xfrm>
            <a:custGeom>
              <a:avLst/>
              <a:gdLst>
                <a:gd name="T0" fmla="*/ 0 w 505"/>
                <a:gd name="T1" fmla="*/ 0 h 1121"/>
                <a:gd name="T2" fmla="*/ 0 w 505"/>
                <a:gd name="T3" fmla="*/ 0 h 1121"/>
                <a:gd name="T4" fmla="*/ 0 w 505"/>
                <a:gd name="T5" fmla="*/ 0 h 1121"/>
                <a:gd name="T6" fmla="*/ 0 w 505"/>
                <a:gd name="T7" fmla="*/ 0 h 1121"/>
                <a:gd name="T8" fmla="*/ 0 w 505"/>
                <a:gd name="T9" fmla="*/ 0 h 1121"/>
                <a:gd name="T10" fmla="*/ 0 w 505"/>
                <a:gd name="T11" fmla="*/ 0 h 1121"/>
                <a:gd name="T12" fmla="*/ 0 w 505"/>
                <a:gd name="T13" fmla="*/ 0 h 1121"/>
                <a:gd name="T14" fmla="*/ 0 w 505"/>
                <a:gd name="T15" fmla="*/ 0 h 1121"/>
                <a:gd name="T16" fmla="*/ 0 w 505"/>
                <a:gd name="T17" fmla="*/ 0 h 1121"/>
                <a:gd name="T18" fmla="*/ 0 w 505"/>
                <a:gd name="T19" fmla="*/ 0 h 1121"/>
                <a:gd name="T20" fmla="*/ 0 w 505"/>
                <a:gd name="T21" fmla="*/ 0 h 1121"/>
                <a:gd name="T22" fmla="*/ 0 w 505"/>
                <a:gd name="T23" fmla="*/ 0 h 1121"/>
                <a:gd name="T24" fmla="*/ 0 w 505"/>
                <a:gd name="T25" fmla="*/ 0 h 1121"/>
                <a:gd name="T26" fmla="*/ 0 w 505"/>
                <a:gd name="T27" fmla="*/ 0 h 1121"/>
                <a:gd name="T28" fmla="*/ 0 w 505"/>
                <a:gd name="T29" fmla="*/ 0 h 1121"/>
                <a:gd name="T30" fmla="*/ 0 w 505"/>
                <a:gd name="T31" fmla="*/ 0 h 1121"/>
                <a:gd name="T32" fmla="*/ 0 w 505"/>
                <a:gd name="T33" fmla="*/ 0 h 1121"/>
                <a:gd name="T34" fmla="*/ 0 w 505"/>
                <a:gd name="T35" fmla="*/ 0 h 1121"/>
                <a:gd name="T36" fmla="*/ 0 w 505"/>
                <a:gd name="T37" fmla="*/ 0 h 1121"/>
                <a:gd name="T38" fmla="*/ 0 w 505"/>
                <a:gd name="T39" fmla="*/ 0 h 1121"/>
                <a:gd name="T40" fmla="*/ 0 w 505"/>
                <a:gd name="T41" fmla="*/ 0 h 1121"/>
                <a:gd name="T42" fmla="*/ 0 w 505"/>
                <a:gd name="T43" fmla="*/ 0 h 1121"/>
                <a:gd name="T44" fmla="*/ 0 w 505"/>
                <a:gd name="T45" fmla="*/ 0 h 1121"/>
                <a:gd name="T46" fmla="*/ 0 w 505"/>
                <a:gd name="T47" fmla="*/ 0 h 1121"/>
                <a:gd name="T48" fmla="*/ 0 w 505"/>
                <a:gd name="T49" fmla="*/ 0 h 1121"/>
                <a:gd name="T50" fmla="*/ 0 w 505"/>
                <a:gd name="T51" fmla="*/ 0 h 1121"/>
                <a:gd name="T52" fmla="*/ 0 w 505"/>
                <a:gd name="T53" fmla="*/ 0 h 1121"/>
                <a:gd name="T54" fmla="*/ 0 w 505"/>
                <a:gd name="T55" fmla="*/ 0 h 1121"/>
                <a:gd name="T56" fmla="*/ 0 w 505"/>
                <a:gd name="T57" fmla="*/ 0 h 1121"/>
                <a:gd name="T58" fmla="*/ 0 w 505"/>
                <a:gd name="T59" fmla="*/ 0 h 1121"/>
                <a:gd name="T60" fmla="*/ 0 w 505"/>
                <a:gd name="T61" fmla="*/ 0 h 1121"/>
                <a:gd name="T62" fmla="*/ 0 w 505"/>
                <a:gd name="T63" fmla="*/ 0 h 1121"/>
                <a:gd name="T64" fmla="*/ 0 w 505"/>
                <a:gd name="T65" fmla="*/ 0 h 1121"/>
                <a:gd name="T66" fmla="*/ 0 w 505"/>
                <a:gd name="T67" fmla="*/ 0 h 1121"/>
                <a:gd name="T68" fmla="*/ 0 w 505"/>
                <a:gd name="T69" fmla="*/ 0 h 1121"/>
                <a:gd name="T70" fmla="*/ 0 w 505"/>
                <a:gd name="T71" fmla="*/ 0 h 1121"/>
                <a:gd name="T72" fmla="*/ 0 w 505"/>
                <a:gd name="T73" fmla="*/ 0 h 1121"/>
                <a:gd name="T74" fmla="*/ 0 w 505"/>
                <a:gd name="T75" fmla="*/ 0 h 1121"/>
                <a:gd name="T76" fmla="*/ 0 w 505"/>
                <a:gd name="T77" fmla="*/ 0 h 1121"/>
                <a:gd name="T78" fmla="*/ 0 w 505"/>
                <a:gd name="T79" fmla="*/ 0 h 1121"/>
                <a:gd name="T80" fmla="*/ 0 w 505"/>
                <a:gd name="T81" fmla="*/ 0 h 1121"/>
                <a:gd name="T82" fmla="*/ 0 w 505"/>
                <a:gd name="T83" fmla="*/ 0 h 1121"/>
                <a:gd name="T84" fmla="*/ 0 w 505"/>
                <a:gd name="T85" fmla="*/ 0 h 1121"/>
                <a:gd name="T86" fmla="*/ 0 w 505"/>
                <a:gd name="T87" fmla="*/ 0 h 1121"/>
                <a:gd name="T88" fmla="*/ 0 w 505"/>
                <a:gd name="T89" fmla="*/ 0 h 1121"/>
                <a:gd name="T90" fmla="*/ 0 w 505"/>
                <a:gd name="T91" fmla="*/ 0 h 1121"/>
                <a:gd name="T92" fmla="*/ 0 w 505"/>
                <a:gd name="T93" fmla="*/ 0 h 1121"/>
                <a:gd name="T94" fmla="*/ 0 w 505"/>
                <a:gd name="T95" fmla="*/ 0 h 1121"/>
                <a:gd name="T96" fmla="*/ 0 w 505"/>
                <a:gd name="T97" fmla="*/ 0 h 1121"/>
                <a:gd name="T98" fmla="*/ 0 w 505"/>
                <a:gd name="T99" fmla="*/ 0 h 1121"/>
                <a:gd name="T100" fmla="*/ 0 w 505"/>
                <a:gd name="T101" fmla="*/ 0 h 1121"/>
                <a:gd name="T102" fmla="*/ 0 w 505"/>
                <a:gd name="T103" fmla="*/ 0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2" name="Freeform 829"/>
            <p:cNvSpPr>
              <a:spLocks/>
            </p:cNvSpPr>
            <p:nvPr>
              <p:custDataLst>
                <p:tags r:id="rId190"/>
              </p:custDataLst>
            </p:nvPr>
          </p:nvSpPr>
          <p:spPr bwMode="auto">
            <a:xfrm>
              <a:off x="2453" y="2058"/>
              <a:ext cx="55" cy="37"/>
            </a:xfrm>
            <a:custGeom>
              <a:avLst/>
              <a:gdLst>
                <a:gd name="T0" fmla="*/ 0 w 180"/>
                <a:gd name="T1" fmla="*/ 0 h 112"/>
                <a:gd name="T2" fmla="*/ 0 w 180"/>
                <a:gd name="T3" fmla="*/ 0 h 112"/>
                <a:gd name="T4" fmla="*/ 0 w 180"/>
                <a:gd name="T5" fmla="*/ 0 h 112"/>
                <a:gd name="T6" fmla="*/ 0 w 180"/>
                <a:gd name="T7" fmla="*/ 0 h 112"/>
                <a:gd name="T8" fmla="*/ 0 w 180"/>
                <a:gd name="T9" fmla="*/ 0 h 112"/>
                <a:gd name="T10" fmla="*/ 0 w 180"/>
                <a:gd name="T11" fmla="*/ 0 h 112"/>
                <a:gd name="T12" fmla="*/ 0 w 180"/>
                <a:gd name="T13" fmla="*/ 0 h 112"/>
                <a:gd name="T14" fmla="*/ 0 w 180"/>
                <a:gd name="T15" fmla="*/ 0 h 112"/>
                <a:gd name="T16" fmla="*/ 0 w 180"/>
                <a:gd name="T17" fmla="*/ 0 h 112"/>
                <a:gd name="T18" fmla="*/ 0 w 180"/>
                <a:gd name="T19" fmla="*/ 0 h 112"/>
                <a:gd name="T20" fmla="*/ 0 w 180"/>
                <a:gd name="T21" fmla="*/ 0 h 112"/>
                <a:gd name="T22" fmla="*/ 0 w 180"/>
                <a:gd name="T23" fmla="*/ 0 h 112"/>
                <a:gd name="T24" fmla="*/ 0 w 180"/>
                <a:gd name="T25" fmla="*/ 0 h 112"/>
                <a:gd name="T26" fmla="*/ 0 w 180"/>
                <a:gd name="T27" fmla="*/ 0 h 112"/>
                <a:gd name="T28" fmla="*/ 0 w 180"/>
                <a:gd name="T29" fmla="*/ 0 h 112"/>
                <a:gd name="T30" fmla="*/ 0 w 180"/>
                <a:gd name="T31" fmla="*/ 0 h 112"/>
                <a:gd name="T32" fmla="*/ 0 w 180"/>
                <a:gd name="T33" fmla="*/ 0 h 112"/>
                <a:gd name="T34" fmla="*/ 0 w 180"/>
                <a:gd name="T35" fmla="*/ 0 h 112"/>
                <a:gd name="T36" fmla="*/ 0 w 180"/>
                <a:gd name="T37" fmla="*/ 0 h 112"/>
                <a:gd name="T38" fmla="*/ 0 w 180"/>
                <a:gd name="T39" fmla="*/ 0 h 112"/>
                <a:gd name="T40" fmla="*/ 0 w 180"/>
                <a:gd name="T41" fmla="*/ 0 h 112"/>
                <a:gd name="T42" fmla="*/ 0 w 180"/>
                <a:gd name="T43" fmla="*/ 0 h 112"/>
                <a:gd name="T44" fmla="*/ 0 w 180"/>
                <a:gd name="T45" fmla="*/ 0 h 112"/>
                <a:gd name="T46" fmla="*/ 0 w 180"/>
                <a:gd name="T47" fmla="*/ 0 h 112"/>
                <a:gd name="T48" fmla="*/ 0 w 180"/>
                <a:gd name="T49" fmla="*/ 0 h 112"/>
                <a:gd name="T50" fmla="*/ 0 w 180"/>
                <a:gd name="T51" fmla="*/ 0 h 112"/>
                <a:gd name="T52" fmla="*/ 0 w 180"/>
                <a:gd name="T53" fmla="*/ 0 h 112"/>
                <a:gd name="T54" fmla="*/ 0 w 180"/>
                <a:gd name="T55" fmla="*/ 0 h 112"/>
                <a:gd name="T56" fmla="*/ 0 w 180"/>
                <a:gd name="T57" fmla="*/ 0 h 112"/>
                <a:gd name="T58" fmla="*/ 0 w 180"/>
                <a:gd name="T59" fmla="*/ 0 h 112"/>
                <a:gd name="T60" fmla="*/ 0 w 180"/>
                <a:gd name="T61" fmla="*/ 0 h 112"/>
                <a:gd name="T62" fmla="*/ 0 w 180"/>
                <a:gd name="T63" fmla="*/ 0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3" name="Freeform 830"/>
            <p:cNvSpPr>
              <a:spLocks/>
            </p:cNvSpPr>
            <p:nvPr>
              <p:custDataLst>
                <p:tags r:id="rId191"/>
              </p:custDataLst>
            </p:nvPr>
          </p:nvSpPr>
          <p:spPr bwMode="auto">
            <a:xfrm>
              <a:off x="2510" y="2110"/>
              <a:ext cx="51" cy="63"/>
            </a:xfrm>
            <a:custGeom>
              <a:avLst/>
              <a:gdLst>
                <a:gd name="T0" fmla="*/ 0 w 173"/>
                <a:gd name="T1" fmla="*/ 0 h 192"/>
                <a:gd name="T2" fmla="*/ 0 w 173"/>
                <a:gd name="T3" fmla="*/ 0 h 192"/>
                <a:gd name="T4" fmla="*/ 0 w 173"/>
                <a:gd name="T5" fmla="*/ 0 h 192"/>
                <a:gd name="T6" fmla="*/ 0 w 173"/>
                <a:gd name="T7" fmla="*/ 0 h 192"/>
                <a:gd name="T8" fmla="*/ 0 w 173"/>
                <a:gd name="T9" fmla="*/ 0 h 192"/>
                <a:gd name="T10" fmla="*/ 0 w 173"/>
                <a:gd name="T11" fmla="*/ 0 h 192"/>
                <a:gd name="T12" fmla="*/ 0 w 173"/>
                <a:gd name="T13" fmla="*/ 0 h 192"/>
                <a:gd name="T14" fmla="*/ 0 w 173"/>
                <a:gd name="T15" fmla="*/ 0 h 192"/>
                <a:gd name="T16" fmla="*/ 0 w 173"/>
                <a:gd name="T17" fmla="*/ 0 h 192"/>
                <a:gd name="T18" fmla="*/ 0 w 173"/>
                <a:gd name="T19" fmla="*/ 0 h 192"/>
                <a:gd name="T20" fmla="*/ 0 w 173"/>
                <a:gd name="T21" fmla="*/ 0 h 192"/>
                <a:gd name="T22" fmla="*/ 0 w 173"/>
                <a:gd name="T23" fmla="*/ 0 h 192"/>
                <a:gd name="T24" fmla="*/ 0 w 173"/>
                <a:gd name="T25" fmla="*/ 0 h 192"/>
                <a:gd name="T26" fmla="*/ 0 w 173"/>
                <a:gd name="T27" fmla="*/ 0 h 192"/>
                <a:gd name="T28" fmla="*/ 0 w 173"/>
                <a:gd name="T29" fmla="*/ 0 h 192"/>
                <a:gd name="T30" fmla="*/ 0 w 173"/>
                <a:gd name="T31" fmla="*/ 0 h 192"/>
                <a:gd name="T32" fmla="*/ 0 w 173"/>
                <a:gd name="T33" fmla="*/ 0 h 192"/>
                <a:gd name="T34" fmla="*/ 0 w 173"/>
                <a:gd name="T35" fmla="*/ 0 h 192"/>
                <a:gd name="T36" fmla="*/ 0 w 173"/>
                <a:gd name="T37" fmla="*/ 0 h 192"/>
                <a:gd name="T38" fmla="*/ 0 w 173"/>
                <a:gd name="T39" fmla="*/ 0 h 192"/>
                <a:gd name="T40" fmla="*/ 0 w 173"/>
                <a:gd name="T41" fmla="*/ 0 h 192"/>
                <a:gd name="T42" fmla="*/ 0 w 173"/>
                <a:gd name="T43" fmla="*/ 0 h 192"/>
                <a:gd name="T44" fmla="*/ 0 w 173"/>
                <a:gd name="T45" fmla="*/ 0 h 192"/>
                <a:gd name="T46" fmla="*/ 0 w 173"/>
                <a:gd name="T47" fmla="*/ 0 h 192"/>
                <a:gd name="T48" fmla="*/ 0 w 173"/>
                <a:gd name="T49" fmla="*/ 0 h 192"/>
                <a:gd name="T50" fmla="*/ 0 w 173"/>
                <a:gd name="T51" fmla="*/ 0 h 192"/>
                <a:gd name="T52" fmla="*/ 0 w 173"/>
                <a:gd name="T53" fmla="*/ 0 h 192"/>
                <a:gd name="T54" fmla="*/ 0 w 173"/>
                <a:gd name="T55" fmla="*/ 0 h 192"/>
                <a:gd name="T56" fmla="*/ 0 w 173"/>
                <a:gd name="T57" fmla="*/ 0 h 192"/>
                <a:gd name="T58" fmla="*/ 0 w 173"/>
                <a:gd name="T59" fmla="*/ 0 h 192"/>
                <a:gd name="T60" fmla="*/ 0 w 173"/>
                <a:gd name="T61" fmla="*/ 0 h 192"/>
                <a:gd name="T62" fmla="*/ 0 w 173"/>
                <a:gd name="T63" fmla="*/ 0 h 192"/>
                <a:gd name="T64" fmla="*/ 0 w 173"/>
                <a:gd name="T65" fmla="*/ 0 h 192"/>
                <a:gd name="T66" fmla="*/ 0 w 173"/>
                <a:gd name="T67" fmla="*/ 0 h 192"/>
                <a:gd name="T68" fmla="*/ 0 w 173"/>
                <a:gd name="T69" fmla="*/ 0 h 192"/>
                <a:gd name="T70" fmla="*/ 0 w 173"/>
                <a:gd name="T71" fmla="*/ 0 h 192"/>
                <a:gd name="T72" fmla="*/ 0 w 173"/>
                <a:gd name="T73" fmla="*/ 0 h 192"/>
                <a:gd name="T74" fmla="*/ 0 w 173"/>
                <a:gd name="T75" fmla="*/ 0 h 192"/>
                <a:gd name="T76" fmla="*/ 0 w 173"/>
                <a:gd name="T77" fmla="*/ 0 h 192"/>
                <a:gd name="T78" fmla="*/ 0 w 173"/>
                <a:gd name="T79" fmla="*/ 0 h 192"/>
                <a:gd name="T80" fmla="*/ 0 w 173"/>
                <a:gd name="T81" fmla="*/ 0 h 192"/>
                <a:gd name="T82" fmla="*/ 0 w 173"/>
                <a:gd name="T83" fmla="*/ 0 h 192"/>
                <a:gd name="T84" fmla="*/ 0 w 173"/>
                <a:gd name="T85" fmla="*/ 0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4" name="Freeform 831"/>
            <p:cNvSpPr>
              <a:spLocks/>
            </p:cNvSpPr>
            <p:nvPr>
              <p:custDataLst>
                <p:tags r:id="rId192"/>
              </p:custDataLst>
            </p:nvPr>
          </p:nvSpPr>
          <p:spPr bwMode="auto">
            <a:xfrm>
              <a:off x="2539" y="2142"/>
              <a:ext cx="72" cy="83"/>
            </a:xfrm>
            <a:custGeom>
              <a:avLst/>
              <a:gdLst>
                <a:gd name="T0" fmla="*/ 0 w 233"/>
                <a:gd name="T1" fmla="*/ 0 h 252"/>
                <a:gd name="T2" fmla="*/ 0 w 233"/>
                <a:gd name="T3" fmla="*/ 0 h 252"/>
                <a:gd name="T4" fmla="*/ 0 w 233"/>
                <a:gd name="T5" fmla="*/ 0 h 252"/>
                <a:gd name="T6" fmla="*/ 0 w 233"/>
                <a:gd name="T7" fmla="*/ 0 h 252"/>
                <a:gd name="T8" fmla="*/ 0 w 233"/>
                <a:gd name="T9" fmla="*/ 0 h 252"/>
                <a:gd name="T10" fmla="*/ 0 w 233"/>
                <a:gd name="T11" fmla="*/ 0 h 252"/>
                <a:gd name="T12" fmla="*/ 0 w 233"/>
                <a:gd name="T13" fmla="*/ 0 h 252"/>
                <a:gd name="T14" fmla="*/ 0 w 233"/>
                <a:gd name="T15" fmla="*/ 0 h 252"/>
                <a:gd name="T16" fmla="*/ 0 w 233"/>
                <a:gd name="T17" fmla="*/ 0 h 252"/>
                <a:gd name="T18" fmla="*/ 0 w 233"/>
                <a:gd name="T19" fmla="*/ 0 h 252"/>
                <a:gd name="T20" fmla="*/ 0 w 233"/>
                <a:gd name="T21" fmla="*/ 0 h 252"/>
                <a:gd name="T22" fmla="*/ 0 w 233"/>
                <a:gd name="T23" fmla="*/ 0 h 252"/>
                <a:gd name="T24" fmla="*/ 0 w 233"/>
                <a:gd name="T25" fmla="*/ 0 h 252"/>
                <a:gd name="T26" fmla="*/ 0 w 233"/>
                <a:gd name="T27" fmla="*/ 0 h 252"/>
                <a:gd name="T28" fmla="*/ 0 w 233"/>
                <a:gd name="T29" fmla="*/ 0 h 252"/>
                <a:gd name="T30" fmla="*/ 0 w 233"/>
                <a:gd name="T31" fmla="*/ 0 h 252"/>
                <a:gd name="T32" fmla="*/ 0 w 233"/>
                <a:gd name="T33" fmla="*/ 0 h 252"/>
                <a:gd name="T34" fmla="*/ 0 w 233"/>
                <a:gd name="T35" fmla="*/ 0 h 252"/>
                <a:gd name="T36" fmla="*/ 0 w 233"/>
                <a:gd name="T37" fmla="*/ 0 h 252"/>
                <a:gd name="T38" fmla="*/ 0 w 233"/>
                <a:gd name="T39" fmla="*/ 0 h 252"/>
                <a:gd name="T40" fmla="*/ 0 w 233"/>
                <a:gd name="T41" fmla="*/ 0 h 252"/>
                <a:gd name="T42" fmla="*/ 0 w 233"/>
                <a:gd name="T43" fmla="*/ 0 h 252"/>
                <a:gd name="T44" fmla="*/ 0 w 233"/>
                <a:gd name="T45" fmla="*/ 0 h 252"/>
                <a:gd name="T46" fmla="*/ 0 w 233"/>
                <a:gd name="T47" fmla="*/ 0 h 252"/>
                <a:gd name="T48" fmla="*/ 0 w 233"/>
                <a:gd name="T49" fmla="*/ 0 h 252"/>
                <a:gd name="T50" fmla="*/ 0 w 233"/>
                <a:gd name="T51" fmla="*/ 0 h 252"/>
                <a:gd name="T52" fmla="*/ 0 w 233"/>
                <a:gd name="T53" fmla="*/ 0 h 252"/>
                <a:gd name="T54" fmla="*/ 0 w 233"/>
                <a:gd name="T55" fmla="*/ 0 h 252"/>
                <a:gd name="T56" fmla="*/ 0 w 233"/>
                <a:gd name="T57" fmla="*/ 0 h 252"/>
                <a:gd name="T58" fmla="*/ 0 w 233"/>
                <a:gd name="T59" fmla="*/ 0 h 252"/>
                <a:gd name="T60" fmla="*/ 0 w 233"/>
                <a:gd name="T61" fmla="*/ 0 h 252"/>
                <a:gd name="T62" fmla="*/ 0 w 233"/>
                <a:gd name="T63" fmla="*/ 0 h 252"/>
                <a:gd name="T64" fmla="*/ 0 w 233"/>
                <a:gd name="T65" fmla="*/ 0 h 252"/>
                <a:gd name="T66" fmla="*/ 0 w 233"/>
                <a:gd name="T67" fmla="*/ 0 h 252"/>
                <a:gd name="T68" fmla="*/ 0 w 233"/>
                <a:gd name="T69" fmla="*/ 0 h 252"/>
                <a:gd name="T70" fmla="*/ 0 w 233"/>
                <a:gd name="T71" fmla="*/ 0 h 252"/>
                <a:gd name="T72" fmla="*/ 0 w 233"/>
                <a:gd name="T73" fmla="*/ 0 h 252"/>
                <a:gd name="T74" fmla="*/ 0 w 233"/>
                <a:gd name="T75" fmla="*/ 0 h 252"/>
                <a:gd name="T76" fmla="*/ 0 w 233"/>
                <a:gd name="T77" fmla="*/ 0 h 252"/>
                <a:gd name="T78" fmla="*/ 0 w 233"/>
                <a:gd name="T79" fmla="*/ 0 h 252"/>
                <a:gd name="T80" fmla="*/ 0 w 233"/>
                <a:gd name="T81" fmla="*/ 0 h 252"/>
                <a:gd name="T82" fmla="*/ 0 w 233"/>
                <a:gd name="T83" fmla="*/ 0 h 252"/>
                <a:gd name="T84" fmla="*/ 0 w 233"/>
                <a:gd name="T85" fmla="*/ 0 h 252"/>
                <a:gd name="T86" fmla="*/ 0 w 233"/>
                <a:gd name="T87" fmla="*/ 0 h 252"/>
                <a:gd name="T88" fmla="*/ 0 w 233"/>
                <a:gd name="T89" fmla="*/ 0 h 252"/>
                <a:gd name="T90" fmla="*/ 0 w 233"/>
                <a:gd name="T91" fmla="*/ 0 h 252"/>
                <a:gd name="T92" fmla="*/ 0 w 233"/>
                <a:gd name="T93" fmla="*/ 0 h 252"/>
                <a:gd name="T94" fmla="*/ 0 w 233"/>
                <a:gd name="T95" fmla="*/ 0 h 252"/>
                <a:gd name="T96" fmla="*/ 0 w 233"/>
                <a:gd name="T97" fmla="*/ 0 h 252"/>
                <a:gd name="T98" fmla="*/ 0 w 233"/>
                <a:gd name="T99" fmla="*/ 0 h 252"/>
                <a:gd name="T100" fmla="*/ 0 w 233"/>
                <a:gd name="T101" fmla="*/ 0 h 252"/>
                <a:gd name="T102" fmla="*/ 0 w 233"/>
                <a:gd name="T103" fmla="*/ 0 h 252"/>
                <a:gd name="T104" fmla="*/ 0 w 233"/>
                <a:gd name="T105" fmla="*/ 0 h 252"/>
                <a:gd name="T106" fmla="*/ 0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5" name="Freeform 832"/>
            <p:cNvSpPr>
              <a:spLocks/>
            </p:cNvSpPr>
            <p:nvPr>
              <p:custDataLst>
                <p:tags r:id="rId193"/>
              </p:custDataLst>
            </p:nvPr>
          </p:nvSpPr>
          <p:spPr bwMode="auto">
            <a:xfrm>
              <a:off x="2686" y="2091"/>
              <a:ext cx="71" cy="127"/>
            </a:xfrm>
            <a:custGeom>
              <a:avLst/>
              <a:gdLst>
                <a:gd name="T0" fmla="*/ 0 w 246"/>
                <a:gd name="T1" fmla="*/ 0 h 380"/>
                <a:gd name="T2" fmla="*/ 0 w 246"/>
                <a:gd name="T3" fmla="*/ 0 h 380"/>
                <a:gd name="T4" fmla="*/ 0 w 246"/>
                <a:gd name="T5" fmla="*/ 0 h 380"/>
                <a:gd name="T6" fmla="*/ 0 w 246"/>
                <a:gd name="T7" fmla="*/ 0 h 380"/>
                <a:gd name="T8" fmla="*/ 0 w 246"/>
                <a:gd name="T9" fmla="*/ 0 h 380"/>
                <a:gd name="T10" fmla="*/ 0 w 246"/>
                <a:gd name="T11" fmla="*/ 0 h 380"/>
                <a:gd name="T12" fmla="*/ 0 w 246"/>
                <a:gd name="T13" fmla="*/ 0 h 380"/>
                <a:gd name="T14" fmla="*/ 0 w 246"/>
                <a:gd name="T15" fmla="*/ 0 h 380"/>
                <a:gd name="T16" fmla="*/ 0 w 246"/>
                <a:gd name="T17" fmla="*/ 0 h 380"/>
                <a:gd name="T18" fmla="*/ 0 w 246"/>
                <a:gd name="T19" fmla="*/ 0 h 380"/>
                <a:gd name="T20" fmla="*/ 0 w 246"/>
                <a:gd name="T21" fmla="*/ 0 h 380"/>
                <a:gd name="T22" fmla="*/ 0 w 246"/>
                <a:gd name="T23" fmla="*/ 0 h 380"/>
                <a:gd name="T24" fmla="*/ 0 w 246"/>
                <a:gd name="T25" fmla="*/ 0 h 380"/>
                <a:gd name="T26" fmla="*/ 0 w 246"/>
                <a:gd name="T27" fmla="*/ 0 h 380"/>
                <a:gd name="T28" fmla="*/ 0 w 246"/>
                <a:gd name="T29" fmla="*/ 0 h 380"/>
                <a:gd name="T30" fmla="*/ 0 w 246"/>
                <a:gd name="T31" fmla="*/ 0 h 380"/>
                <a:gd name="T32" fmla="*/ 0 w 246"/>
                <a:gd name="T33" fmla="*/ 0 h 380"/>
                <a:gd name="T34" fmla="*/ 0 w 246"/>
                <a:gd name="T35" fmla="*/ 0 h 380"/>
                <a:gd name="T36" fmla="*/ 0 w 246"/>
                <a:gd name="T37" fmla="*/ 0 h 380"/>
                <a:gd name="T38" fmla="*/ 0 w 246"/>
                <a:gd name="T39" fmla="*/ 0 h 380"/>
                <a:gd name="T40" fmla="*/ 0 w 246"/>
                <a:gd name="T41" fmla="*/ 0 h 380"/>
                <a:gd name="T42" fmla="*/ 0 w 246"/>
                <a:gd name="T43" fmla="*/ 0 h 380"/>
                <a:gd name="T44" fmla="*/ 0 w 246"/>
                <a:gd name="T45" fmla="*/ 0 h 380"/>
                <a:gd name="T46" fmla="*/ 0 w 246"/>
                <a:gd name="T47" fmla="*/ 0 h 380"/>
                <a:gd name="T48" fmla="*/ 0 w 246"/>
                <a:gd name="T49" fmla="*/ 0 h 380"/>
                <a:gd name="T50" fmla="*/ 0 w 246"/>
                <a:gd name="T51" fmla="*/ 0 h 380"/>
                <a:gd name="T52" fmla="*/ 0 w 246"/>
                <a:gd name="T53" fmla="*/ 0 h 380"/>
                <a:gd name="T54" fmla="*/ 0 w 246"/>
                <a:gd name="T55" fmla="*/ 0 h 380"/>
                <a:gd name="T56" fmla="*/ 0 w 246"/>
                <a:gd name="T57" fmla="*/ 0 h 380"/>
                <a:gd name="T58" fmla="*/ 0 w 246"/>
                <a:gd name="T59" fmla="*/ 0 h 380"/>
                <a:gd name="T60" fmla="*/ 0 w 246"/>
                <a:gd name="T61" fmla="*/ 0 h 380"/>
                <a:gd name="T62" fmla="*/ 0 w 246"/>
                <a:gd name="T63" fmla="*/ 0 h 380"/>
                <a:gd name="T64" fmla="*/ 0 w 246"/>
                <a:gd name="T65" fmla="*/ 0 h 380"/>
                <a:gd name="T66" fmla="*/ 0 w 246"/>
                <a:gd name="T67" fmla="*/ 0 h 380"/>
                <a:gd name="T68" fmla="*/ 0 w 246"/>
                <a:gd name="T69" fmla="*/ 0 h 380"/>
                <a:gd name="T70" fmla="*/ 0 w 246"/>
                <a:gd name="T71" fmla="*/ 0 h 380"/>
                <a:gd name="T72" fmla="*/ 0 w 246"/>
                <a:gd name="T73" fmla="*/ 0 h 380"/>
                <a:gd name="T74" fmla="*/ 0 w 246"/>
                <a:gd name="T75" fmla="*/ 0 h 380"/>
                <a:gd name="T76" fmla="*/ 0 w 246"/>
                <a:gd name="T77" fmla="*/ 0 h 380"/>
                <a:gd name="T78" fmla="*/ 0 w 246"/>
                <a:gd name="T79" fmla="*/ 0 h 380"/>
                <a:gd name="T80" fmla="*/ 0 w 246"/>
                <a:gd name="T81" fmla="*/ 0 h 380"/>
                <a:gd name="T82" fmla="*/ 0 w 246"/>
                <a:gd name="T83" fmla="*/ 0 h 380"/>
                <a:gd name="T84" fmla="*/ 0 w 246"/>
                <a:gd name="T85" fmla="*/ 0 h 380"/>
                <a:gd name="T86" fmla="*/ 0 w 246"/>
                <a:gd name="T87" fmla="*/ 0 h 380"/>
                <a:gd name="T88" fmla="*/ 0 w 246"/>
                <a:gd name="T89" fmla="*/ 0 h 380"/>
                <a:gd name="T90" fmla="*/ 0 w 246"/>
                <a:gd name="T91" fmla="*/ 0 h 380"/>
                <a:gd name="T92" fmla="*/ 0 w 246"/>
                <a:gd name="T93" fmla="*/ 0 h 380"/>
                <a:gd name="T94" fmla="*/ 0 w 246"/>
                <a:gd name="T95" fmla="*/ 0 h 380"/>
                <a:gd name="T96" fmla="*/ 0 w 246"/>
                <a:gd name="T97" fmla="*/ 0 h 380"/>
                <a:gd name="T98" fmla="*/ 0 w 246"/>
                <a:gd name="T99" fmla="*/ 0 h 380"/>
                <a:gd name="T100" fmla="*/ 0 w 246"/>
                <a:gd name="T101" fmla="*/ 0 h 380"/>
                <a:gd name="T102" fmla="*/ 0 w 246"/>
                <a:gd name="T103" fmla="*/ 0 h 380"/>
                <a:gd name="T104" fmla="*/ 0 w 246"/>
                <a:gd name="T105" fmla="*/ 0 h 380"/>
                <a:gd name="T106" fmla="*/ 0 w 246"/>
                <a:gd name="T107" fmla="*/ 0 h 380"/>
                <a:gd name="T108" fmla="*/ 0 w 246"/>
                <a:gd name="T109" fmla="*/ 0 h 380"/>
                <a:gd name="T110" fmla="*/ 0 w 246"/>
                <a:gd name="T111" fmla="*/ 0 h 380"/>
                <a:gd name="T112" fmla="*/ 0 w 246"/>
                <a:gd name="T113" fmla="*/ 0 h 380"/>
                <a:gd name="T114" fmla="*/ 0 w 246"/>
                <a:gd name="T115" fmla="*/ 0 h 380"/>
                <a:gd name="T116" fmla="*/ 0 w 246"/>
                <a:gd name="T117" fmla="*/ 0 h 380"/>
                <a:gd name="T118" fmla="*/ 0 w 246"/>
                <a:gd name="T119" fmla="*/ 0 h 380"/>
                <a:gd name="T120" fmla="*/ 0 w 246"/>
                <a:gd name="T121" fmla="*/ 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6" name="Freeform 833"/>
            <p:cNvSpPr>
              <a:spLocks/>
            </p:cNvSpPr>
            <p:nvPr>
              <p:custDataLst>
                <p:tags r:id="rId194"/>
              </p:custDataLst>
            </p:nvPr>
          </p:nvSpPr>
          <p:spPr bwMode="auto">
            <a:xfrm>
              <a:off x="2448" y="2038"/>
              <a:ext cx="60" cy="37"/>
            </a:xfrm>
            <a:custGeom>
              <a:avLst/>
              <a:gdLst>
                <a:gd name="T0" fmla="*/ 0 w 193"/>
                <a:gd name="T1" fmla="*/ 19 h 38"/>
                <a:gd name="T2" fmla="*/ 0 w 193"/>
                <a:gd name="T3" fmla="*/ 11 h 38"/>
                <a:gd name="T4" fmla="*/ 0 w 193"/>
                <a:gd name="T5" fmla="*/ 5 h 38"/>
                <a:gd name="T6" fmla="*/ 0 w 193"/>
                <a:gd name="T7" fmla="*/ 3 h 38"/>
                <a:gd name="T8" fmla="*/ 0 w 193"/>
                <a:gd name="T9" fmla="*/ 2 h 38"/>
                <a:gd name="T10" fmla="*/ 0 w 193"/>
                <a:gd name="T11" fmla="*/ 1 h 38"/>
                <a:gd name="T12" fmla="*/ 0 w 193"/>
                <a:gd name="T13" fmla="*/ 0 h 38"/>
                <a:gd name="T14" fmla="*/ 0 w 193"/>
                <a:gd name="T15" fmla="*/ 1 h 38"/>
                <a:gd name="T16" fmla="*/ 0 w 193"/>
                <a:gd name="T17" fmla="*/ 1 h 38"/>
                <a:gd name="T18" fmla="*/ 0 w 193"/>
                <a:gd name="T19" fmla="*/ 2 h 38"/>
                <a:gd name="T20" fmla="*/ 0 w 193"/>
                <a:gd name="T21" fmla="*/ 4 h 38"/>
                <a:gd name="T22" fmla="*/ 0 w 193"/>
                <a:gd name="T23" fmla="*/ 6 h 38"/>
                <a:gd name="T24" fmla="*/ 0 w 193"/>
                <a:gd name="T25" fmla="*/ 11 h 38"/>
                <a:gd name="T26" fmla="*/ 0 w 193"/>
                <a:gd name="T27" fmla="*/ 13 h 38"/>
                <a:gd name="T28" fmla="*/ 0 w 193"/>
                <a:gd name="T29" fmla="*/ 18 h 38"/>
                <a:gd name="T30" fmla="*/ 0 w 193"/>
                <a:gd name="T31" fmla="*/ 19 h 38"/>
                <a:gd name="T32" fmla="*/ 0 w 193"/>
                <a:gd name="T33" fmla="*/ 19 h 38"/>
                <a:gd name="T34" fmla="*/ 0 w 193"/>
                <a:gd name="T35" fmla="*/ 19 h 38"/>
                <a:gd name="T36" fmla="*/ 0 w 193"/>
                <a:gd name="T37" fmla="*/ 19 h 38"/>
                <a:gd name="T38" fmla="*/ 0 w 193"/>
                <a:gd name="T39" fmla="*/ 19 h 38"/>
                <a:gd name="T40" fmla="*/ 0 w 193"/>
                <a:gd name="T41" fmla="*/ 19 h 38"/>
                <a:gd name="T42" fmla="*/ 0 w 193"/>
                <a:gd name="T43" fmla="*/ 19 h 38"/>
                <a:gd name="T44" fmla="*/ 0 w 193"/>
                <a:gd name="T45" fmla="*/ 19 h 38"/>
                <a:gd name="T46" fmla="*/ 0 w 193"/>
                <a:gd name="T47" fmla="*/ 19 h 38"/>
                <a:gd name="T48" fmla="*/ 0 w 193"/>
                <a:gd name="T49" fmla="*/ 19 h 38"/>
                <a:gd name="T50" fmla="*/ 0 w 193"/>
                <a:gd name="T51" fmla="*/ 19 h 38"/>
                <a:gd name="T52" fmla="*/ 0 w 193"/>
                <a:gd name="T53" fmla="*/ 19 h 38"/>
                <a:gd name="T54" fmla="*/ 0 w 193"/>
                <a:gd name="T55" fmla="*/ 19 h 38"/>
                <a:gd name="T56" fmla="*/ 0 w 193"/>
                <a:gd name="T57" fmla="*/ 19 h 38"/>
                <a:gd name="T58" fmla="*/ 0 w 193"/>
                <a:gd name="T59" fmla="*/ 19 h 38"/>
                <a:gd name="T60" fmla="*/ 0 w 193"/>
                <a:gd name="T61" fmla="*/ 19 h 38"/>
                <a:gd name="T62" fmla="*/ 0 w 193"/>
                <a:gd name="T63" fmla="*/ 19 h 38"/>
                <a:gd name="T64" fmla="*/ 0 w 193"/>
                <a:gd name="T65" fmla="*/ 19 h 38"/>
                <a:gd name="T66" fmla="*/ 0 w 193"/>
                <a:gd name="T67" fmla="*/ 19 h 38"/>
                <a:gd name="T68" fmla="*/ 0 w 193"/>
                <a:gd name="T69" fmla="*/ 19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7" name="Freeform 834"/>
            <p:cNvSpPr>
              <a:spLocks/>
            </p:cNvSpPr>
            <p:nvPr>
              <p:custDataLst>
                <p:tags r:id="rId195"/>
              </p:custDataLst>
            </p:nvPr>
          </p:nvSpPr>
          <p:spPr bwMode="auto">
            <a:xfrm>
              <a:off x="2739" y="2087"/>
              <a:ext cx="29" cy="98"/>
            </a:xfrm>
            <a:custGeom>
              <a:avLst/>
              <a:gdLst>
                <a:gd name="T0" fmla="*/ 0 w 99"/>
                <a:gd name="T1" fmla="*/ 0 h 301"/>
                <a:gd name="T2" fmla="*/ 0 w 99"/>
                <a:gd name="T3" fmla="*/ 0 h 301"/>
                <a:gd name="T4" fmla="*/ 0 w 99"/>
                <a:gd name="T5" fmla="*/ 0 h 301"/>
                <a:gd name="T6" fmla="*/ 0 w 99"/>
                <a:gd name="T7" fmla="*/ 0 h 301"/>
                <a:gd name="T8" fmla="*/ 0 w 99"/>
                <a:gd name="T9" fmla="*/ 0 h 301"/>
                <a:gd name="T10" fmla="*/ 0 w 99"/>
                <a:gd name="T11" fmla="*/ 0 h 301"/>
                <a:gd name="T12" fmla="*/ 0 w 99"/>
                <a:gd name="T13" fmla="*/ 0 h 301"/>
                <a:gd name="T14" fmla="*/ 0 w 99"/>
                <a:gd name="T15" fmla="*/ 0 h 301"/>
                <a:gd name="T16" fmla="*/ 0 w 99"/>
                <a:gd name="T17" fmla="*/ 0 h 301"/>
                <a:gd name="T18" fmla="*/ 0 w 99"/>
                <a:gd name="T19" fmla="*/ 0 h 301"/>
                <a:gd name="T20" fmla="*/ 0 w 99"/>
                <a:gd name="T21" fmla="*/ 0 h 301"/>
                <a:gd name="T22" fmla="*/ 0 w 99"/>
                <a:gd name="T23" fmla="*/ 0 h 301"/>
                <a:gd name="T24" fmla="*/ 0 w 99"/>
                <a:gd name="T25" fmla="*/ 0 h 301"/>
                <a:gd name="T26" fmla="*/ 0 w 99"/>
                <a:gd name="T27" fmla="*/ 0 h 301"/>
                <a:gd name="T28" fmla="*/ 0 w 99"/>
                <a:gd name="T29" fmla="*/ 0 h 301"/>
                <a:gd name="T30" fmla="*/ 0 w 99"/>
                <a:gd name="T31" fmla="*/ 0 h 301"/>
                <a:gd name="T32" fmla="*/ 0 w 99"/>
                <a:gd name="T33" fmla="*/ 0 h 301"/>
                <a:gd name="T34" fmla="*/ 0 w 99"/>
                <a:gd name="T35" fmla="*/ 0 h 301"/>
                <a:gd name="T36" fmla="*/ 0 w 99"/>
                <a:gd name="T37" fmla="*/ 0 h 301"/>
                <a:gd name="T38" fmla="*/ 0 w 99"/>
                <a:gd name="T39" fmla="*/ 0 h 301"/>
                <a:gd name="T40" fmla="*/ 0 w 99"/>
                <a:gd name="T41" fmla="*/ 0 h 301"/>
                <a:gd name="T42" fmla="*/ 0 w 99"/>
                <a:gd name="T43" fmla="*/ 0 h 301"/>
                <a:gd name="T44" fmla="*/ 0 w 99"/>
                <a:gd name="T45" fmla="*/ 0 h 301"/>
                <a:gd name="T46" fmla="*/ 0 w 99"/>
                <a:gd name="T47" fmla="*/ 0 h 301"/>
                <a:gd name="T48" fmla="*/ 0 w 99"/>
                <a:gd name="T49" fmla="*/ 0 h 301"/>
                <a:gd name="T50" fmla="*/ 0 w 99"/>
                <a:gd name="T51" fmla="*/ 0 h 301"/>
                <a:gd name="T52" fmla="*/ 0 w 99"/>
                <a:gd name="T53" fmla="*/ 0 h 301"/>
                <a:gd name="T54" fmla="*/ 0 w 99"/>
                <a:gd name="T55" fmla="*/ 0 h 301"/>
                <a:gd name="T56" fmla="*/ 0 w 99"/>
                <a:gd name="T57" fmla="*/ 0 h 301"/>
                <a:gd name="T58" fmla="*/ 0 w 99"/>
                <a:gd name="T59" fmla="*/ 0 h 301"/>
                <a:gd name="T60" fmla="*/ 0 w 99"/>
                <a:gd name="T61" fmla="*/ 0 h 301"/>
                <a:gd name="T62" fmla="*/ 0 w 99"/>
                <a:gd name="T63" fmla="*/ 0 h 301"/>
                <a:gd name="T64" fmla="*/ 0 w 99"/>
                <a:gd name="T65" fmla="*/ 0 h 301"/>
                <a:gd name="T66" fmla="*/ 0 w 99"/>
                <a:gd name="T67" fmla="*/ 0 h 301"/>
                <a:gd name="T68" fmla="*/ 0 w 99"/>
                <a:gd name="T69" fmla="*/ 0 h 301"/>
                <a:gd name="T70" fmla="*/ 0 w 99"/>
                <a:gd name="T71" fmla="*/ 0 h 301"/>
                <a:gd name="T72" fmla="*/ 0 w 99"/>
                <a:gd name="T73" fmla="*/ 0 h 301"/>
                <a:gd name="T74" fmla="*/ 0 w 99"/>
                <a:gd name="T75" fmla="*/ 0 h 301"/>
                <a:gd name="T76" fmla="*/ 0 w 99"/>
                <a:gd name="T77" fmla="*/ 0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8" name="Freeform 835"/>
            <p:cNvSpPr>
              <a:spLocks/>
            </p:cNvSpPr>
            <p:nvPr>
              <p:custDataLst>
                <p:tags r:id="rId196"/>
              </p:custDataLst>
            </p:nvPr>
          </p:nvSpPr>
          <p:spPr bwMode="auto">
            <a:xfrm>
              <a:off x="2756" y="2063"/>
              <a:ext cx="52" cy="119"/>
            </a:xfrm>
            <a:custGeom>
              <a:avLst/>
              <a:gdLst>
                <a:gd name="T0" fmla="*/ 0 w 173"/>
                <a:gd name="T1" fmla="*/ 0 h 357"/>
                <a:gd name="T2" fmla="*/ 0 w 173"/>
                <a:gd name="T3" fmla="*/ 0 h 357"/>
                <a:gd name="T4" fmla="*/ 0 w 173"/>
                <a:gd name="T5" fmla="*/ 0 h 357"/>
                <a:gd name="T6" fmla="*/ 0 w 173"/>
                <a:gd name="T7" fmla="*/ 0 h 357"/>
                <a:gd name="T8" fmla="*/ 0 w 173"/>
                <a:gd name="T9" fmla="*/ 0 h 357"/>
                <a:gd name="T10" fmla="*/ 0 w 173"/>
                <a:gd name="T11" fmla="*/ 0 h 357"/>
                <a:gd name="T12" fmla="*/ 0 w 173"/>
                <a:gd name="T13" fmla="*/ 0 h 357"/>
                <a:gd name="T14" fmla="*/ 0 w 173"/>
                <a:gd name="T15" fmla="*/ 0 h 357"/>
                <a:gd name="T16" fmla="*/ 0 w 173"/>
                <a:gd name="T17" fmla="*/ 0 h 357"/>
                <a:gd name="T18" fmla="*/ 0 w 173"/>
                <a:gd name="T19" fmla="*/ 0 h 357"/>
                <a:gd name="T20" fmla="*/ 0 w 173"/>
                <a:gd name="T21" fmla="*/ 0 h 357"/>
                <a:gd name="T22" fmla="*/ 0 w 173"/>
                <a:gd name="T23" fmla="*/ 0 h 357"/>
                <a:gd name="T24" fmla="*/ 0 w 173"/>
                <a:gd name="T25" fmla="*/ 0 h 357"/>
                <a:gd name="T26" fmla="*/ 0 w 173"/>
                <a:gd name="T27" fmla="*/ 0 h 357"/>
                <a:gd name="T28" fmla="*/ 0 w 173"/>
                <a:gd name="T29" fmla="*/ 0 h 357"/>
                <a:gd name="T30" fmla="*/ 0 w 173"/>
                <a:gd name="T31" fmla="*/ 0 h 357"/>
                <a:gd name="T32" fmla="*/ 0 w 173"/>
                <a:gd name="T33" fmla="*/ 0 h 357"/>
                <a:gd name="T34" fmla="*/ 0 w 173"/>
                <a:gd name="T35" fmla="*/ 0 h 357"/>
                <a:gd name="T36" fmla="*/ 0 w 173"/>
                <a:gd name="T37" fmla="*/ 0 h 357"/>
                <a:gd name="T38" fmla="*/ 0 w 173"/>
                <a:gd name="T39" fmla="*/ 0 h 357"/>
                <a:gd name="T40" fmla="*/ 0 w 173"/>
                <a:gd name="T41" fmla="*/ 0 h 357"/>
                <a:gd name="T42" fmla="*/ 0 w 173"/>
                <a:gd name="T43" fmla="*/ 0 h 357"/>
                <a:gd name="T44" fmla="*/ 0 w 173"/>
                <a:gd name="T45" fmla="*/ 0 h 357"/>
                <a:gd name="T46" fmla="*/ 0 w 173"/>
                <a:gd name="T47" fmla="*/ 0 h 357"/>
                <a:gd name="T48" fmla="*/ 0 w 173"/>
                <a:gd name="T49" fmla="*/ 0 h 357"/>
                <a:gd name="T50" fmla="*/ 0 w 173"/>
                <a:gd name="T51" fmla="*/ 0 h 357"/>
                <a:gd name="T52" fmla="*/ 0 w 173"/>
                <a:gd name="T53" fmla="*/ 0 h 357"/>
                <a:gd name="T54" fmla="*/ 0 w 173"/>
                <a:gd name="T55" fmla="*/ 0 h 357"/>
                <a:gd name="T56" fmla="*/ 0 w 173"/>
                <a:gd name="T57" fmla="*/ 0 h 357"/>
                <a:gd name="T58" fmla="*/ 0 w 173"/>
                <a:gd name="T59" fmla="*/ 0 h 357"/>
                <a:gd name="T60" fmla="*/ 0 w 173"/>
                <a:gd name="T61" fmla="*/ 0 h 357"/>
                <a:gd name="T62" fmla="*/ 0 w 173"/>
                <a:gd name="T63" fmla="*/ 0 h 357"/>
                <a:gd name="T64" fmla="*/ 0 w 173"/>
                <a:gd name="T65" fmla="*/ 0 h 357"/>
                <a:gd name="T66" fmla="*/ 0 w 173"/>
                <a:gd name="T67" fmla="*/ 0 h 357"/>
                <a:gd name="T68" fmla="*/ 0 w 173"/>
                <a:gd name="T69" fmla="*/ 0 h 357"/>
                <a:gd name="T70" fmla="*/ 0 w 173"/>
                <a:gd name="T71" fmla="*/ 0 h 357"/>
                <a:gd name="T72" fmla="*/ 0 w 173"/>
                <a:gd name="T73" fmla="*/ 0 h 357"/>
                <a:gd name="T74" fmla="*/ 0 w 173"/>
                <a:gd name="T75" fmla="*/ 0 h 357"/>
                <a:gd name="T76" fmla="*/ 0 w 173"/>
                <a:gd name="T77" fmla="*/ 0 h 357"/>
                <a:gd name="T78" fmla="*/ 0 w 173"/>
                <a:gd name="T79" fmla="*/ 0 h 357"/>
                <a:gd name="T80" fmla="*/ 0 w 173"/>
                <a:gd name="T81" fmla="*/ 0 h 357"/>
                <a:gd name="T82" fmla="*/ 0 w 173"/>
                <a:gd name="T83" fmla="*/ 0 h 357"/>
                <a:gd name="T84" fmla="*/ 0 w 173"/>
                <a:gd name="T85" fmla="*/ 0 h 357"/>
                <a:gd name="T86" fmla="*/ 0 w 173"/>
                <a:gd name="T87" fmla="*/ 0 h 357"/>
                <a:gd name="T88" fmla="*/ 0 w 173"/>
                <a:gd name="T89" fmla="*/ 0 h 357"/>
                <a:gd name="T90" fmla="*/ 0 w 173"/>
                <a:gd name="T91" fmla="*/ 0 h 357"/>
                <a:gd name="T92" fmla="*/ 0 w 173"/>
                <a:gd name="T93" fmla="*/ 0 h 357"/>
                <a:gd name="T94" fmla="*/ 0 w 173"/>
                <a:gd name="T95" fmla="*/ 0 h 357"/>
                <a:gd name="T96" fmla="*/ 0 w 173"/>
                <a:gd name="T97" fmla="*/ 0 h 357"/>
                <a:gd name="T98" fmla="*/ 0 w 173"/>
                <a:gd name="T99" fmla="*/ 0 h 357"/>
                <a:gd name="T100" fmla="*/ 0 w 173"/>
                <a:gd name="T101" fmla="*/ 0 h 357"/>
                <a:gd name="T102" fmla="*/ 0 w 173"/>
                <a:gd name="T103" fmla="*/ 0 h 357"/>
                <a:gd name="T104" fmla="*/ 0 w 173"/>
                <a:gd name="T105" fmla="*/ 0 h 357"/>
                <a:gd name="T106" fmla="*/ 0 w 173"/>
                <a:gd name="T107" fmla="*/ 0 h 357"/>
                <a:gd name="T108" fmla="*/ 0 w 173"/>
                <a:gd name="T109" fmla="*/ 0 h 357"/>
                <a:gd name="T110" fmla="*/ 0 w 173"/>
                <a:gd name="T111" fmla="*/ 0 h 357"/>
                <a:gd name="T112" fmla="*/ 0 w 173"/>
                <a:gd name="T113" fmla="*/ 0 h 357"/>
                <a:gd name="T114" fmla="*/ 0 w 173"/>
                <a:gd name="T115" fmla="*/ 0 h 357"/>
                <a:gd name="T116" fmla="*/ 0 w 173"/>
                <a:gd name="T117" fmla="*/ 0 h 357"/>
                <a:gd name="T118" fmla="*/ 0 w 173"/>
                <a:gd name="T119" fmla="*/ 0 h 357"/>
                <a:gd name="T120" fmla="*/ 0 w 173"/>
                <a:gd name="T121" fmla="*/ 0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9" name="Freeform 836"/>
            <p:cNvSpPr>
              <a:spLocks/>
            </p:cNvSpPr>
            <p:nvPr>
              <p:custDataLst>
                <p:tags r:id="rId197"/>
              </p:custDataLst>
            </p:nvPr>
          </p:nvSpPr>
          <p:spPr bwMode="auto">
            <a:xfrm>
              <a:off x="3253" y="2822"/>
              <a:ext cx="18" cy="38"/>
            </a:xfrm>
            <a:custGeom>
              <a:avLst/>
              <a:gdLst>
                <a:gd name="T0" fmla="*/ 0 w 50"/>
                <a:gd name="T1" fmla="*/ 0 h 74"/>
                <a:gd name="T2" fmla="*/ 0 w 50"/>
                <a:gd name="T3" fmla="*/ 1 h 74"/>
                <a:gd name="T4" fmla="*/ 0 w 50"/>
                <a:gd name="T5" fmla="*/ 1 h 74"/>
                <a:gd name="T6" fmla="*/ 0 w 50"/>
                <a:gd name="T7" fmla="*/ 1 h 74"/>
                <a:gd name="T8" fmla="*/ 0 w 50"/>
                <a:gd name="T9" fmla="*/ 1 h 74"/>
                <a:gd name="T10" fmla="*/ 0 w 50"/>
                <a:gd name="T11" fmla="*/ 1 h 74"/>
                <a:gd name="T12" fmla="*/ 0 w 50"/>
                <a:gd name="T13" fmla="*/ 1 h 74"/>
                <a:gd name="T14" fmla="*/ 0 w 50"/>
                <a:gd name="T15" fmla="*/ 1 h 74"/>
                <a:gd name="T16" fmla="*/ 0 w 50"/>
                <a:gd name="T17" fmla="*/ 1 h 74"/>
                <a:gd name="T18" fmla="*/ 0 w 50"/>
                <a:gd name="T19" fmla="*/ 1 h 74"/>
                <a:gd name="T20" fmla="*/ 0 w 50"/>
                <a:gd name="T21" fmla="*/ 1 h 74"/>
                <a:gd name="T22" fmla="*/ 0 w 50"/>
                <a:gd name="T23" fmla="*/ 1 h 74"/>
                <a:gd name="T24" fmla="*/ 0 w 50"/>
                <a:gd name="T25" fmla="*/ 1 h 74"/>
                <a:gd name="T26" fmla="*/ 0 w 50"/>
                <a:gd name="T27" fmla="*/ 0 h 74"/>
                <a:gd name="T28" fmla="*/ 0 w 50"/>
                <a:gd name="T29" fmla="*/ 0 h 74"/>
                <a:gd name="T30" fmla="*/ 0 w 50"/>
                <a:gd name="T31" fmla="*/ 0 h 74"/>
                <a:gd name="T32" fmla="*/ 0 w 50"/>
                <a:gd name="T33" fmla="*/ 0 h 74"/>
                <a:gd name="T34" fmla="*/ 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0" name="Freeform 837"/>
            <p:cNvSpPr>
              <a:spLocks/>
            </p:cNvSpPr>
            <p:nvPr>
              <p:custDataLst>
                <p:tags r:id="rId198"/>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1" name="Freeform 838"/>
            <p:cNvSpPr>
              <a:spLocks/>
            </p:cNvSpPr>
            <p:nvPr>
              <p:custDataLst>
                <p:tags r:id="rId199"/>
              </p:custDataLst>
            </p:nvPr>
          </p:nvSpPr>
          <p:spPr bwMode="auto">
            <a:xfrm>
              <a:off x="4695" y="1443"/>
              <a:ext cx="83" cy="108"/>
            </a:xfrm>
            <a:custGeom>
              <a:avLst/>
              <a:gdLst>
                <a:gd name="T0" fmla="*/ 0 w 266"/>
                <a:gd name="T1" fmla="*/ 0 h 326"/>
                <a:gd name="T2" fmla="*/ 0 w 266"/>
                <a:gd name="T3" fmla="*/ 0 h 326"/>
                <a:gd name="T4" fmla="*/ 0 w 266"/>
                <a:gd name="T5" fmla="*/ 0 h 326"/>
                <a:gd name="T6" fmla="*/ 0 w 266"/>
                <a:gd name="T7" fmla="*/ 0 h 326"/>
                <a:gd name="T8" fmla="*/ 0 w 266"/>
                <a:gd name="T9" fmla="*/ 0 h 326"/>
                <a:gd name="T10" fmla="*/ 0 w 266"/>
                <a:gd name="T11" fmla="*/ 0 h 326"/>
                <a:gd name="T12" fmla="*/ 0 w 266"/>
                <a:gd name="T13" fmla="*/ 0 h 326"/>
                <a:gd name="T14" fmla="*/ 0 w 266"/>
                <a:gd name="T15" fmla="*/ 0 h 326"/>
                <a:gd name="T16" fmla="*/ 0 w 266"/>
                <a:gd name="T17" fmla="*/ 0 h 326"/>
                <a:gd name="T18" fmla="*/ 0 w 266"/>
                <a:gd name="T19" fmla="*/ 0 h 326"/>
                <a:gd name="T20" fmla="*/ 0 w 266"/>
                <a:gd name="T21" fmla="*/ 0 h 326"/>
                <a:gd name="T22" fmla="*/ 0 w 266"/>
                <a:gd name="T23" fmla="*/ 0 h 326"/>
                <a:gd name="T24" fmla="*/ 0 w 266"/>
                <a:gd name="T25" fmla="*/ 0 h 326"/>
                <a:gd name="T26" fmla="*/ 0 w 266"/>
                <a:gd name="T27" fmla="*/ 0 h 326"/>
                <a:gd name="T28" fmla="*/ 0 w 266"/>
                <a:gd name="T29" fmla="*/ 0 h 326"/>
                <a:gd name="T30" fmla="*/ 0 w 266"/>
                <a:gd name="T31" fmla="*/ 0 h 326"/>
                <a:gd name="T32" fmla="*/ 0 w 266"/>
                <a:gd name="T33" fmla="*/ 0 h 326"/>
                <a:gd name="T34" fmla="*/ 0 w 266"/>
                <a:gd name="T35" fmla="*/ 0 h 326"/>
                <a:gd name="T36" fmla="*/ 0 w 266"/>
                <a:gd name="T37" fmla="*/ 0 h 326"/>
                <a:gd name="T38" fmla="*/ 0 w 266"/>
                <a:gd name="T39" fmla="*/ 0 h 326"/>
                <a:gd name="T40" fmla="*/ 0 w 266"/>
                <a:gd name="T41" fmla="*/ 0 h 326"/>
                <a:gd name="T42" fmla="*/ 0 w 266"/>
                <a:gd name="T43" fmla="*/ 0 h 326"/>
                <a:gd name="T44" fmla="*/ 0 w 266"/>
                <a:gd name="T45" fmla="*/ 0 h 326"/>
                <a:gd name="T46" fmla="*/ 0 w 266"/>
                <a:gd name="T47" fmla="*/ 0 h 326"/>
                <a:gd name="T48" fmla="*/ 0 w 266"/>
                <a:gd name="T49" fmla="*/ 0 h 326"/>
                <a:gd name="T50" fmla="*/ 0 w 266"/>
                <a:gd name="T51" fmla="*/ 0 h 326"/>
                <a:gd name="T52" fmla="*/ 0 w 266"/>
                <a:gd name="T53" fmla="*/ 0 h 326"/>
                <a:gd name="T54" fmla="*/ 0 w 266"/>
                <a:gd name="T55" fmla="*/ 0 h 326"/>
                <a:gd name="T56" fmla="*/ 0 w 266"/>
                <a:gd name="T57" fmla="*/ 0 h 326"/>
                <a:gd name="T58" fmla="*/ 0 w 266"/>
                <a:gd name="T59" fmla="*/ 0 h 326"/>
                <a:gd name="T60" fmla="*/ 0 w 266"/>
                <a:gd name="T61" fmla="*/ 0 h 326"/>
                <a:gd name="T62" fmla="*/ 0 w 266"/>
                <a:gd name="T63" fmla="*/ 0 h 326"/>
                <a:gd name="T64" fmla="*/ 0 w 266"/>
                <a:gd name="T65" fmla="*/ 0 h 326"/>
                <a:gd name="T66" fmla="*/ 0 w 266"/>
                <a:gd name="T67" fmla="*/ 0 h 326"/>
                <a:gd name="T68" fmla="*/ 0 w 266"/>
                <a:gd name="T69" fmla="*/ 0 h 326"/>
                <a:gd name="T70" fmla="*/ 0 w 266"/>
                <a:gd name="T71" fmla="*/ 0 h 326"/>
                <a:gd name="T72" fmla="*/ 0 w 266"/>
                <a:gd name="T73" fmla="*/ 0 h 326"/>
                <a:gd name="T74" fmla="*/ 0 w 266"/>
                <a:gd name="T75" fmla="*/ 0 h 326"/>
                <a:gd name="T76" fmla="*/ 0 w 266"/>
                <a:gd name="T77" fmla="*/ 0 h 326"/>
                <a:gd name="T78" fmla="*/ 0 w 266"/>
                <a:gd name="T79" fmla="*/ 0 h 326"/>
                <a:gd name="T80" fmla="*/ 0 w 266"/>
                <a:gd name="T81" fmla="*/ 0 h 326"/>
                <a:gd name="T82" fmla="*/ 0 w 266"/>
                <a:gd name="T83" fmla="*/ 0 h 326"/>
                <a:gd name="T84" fmla="*/ 0 w 266"/>
                <a:gd name="T85" fmla="*/ 0 h 326"/>
                <a:gd name="T86" fmla="*/ 0 w 266"/>
                <a:gd name="T87" fmla="*/ 0 h 326"/>
                <a:gd name="T88" fmla="*/ 0 w 266"/>
                <a:gd name="T89" fmla="*/ 0 h 326"/>
                <a:gd name="T90" fmla="*/ 0 w 266"/>
                <a:gd name="T91" fmla="*/ 0 h 326"/>
                <a:gd name="T92" fmla="*/ 0 w 266"/>
                <a:gd name="T93" fmla="*/ 0 h 326"/>
                <a:gd name="T94" fmla="*/ 0 w 266"/>
                <a:gd name="T95" fmla="*/ 0 h 326"/>
                <a:gd name="T96" fmla="*/ 0 w 266"/>
                <a:gd name="T97" fmla="*/ 0 h 326"/>
                <a:gd name="T98" fmla="*/ 0 w 266"/>
                <a:gd name="T99" fmla="*/ 0 h 326"/>
                <a:gd name="T100" fmla="*/ 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2" name="Freeform 839"/>
            <p:cNvSpPr>
              <a:spLocks/>
            </p:cNvSpPr>
            <p:nvPr>
              <p:custDataLst>
                <p:tags r:id="rId200"/>
              </p:custDataLst>
            </p:nvPr>
          </p:nvSpPr>
          <p:spPr bwMode="auto">
            <a:xfrm>
              <a:off x="4061" y="1704"/>
              <a:ext cx="141" cy="78"/>
            </a:xfrm>
            <a:custGeom>
              <a:avLst/>
              <a:gdLst>
                <a:gd name="T0" fmla="*/ 0 w 471"/>
                <a:gd name="T1" fmla="*/ 0 h 237"/>
                <a:gd name="T2" fmla="*/ 0 w 471"/>
                <a:gd name="T3" fmla="*/ 0 h 237"/>
                <a:gd name="T4" fmla="*/ 0 w 471"/>
                <a:gd name="T5" fmla="*/ 0 h 237"/>
                <a:gd name="T6" fmla="*/ 0 w 471"/>
                <a:gd name="T7" fmla="*/ 0 h 237"/>
                <a:gd name="T8" fmla="*/ 0 w 471"/>
                <a:gd name="T9" fmla="*/ 0 h 237"/>
                <a:gd name="T10" fmla="*/ 0 w 471"/>
                <a:gd name="T11" fmla="*/ 0 h 237"/>
                <a:gd name="T12" fmla="*/ 0 w 471"/>
                <a:gd name="T13" fmla="*/ 0 h 237"/>
                <a:gd name="T14" fmla="*/ 0 w 471"/>
                <a:gd name="T15" fmla="*/ 0 h 237"/>
                <a:gd name="T16" fmla="*/ 0 w 471"/>
                <a:gd name="T17" fmla="*/ 0 h 237"/>
                <a:gd name="T18" fmla="*/ 0 w 471"/>
                <a:gd name="T19" fmla="*/ 0 h 237"/>
                <a:gd name="T20" fmla="*/ 0 w 471"/>
                <a:gd name="T21" fmla="*/ 0 h 237"/>
                <a:gd name="T22" fmla="*/ 0 w 471"/>
                <a:gd name="T23" fmla="*/ 0 h 237"/>
                <a:gd name="T24" fmla="*/ 0 w 471"/>
                <a:gd name="T25" fmla="*/ 0 h 237"/>
                <a:gd name="T26" fmla="*/ 0 w 471"/>
                <a:gd name="T27" fmla="*/ 0 h 237"/>
                <a:gd name="T28" fmla="*/ 0 w 471"/>
                <a:gd name="T29" fmla="*/ 0 h 237"/>
                <a:gd name="T30" fmla="*/ 0 w 471"/>
                <a:gd name="T31" fmla="*/ 0 h 237"/>
                <a:gd name="T32" fmla="*/ 0 w 471"/>
                <a:gd name="T33" fmla="*/ 0 h 237"/>
                <a:gd name="T34" fmla="*/ 0 w 471"/>
                <a:gd name="T35" fmla="*/ 0 h 237"/>
                <a:gd name="T36" fmla="*/ 0 w 471"/>
                <a:gd name="T37" fmla="*/ 0 h 237"/>
                <a:gd name="T38" fmla="*/ 0 w 471"/>
                <a:gd name="T39" fmla="*/ 0 h 237"/>
                <a:gd name="T40" fmla="*/ 0 w 471"/>
                <a:gd name="T41" fmla="*/ 0 h 237"/>
                <a:gd name="T42" fmla="*/ 0 w 471"/>
                <a:gd name="T43" fmla="*/ 0 h 237"/>
                <a:gd name="T44" fmla="*/ 0 w 471"/>
                <a:gd name="T45" fmla="*/ 0 h 237"/>
                <a:gd name="T46" fmla="*/ 0 w 471"/>
                <a:gd name="T47" fmla="*/ 0 h 237"/>
                <a:gd name="T48" fmla="*/ 0 w 471"/>
                <a:gd name="T49" fmla="*/ 0 h 237"/>
                <a:gd name="T50" fmla="*/ 0 w 471"/>
                <a:gd name="T51" fmla="*/ 0 h 237"/>
                <a:gd name="T52" fmla="*/ 0 w 471"/>
                <a:gd name="T53" fmla="*/ 0 h 237"/>
                <a:gd name="T54" fmla="*/ 0 w 471"/>
                <a:gd name="T55" fmla="*/ 0 h 237"/>
                <a:gd name="T56" fmla="*/ 0 w 471"/>
                <a:gd name="T57" fmla="*/ 0 h 237"/>
                <a:gd name="T58" fmla="*/ 0 w 471"/>
                <a:gd name="T59" fmla="*/ 0 h 237"/>
                <a:gd name="T60" fmla="*/ 0 w 471"/>
                <a:gd name="T61" fmla="*/ 0 h 237"/>
                <a:gd name="T62" fmla="*/ 0 w 471"/>
                <a:gd name="T63" fmla="*/ 0 h 237"/>
                <a:gd name="T64" fmla="*/ 0 w 471"/>
                <a:gd name="T65" fmla="*/ 0 h 237"/>
                <a:gd name="T66" fmla="*/ 0 w 471"/>
                <a:gd name="T67" fmla="*/ 0 h 237"/>
                <a:gd name="T68" fmla="*/ 0 w 471"/>
                <a:gd name="T69" fmla="*/ 0 h 237"/>
                <a:gd name="T70" fmla="*/ 0 w 471"/>
                <a:gd name="T71" fmla="*/ 0 h 237"/>
                <a:gd name="T72" fmla="*/ 0 w 471"/>
                <a:gd name="T73" fmla="*/ 0 h 237"/>
                <a:gd name="T74" fmla="*/ 0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3" name="Freeform 840"/>
            <p:cNvSpPr>
              <a:spLocks/>
            </p:cNvSpPr>
            <p:nvPr>
              <p:custDataLst>
                <p:tags r:id="rId201"/>
              </p:custDataLst>
            </p:nvPr>
          </p:nvSpPr>
          <p:spPr bwMode="auto">
            <a:xfrm>
              <a:off x="4209" y="1739"/>
              <a:ext cx="50" cy="41"/>
            </a:xfrm>
            <a:custGeom>
              <a:avLst/>
              <a:gdLst>
                <a:gd name="T0" fmla="*/ 0 w 167"/>
                <a:gd name="T1" fmla="*/ 0 h 123"/>
                <a:gd name="T2" fmla="*/ 0 w 167"/>
                <a:gd name="T3" fmla="*/ 0 h 123"/>
                <a:gd name="T4" fmla="*/ 0 w 167"/>
                <a:gd name="T5" fmla="*/ 0 h 123"/>
                <a:gd name="T6" fmla="*/ 0 w 167"/>
                <a:gd name="T7" fmla="*/ 0 h 123"/>
                <a:gd name="T8" fmla="*/ 0 w 167"/>
                <a:gd name="T9" fmla="*/ 0 h 123"/>
                <a:gd name="T10" fmla="*/ 0 w 167"/>
                <a:gd name="T11" fmla="*/ 0 h 123"/>
                <a:gd name="T12" fmla="*/ 0 w 167"/>
                <a:gd name="T13" fmla="*/ 0 h 123"/>
                <a:gd name="T14" fmla="*/ 0 w 167"/>
                <a:gd name="T15" fmla="*/ 0 h 123"/>
                <a:gd name="T16" fmla="*/ 0 w 167"/>
                <a:gd name="T17" fmla="*/ 0 h 123"/>
                <a:gd name="T18" fmla="*/ 0 w 167"/>
                <a:gd name="T19" fmla="*/ 0 h 123"/>
                <a:gd name="T20" fmla="*/ 0 w 167"/>
                <a:gd name="T21" fmla="*/ 0 h 123"/>
                <a:gd name="T22" fmla="*/ 0 w 167"/>
                <a:gd name="T23" fmla="*/ 0 h 123"/>
                <a:gd name="T24" fmla="*/ 0 w 167"/>
                <a:gd name="T25" fmla="*/ 0 h 123"/>
                <a:gd name="T26" fmla="*/ 0 w 167"/>
                <a:gd name="T27" fmla="*/ 0 h 123"/>
                <a:gd name="T28" fmla="*/ 0 w 167"/>
                <a:gd name="T29" fmla="*/ 0 h 123"/>
                <a:gd name="T30" fmla="*/ 0 w 167"/>
                <a:gd name="T31" fmla="*/ 0 h 123"/>
                <a:gd name="T32" fmla="*/ 0 w 167"/>
                <a:gd name="T33" fmla="*/ 0 h 123"/>
                <a:gd name="T34" fmla="*/ 0 w 167"/>
                <a:gd name="T35" fmla="*/ 0 h 123"/>
                <a:gd name="T36" fmla="*/ 0 w 167"/>
                <a:gd name="T37" fmla="*/ 0 h 123"/>
                <a:gd name="T38" fmla="*/ 0 w 167"/>
                <a:gd name="T39" fmla="*/ 0 h 123"/>
                <a:gd name="T40" fmla="*/ 0 w 167"/>
                <a:gd name="T41" fmla="*/ 0 h 123"/>
                <a:gd name="T42" fmla="*/ 0 w 167"/>
                <a:gd name="T43" fmla="*/ 0 h 123"/>
                <a:gd name="T44" fmla="*/ 0 w 167"/>
                <a:gd name="T45" fmla="*/ 0 h 123"/>
                <a:gd name="T46" fmla="*/ 0 w 167"/>
                <a:gd name="T47" fmla="*/ 0 h 123"/>
                <a:gd name="T48" fmla="*/ 0 w 167"/>
                <a:gd name="T49" fmla="*/ 0 h 123"/>
                <a:gd name="T50" fmla="*/ 0 w 167"/>
                <a:gd name="T51" fmla="*/ 0 h 123"/>
                <a:gd name="T52" fmla="*/ 0 w 167"/>
                <a:gd name="T53" fmla="*/ 0 h 123"/>
                <a:gd name="T54" fmla="*/ 0 w 167"/>
                <a:gd name="T55" fmla="*/ 0 h 123"/>
                <a:gd name="T56" fmla="*/ 0 w 167"/>
                <a:gd name="T57" fmla="*/ 0 h 123"/>
                <a:gd name="T58" fmla="*/ 0 w 167"/>
                <a:gd name="T59" fmla="*/ 0 h 123"/>
                <a:gd name="T60" fmla="*/ 0 w 167"/>
                <a:gd name="T61" fmla="*/ 0 h 123"/>
                <a:gd name="T62" fmla="*/ 0 w 167"/>
                <a:gd name="T63" fmla="*/ 0 h 123"/>
                <a:gd name="T64" fmla="*/ 0 w 167"/>
                <a:gd name="T65" fmla="*/ 0 h 123"/>
                <a:gd name="T66" fmla="*/ 0 w 167"/>
                <a:gd name="T67" fmla="*/ 0 h 123"/>
                <a:gd name="T68" fmla="*/ 0 w 167"/>
                <a:gd name="T69" fmla="*/ 0 h 123"/>
                <a:gd name="T70" fmla="*/ 0 w 167"/>
                <a:gd name="T71" fmla="*/ 0 h 123"/>
                <a:gd name="T72" fmla="*/ 0 w 167"/>
                <a:gd name="T73" fmla="*/ 0 h 123"/>
                <a:gd name="T74" fmla="*/ 0 w 167"/>
                <a:gd name="T75" fmla="*/ 0 h 123"/>
                <a:gd name="T76" fmla="*/ 0 w 167"/>
                <a:gd name="T77" fmla="*/ 0 h 123"/>
                <a:gd name="T78" fmla="*/ 0 w 167"/>
                <a:gd name="T79" fmla="*/ 0 h 123"/>
                <a:gd name="T80" fmla="*/ 0 w 167"/>
                <a:gd name="T81" fmla="*/ 0 h 123"/>
                <a:gd name="T82" fmla="*/ 0 w 167"/>
                <a:gd name="T83" fmla="*/ 0 h 123"/>
                <a:gd name="T84" fmla="*/ 0 w 167"/>
                <a:gd name="T85" fmla="*/ 0 h 123"/>
                <a:gd name="T86" fmla="*/ 0 w 167"/>
                <a:gd name="T87" fmla="*/ 0 h 123"/>
                <a:gd name="T88" fmla="*/ 0 w 167"/>
                <a:gd name="T89" fmla="*/ 0 h 123"/>
                <a:gd name="T90" fmla="*/ 0 w 167"/>
                <a:gd name="T91" fmla="*/ 0 h 123"/>
                <a:gd name="T92" fmla="*/ 0 w 167"/>
                <a:gd name="T93" fmla="*/ 0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4" name="Freeform 841"/>
            <p:cNvSpPr>
              <a:spLocks/>
            </p:cNvSpPr>
            <p:nvPr>
              <p:custDataLst>
                <p:tags r:id="rId202"/>
              </p:custDataLst>
            </p:nvPr>
          </p:nvSpPr>
          <p:spPr bwMode="auto">
            <a:xfrm>
              <a:off x="4202" y="1784"/>
              <a:ext cx="91" cy="105"/>
            </a:xfrm>
            <a:custGeom>
              <a:avLst/>
              <a:gdLst>
                <a:gd name="T0" fmla="*/ 0 w 306"/>
                <a:gd name="T1" fmla="*/ 0 h 321"/>
                <a:gd name="T2" fmla="*/ 0 w 306"/>
                <a:gd name="T3" fmla="*/ 0 h 321"/>
                <a:gd name="T4" fmla="*/ 0 w 306"/>
                <a:gd name="T5" fmla="*/ 0 h 321"/>
                <a:gd name="T6" fmla="*/ 0 w 306"/>
                <a:gd name="T7" fmla="*/ 0 h 321"/>
                <a:gd name="T8" fmla="*/ 0 w 306"/>
                <a:gd name="T9" fmla="*/ 0 h 321"/>
                <a:gd name="T10" fmla="*/ 0 w 306"/>
                <a:gd name="T11" fmla="*/ 0 h 321"/>
                <a:gd name="T12" fmla="*/ 0 w 306"/>
                <a:gd name="T13" fmla="*/ 0 h 321"/>
                <a:gd name="T14" fmla="*/ 0 w 306"/>
                <a:gd name="T15" fmla="*/ 0 h 321"/>
                <a:gd name="T16" fmla="*/ 0 w 306"/>
                <a:gd name="T17" fmla="*/ 0 h 321"/>
                <a:gd name="T18" fmla="*/ 0 w 306"/>
                <a:gd name="T19" fmla="*/ 0 h 321"/>
                <a:gd name="T20" fmla="*/ 0 w 306"/>
                <a:gd name="T21" fmla="*/ 0 h 321"/>
                <a:gd name="T22" fmla="*/ 0 w 306"/>
                <a:gd name="T23" fmla="*/ 0 h 321"/>
                <a:gd name="T24" fmla="*/ 0 w 306"/>
                <a:gd name="T25" fmla="*/ 0 h 321"/>
                <a:gd name="T26" fmla="*/ 0 w 306"/>
                <a:gd name="T27" fmla="*/ 0 h 321"/>
                <a:gd name="T28" fmla="*/ 0 w 306"/>
                <a:gd name="T29" fmla="*/ 0 h 321"/>
                <a:gd name="T30" fmla="*/ 0 w 306"/>
                <a:gd name="T31" fmla="*/ 0 h 321"/>
                <a:gd name="T32" fmla="*/ 0 w 306"/>
                <a:gd name="T33" fmla="*/ 0 h 321"/>
                <a:gd name="T34" fmla="*/ 0 w 306"/>
                <a:gd name="T35" fmla="*/ 0 h 321"/>
                <a:gd name="T36" fmla="*/ 0 w 306"/>
                <a:gd name="T37" fmla="*/ 0 h 321"/>
                <a:gd name="T38" fmla="*/ 0 w 306"/>
                <a:gd name="T39" fmla="*/ 0 h 321"/>
                <a:gd name="T40" fmla="*/ 0 w 306"/>
                <a:gd name="T41" fmla="*/ 0 h 321"/>
                <a:gd name="T42" fmla="*/ 0 w 306"/>
                <a:gd name="T43" fmla="*/ 0 h 321"/>
                <a:gd name="T44" fmla="*/ 0 w 306"/>
                <a:gd name="T45" fmla="*/ 0 h 321"/>
                <a:gd name="T46" fmla="*/ 0 w 306"/>
                <a:gd name="T47" fmla="*/ 0 h 321"/>
                <a:gd name="T48" fmla="*/ 0 w 306"/>
                <a:gd name="T49" fmla="*/ 0 h 321"/>
                <a:gd name="T50" fmla="*/ 0 w 306"/>
                <a:gd name="T51" fmla="*/ 0 h 321"/>
                <a:gd name="T52" fmla="*/ 0 w 306"/>
                <a:gd name="T53" fmla="*/ 0 h 321"/>
                <a:gd name="T54" fmla="*/ 0 w 306"/>
                <a:gd name="T55" fmla="*/ 0 h 321"/>
                <a:gd name="T56" fmla="*/ 0 w 306"/>
                <a:gd name="T57" fmla="*/ 0 h 321"/>
                <a:gd name="T58" fmla="*/ 0 w 306"/>
                <a:gd name="T59" fmla="*/ 0 h 321"/>
                <a:gd name="T60" fmla="*/ 0 w 306"/>
                <a:gd name="T61" fmla="*/ 0 h 321"/>
                <a:gd name="T62" fmla="*/ 0 w 306"/>
                <a:gd name="T63" fmla="*/ 0 h 321"/>
                <a:gd name="T64" fmla="*/ 0 w 306"/>
                <a:gd name="T65" fmla="*/ 0 h 321"/>
                <a:gd name="T66" fmla="*/ 0 w 306"/>
                <a:gd name="T67" fmla="*/ 0 h 321"/>
                <a:gd name="T68" fmla="*/ 0 w 306"/>
                <a:gd name="T69" fmla="*/ 0 h 321"/>
                <a:gd name="T70" fmla="*/ 0 w 306"/>
                <a:gd name="T71" fmla="*/ 0 h 321"/>
                <a:gd name="T72" fmla="*/ 0 w 306"/>
                <a:gd name="T73" fmla="*/ 0 h 321"/>
                <a:gd name="T74" fmla="*/ 0 w 306"/>
                <a:gd name="T75" fmla="*/ 0 h 321"/>
                <a:gd name="T76" fmla="*/ 0 w 306"/>
                <a:gd name="T77" fmla="*/ 0 h 321"/>
                <a:gd name="T78" fmla="*/ 0 w 306"/>
                <a:gd name="T79" fmla="*/ 0 h 321"/>
                <a:gd name="T80" fmla="*/ 0 w 306"/>
                <a:gd name="T81" fmla="*/ 0 h 321"/>
                <a:gd name="T82" fmla="*/ 0 w 306"/>
                <a:gd name="T83" fmla="*/ 0 h 321"/>
                <a:gd name="T84" fmla="*/ 0 w 306"/>
                <a:gd name="T85" fmla="*/ 0 h 321"/>
                <a:gd name="T86" fmla="*/ 0 w 306"/>
                <a:gd name="T87" fmla="*/ 0 h 321"/>
                <a:gd name="T88" fmla="*/ 0 w 306"/>
                <a:gd name="T89" fmla="*/ 0 h 321"/>
                <a:gd name="T90" fmla="*/ 0 w 306"/>
                <a:gd name="T91" fmla="*/ 0 h 321"/>
                <a:gd name="T92" fmla="*/ 0 w 306"/>
                <a:gd name="T93" fmla="*/ 0 h 321"/>
                <a:gd name="T94" fmla="*/ 0 w 306"/>
                <a:gd name="T95" fmla="*/ 0 h 321"/>
                <a:gd name="T96" fmla="*/ 0 w 306"/>
                <a:gd name="T97" fmla="*/ 0 h 321"/>
                <a:gd name="T98" fmla="*/ 0 w 306"/>
                <a:gd name="T99" fmla="*/ 0 h 321"/>
                <a:gd name="T100" fmla="*/ 0 w 306"/>
                <a:gd name="T101" fmla="*/ 0 h 321"/>
                <a:gd name="T102" fmla="*/ 0 w 306"/>
                <a:gd name="T103" fmla="*/ 0 h 321"/>
                <a:gd name="T104" fmla="*/ 0 w 306"/>
                <a:gd name="T105" fmla="*/ 0 h 321"/>
                <a:gd name="T106" fmla="*/ 0 w 306"/>
                <a:gd name="T107" fmla="*/ 0 h 321"/>
                <a:gd name="T108" fmla="*/ 0 w 306"/>
                <a:gd name="T109" fmla="*/ 0 h 321"/>
                <a:gd name="T110" fmla="*/ 0 w 306"/>
                <a:gd name="T111" fmla="*/ 0 h 321"/>
                <a:gd name="T112" fmla="*/ 0 w 306"/>
                <a:gd name="T113" fmla="*/ 0 h 321"/>
                <a:gd name="T114" fmla="*/ 0 w 306"/>
                <a:gd name="T115" fmla="*/ 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5" name="Freeform 842"/>
            <p:cNvSpPr>
              <a:spLocks/>
            </p:cNvSpPr>
            <p:nvPr>
              <p:custDataLst>
                <p:tags r:id="rId203"/>
              </p:custDataLst>
            </p:nvPr>
          </p:nvSpPr>
          <p:spPr bwMode="auto">
            <a:xfrm>
              <a:off x="4419" y="1857"/>
              <a:ext cx="138" cy="170"/>
            </a:xfrm>
            <a:custGeom>
              <a:avLst/>
              <a:gdLst>
                <a:gd name="T0" fmla="*/ 0 w 471"/>
                <a:gd name="T1" fmla="*/ 0 h 518"/>
                <a:gd name="T2" fmla="*/ 0 w 471"/>
                <a:gd name="T3" fmla="*/ 0 h 518"/>
                <a:gd name="T4" fmla="*/ 0 w 471"/>
                <a:gd name="T5" fmla="*/ 0 h 518"/>
                <a:gd name="T6" fmla="*/ 0 w 471"/>
                <a:gd name="T7" fmla="*/ 0 h 518"/>
                <a:gd name="T8" fmla="*/ 0 w 471"/>
                <a:gd name="T9" fmla="*/ 0 h 518"/>
                <a:gd name="T10" fmla="*/ 0 w 471"/>
                <a:gd name="T11" fmla="*/ 0 h 518"/>
                <a:gd name="T12" fmla="*/ 0 w 471"/>
                <a:gd name="T13" fmla="*/ 0 h 518"/>
                <a:gd name="T14" fmla="*/ 0 w 471"/>
                <a:gd name="T15" fmla="*/ 0 h 518"/>
                <a:gd name="T16" fmla="*/ 0 w 471"/>
                <a:gd name="T17" fmla="*/ 0 h 518"/>
                <a:gd name="T18" fmla="*/ 0 w 471"/>
                <a:gd name="T19" fmla="*/ 0 h 518"/>
                <a:gd name="T20" fmla="*/ 0 w 471"/>
                <a:gd name="T21" fmla="*/ 0 h 518"/>
                <a:gd name="T22" fmla="*/ 0 w 471"/>
                <a:gd name="T23" fmla="*/ 0 h 518"/>
                <a:gd name="T24" fmla="*/ 0 w 471"/>
                <a:gd name="T25" fmla="*/ 0 h 518"/>
                <a:gd name="T26" fmla="*/ 0 w 471"/>
                <a:gd name="T27" fmla="*/ 0 h 518"/>
                <a:gd name="T28" fmla="*/ 0 w 471"/>
                <a:gd name="T29" fmla="*/ 0 h 518"/>
                <a:gd name="T30" fmla="*/ 0 w 471"/>
                <a:gd name="T31" fmla="*/ 0 h 518"/>
                <a:gd name="T32" fmla="*/ 0 w 471"/>
                <a:gd name="T33" fmla="*/ 0 h 518"/>
                <a:gd name="T34" fmla="*/ 0 w 471"/>
                <a:gd name="T35" fmla="*/ 0 h 518"/>
                <a:gd name="T36" fmla="*/ 0 w 471"/>
                <a:gd name="T37" fmla="*/ 0 h 518"/>
                <a:gd name="T38" fmla="*/ 0 w 471"/>
                <a:gd name="T39" fmla="*/ 0 h 518"/>
                <a:gd name="T40" fmla="*/ 0 w 471"/>
                <a:gd name="T41" fmla="*/ 0 h 518"/>
                <a:gd name="T42" fmla="*/ 0 w 471"/>
                <a:gd name="T43" fmla="*/ 0 h 518"/>
                <a:gd name="T44" fmla="*/ 0 w 471"/>
                <a:gd name="T45" fmla="*/ 0 h 518"/>
                <a:gd name="T46" fmla="*/ 0 w 471"/>
                <a:gd name="T47" fmla="*/ 0 h 518"/>
                <a:gd name="T48" fmla="*/ 0 w 471"/>
                <a:gd name="T49" fmla="*/ 0 h 518"/>
                <a:gd name="T50" fmla="*/ 0 w 471"/>
                <a:gd name="T51" fmla="*/ 0 h 518"/>
                <a:gd name="T52" fmla="*/ 0 w 471"/>
                <a:gd name="T53" fmla="*/ 0 h 518"/>
                <a:gd name="T54" fmla="*/ 0 w 471"/>
                <a:gd name="T55" fmla="*/ 0 h 518"/>
                <a:gd name="T56" fmla="*/ 0 w 471"/>
                <a:gd name="T57" fmla="*/ 0 h 518"/>
                <a:gd name="T58" fmla="*/ 0 w 471"/>
                <a:gd name="T59" fmla="*/ 0 h 518"/>
                <a:gd name="T60" fmla="*/ 0 w 471"/>
                <a:gd name="T61" fmla="*/ 0 h 518"/>
                <a:gd name="T62" fmla="*/ 0 w 471"/>
                <a:gd name="T63" fmla="*/ 0 h 518"/>
                <a:gd name="T64" fmla="*/ 0 w 471"/>
                <a:gd name="T65" fmla="*/ 0 h 518"/>
                <a:gd name="T66" fmla="*/ 0 w 471"/>
                <a:gd name="T67" fmla="*/ 0 h 518"/>
                <a:gd name="T68" fmla="*/ 0 w 471"/>
                <a:gd name="T69" fmla="*/ 0 h 518"/>
                <a:gd name="T70" fmla="*/ 0 w 471"/>
                <a:gd name="T71" fmla="*/ 0 h 518"/>
                <a:gd name="T72" fmla="*/ 0 w 471"/>
                <a:gd name="T73" fmla="*/ 0 h 518"/>
                <a:gd name="T74" fmla="*/ 0 w 471"/>
                <a:gd name="T75" fmla="*/ 0 h 518"/>
                <a:gd name="T76" fmla="*/ 0 w 471"/>
                <a:gd name="T77" fmla="*/ 0 h 518"/>
                <a:gd name="T78" fmla="*/ 0 w 471"/>
                <a:gd name="T79" fmla="*/ 0 h 518"/>
                <a:gd name="T80" fmla="*/ 0 w 471"/>
                <a:gd name="T81" fmla="*/ 0 h 518"/>
                <a:gd name="T82" fmla="*/ 0 w 471"/>
                <a:gd name="T83" fmla="*/ 0 h 518"/>
                <a:gd name="T84" fmla="*/ 0 w 471"/>
                <a:gd name="T85" fmla="*/ 0 h 518"/>
                <a:gd name="T86" fmla="*/ 0 w 471"/>
                <a:gd name="T87" fmla="*/ 0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6" name="Freeform 843"/>
            <p:cNvSpPr>
              <a:spLocks/>
            </p:cNvSpPr>
            <p:nvPr>
              <p:custDataLst>
                <p:tags r:id="rId204"/>
              </p:custDataLst>
            </p:nvPr>
          </p:nvSpPr>
          <p:spPr bwMode="auto">
            <a:xfrm>
              <a:off x="4475" y="2015"/>
              <a:ext cx="91" cy="82"/>
            </a:xfrm>
            <a:custGeom>
              <a:avLst/>
              <a:gdLst>
                <a:gd name="T0" fmla="*/ 0 w 293"/>
                <a:gd name="T1" fmla="*/ 0 h 246"/>
                <a:gd name="T2" fmla="*/ 0 w 293"/>
                <a:gd name="T3" fmla="*/ 0 h 246"/>
                <a:gd name="T4" fmla="*/ 0 w 293"/>
                <a:gd name="T5" fmla="*/ 0 h 246"/>
                <a:gd name="T6" fmla="*/ 0 w 293"/>
                <a:gd name="T7" fmla="*/ 0 h 246"/>
                <a:gd name="T8" fmla="*/ 0 w 293"/>
                <a:gd name="T9" fmla="*/ 0 h 246"/>
                <a:gd name="T10" fmla="*/ 0 w 293"/>
                <a:gd name="T11" fmla="*/ 0 h 246"/>
                <a:gd name="T12" fmla="*/ 0 w 293"/>
                <a:gd name="T13" fmla="*/ 0 h 246"/>
                <a:gd name="T14" fmla="*/ 0 w 293"/>
                <a:gd name="T15" fmla="*/ 0 h 246"/>
                <a:gd name="T16" fmla="*/ 0 w 293"/>
                <a:gd name="T17" fmla="*/ 0 h 246"/>
                <a:gd name="T18" fmla="*/ 0 w 293"/>
                <a:gd name="T19" fmla="*/ 0 h 246"/>
                <a:gd name="T20" fmla="*/ 0 w 293"/>
                <a:gd name="T21" fmla="*/ 0 h 246"/>
                <a:gd name="T22" fmla="*/ 0 w 293"/>
                <a:gd name="T23" fmla="*/ 0 h 246"/>
                <a:gd name="T24" fmla="*/ 0 w 293"/>
                <a:gd name="T25" fmla="*/ 0 h 246"/>
                <a:gd name="T26" fmla="*/ 0 w 293"/>
                <a:gd name="T27" fmla="*/ 0 h 246"/>
                <a:gd name="T28" fmla="*/ 0 w 293"/>
                <a:gd name="T29" fmla="*/ 0 h 246"/>
                <a:gd name="T30" fmla="*/ 0 w 293"/>
                <a:gd name="T31" fmla="*/ 0 h 246"/>
                <a:gd name="T32" fmla="*/ 0 w 293"/>
                <a:gd name="T33" fmla="*/ 0 h 246"/>
                <a:gd name="T34" fmla="*/ 0 w 293"/>
                <a:gd name="T35" fmla="*/ 0 h 246"/>
                <a:gd name="T36" fmla="*/ 0 w 293"/>
                <a:gd name="T37" fmla="*/ 0 h 246"/>
                <a:gd name="T38" fmla="*/ 0 w 293"/>
                <a:gd name="T39" fmla="*/ 0 h 246"/>
                <a:gd name="T40" fmla="*/ 0 w 293"/>
                <a:gd name="T41" fmla="*/ 0 h 246"/>
                <a:gd name="T42" fmla="*/ 0 w 293"/>
                <a:gd name="T43" fmla="*/ 0 h 246"/>
                <a:gd name="T44" fmla="*/ 0 w 293"/>
                <a:gd name="T45" fmla="*/ 0 h 246"/>
                <a:gd name="T46" fmla="*/ 0 w 293"/>
                <a:gd name="T47" fmla="*/ 0 h 246"/>
                <a:gd name="T48" fmla="*/ 0 w 293"/>
                <a:gd name="T49" fmla="*/ 0 h 246"/>
                <a:gd name="T50" fmla="*/ 0 w 293"/>
                <a:gd name="T51" fmla="*/ 0 h 246"/>
                <a:gd name="T52" fmla="*/ 0 w 293"/>
                <a:gd name="T53" fmla="*/ 0 h 246"/>
                <a:gd name="T54" fmla="*/ 0 w 293"/>
                <a:gd name="T55" fmla="*/ 0 h 246"/>
                <a:gd name="T56" fmla="*/ 0 w 293"/>
                <a:gd name="T57" fmla="*/ 0 h 246"/>
                <a:gd name="T58" fmla="*/ 0 w 293"/>
                <a:gd name="T59" fmla="*/ 0 h 246"/>
                <a:gd name="T60" fmla="*/ 0 w 293"/>
                <a:gd name="T61" fmla="*/ 0 h 246"/>
                <a:gd name="T62" fmla="*/ 0 w 293"/>
                <a:gd name="T63" fmla="*/ 0 h 246"/>
                <a:gd name="T64" fmla="*/ 0 w 293"/>
                <a:gd name="T65" fmla="*/ 0 h 246"/>
                <a:gd name="T66" fmla="*/ 0 w 293"/>
                <a:gd name="T67" fmla="*/ 0 h 246"/>
                <a:gd name="T68" fmla="*/ 0 w 293"/>
                <a:gd name="T69" fmla="*/ 0 h 246"/>
                <a:gd name="T70" fmla="*/ 0 w 293"/>
                <a:gd name="T71" fmla="*/ 0 h 246"/>
                <a:gd name="T72" fmla="*/ 0 w 293"/>
                <a:gd name="T73" fmla="*/ 0 h 246"/>
                <a:gd name="T74" fmla="*/ 0 w 293"/>
                <a:gd name="T75" fmla="*/ 0 h 246"/>
                <a:gd name="T76" fmla="*/ 0 w 293"/>
                <a:gd name="T77" fmla="*/ 0 h 246"/>
                <a:gd name="T78" fmla="*/ 0 w 293"/>
                <a:gd name="T79" fmla="*/ 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7" name="Freeform 844"/>
            <p:cNvSpPr>
              <a:spLocks/>
            </p:cNvSpPr>
            <p:nvPr>
              <p:custDataLst>
                <p:tags r:id="rId205"/>
              </p:custDataLst>
            </p:nvPr>
          </p:nvSpPr>
          <p:spPr bwMode="auto">
            <a:xfrm>
              <a:off x="4749" y="1534"/>
              <a:ext cx="59" cy="82"/>
            </a:xfrm>
            <a:custGeom>
              <a:avLst/>
              <a:gdLst>
                <a:gd name="T0" fmla="*/ 0 w 200"/>
                <a:gd name="T1" fmla="*/ 0 h 246"/>
                <a:gd name="T2" fmla="*/ 0 w 200"/>
                <a:gd name="T3" fmla="*/ 0 h 246"/>
                <a:gd name="T4" fmla="*/ 0 w 200"/>
                <a:gd name="T5" fmla="*/ 0 h 246"/>
                <a:gd name="T6" fmla="*/ 0 w 200"/>
                <a:gd name="T7" fmla="*/ 0 h 246"/>
                <a:gd name="T8" fmla="*/ 0 w 200"/>
                <a:gd name="T9" fmla="*/ 0 h 246"/>
                <a:gd name="T10" fmla="*/ 0 w 200"/>
                <a:gd name="T11" fmla="*/ 0 h 246"/>
                <a:gd name="T12" fmla="*/ 0 w 200"/>
                <a:gd name="T13" fmla="*/ 0 h 246"/>
                <a:gd name="T14" fmla="*/ 0 w 200"/>
                <a:gd name="T15" fmla="*/ 0 h 246"/>
                <a:gd name="T16" fmla="*/ 0 w 200"/>
                <a:gd name="T17" fmla="*/ 0 h 246"/>
                <a:gd name="T18" fmla="*/ 0 w 200"/>
                <a:gd name="T19" fmla="*/ 0 h 246"/>
                <a:gd name="T20" fmla="*/ 0 w 200"/>
                <a:gd name="T21" fmla="*/ 0 h 246"/>
                <a:gd name="T22" fmla="*/ 0 w 200"/>
                <a:gd name="T23" fmla="*/ 0 h 246"/>
                <a:gd name="T24" fmla="*/ 0 w 200"/>
                <a:gd name="T25" fmla="*/ 0 h 246"/>
                <a:gd name="T26" fmla="*/ 0 w 200"/>
                <a:gd name="T27" fmla="*/ 0 h 246"/>
                <a:gd name="T28" fmla="*/ 0 w 200"/>
                <a:gd name="T29" fmla="*/ 0 h 246"/>
                <a:gd name="T30" fmla="*/ 0 w 200"/>
                <a:gd name="T31" fmla="*/ 0 h 246"/>
                <a:gd name="T32" fmla="*/ 0 w 200"/>
                <a:gd name="T33" fmla="*/ 0 h 246"/>
                <a:gd name="T34" fmla="*/ 0 w 200"/>
                <a:gd name="T35" fmla="*/ 0 h 246"/>
                <a:gd name="T36" fmla="*/ 0 w 200"/>
                <a:gd name="T37" fmla="*/ 0 h 246"/>
                <a:gd name="T38" fmla="*/ 0 w 200"/>
                <a:gd name="T39" fmla="*/ 0 h 246"/>
                <a:gd name="T40" fmla="*/ 0 w 200"/>
                <a:gd name="T41" fmla="*/ 0 h 246"/>
                <a:gd name="T42" fmla="*/ 0 w 200"/>
                <a:gd name="T43" fmla="*/ 0 h 246"/>
                <a:gd name="T44" fmla="*/ 0 w 200"/>
                <a:gd name="T45" fmla="*/ 0 h 246"/>
                <a:gd name="T46" fmla="*/ 0 w 200"/>
                <a:gd name="T47" fmla="*/ 0 h 246"/>
                <a:gd name="T48" fmla="*/ 0 w 200"/>
                <a:gd name="T49" fmla="*/ 0 h 246"/>
                <a:gd name="T50" fmla="*/ 0 w 200"/>
                <a:gd name="T51" fmla="*/ 0 h 246"/>
                <a:gd name="T52" fmla="*/ 0 w 200"/>
                <a:gd name="T53" fmla="*/ 0 h 246"/>
                <a:gd name="T54" fmla="*/ 0 w 200"/>
                <a:gd name="T55" fmla="*/ 0 h 246"/>
                <a:gd name="T56" fmla="*/ 0 w 200"/>
                <a:gd name="T57" fmla="*/ 0 h 246"/>
                <a:gd name="T58" fmla="*/ 0 w 200"/>
                <a:gd name="T59" fmla="*/ 0 h 246"/>
                <a:gd name="T60" fmla="*/ 0 w 200"/>
                <a:gd name="T61" fmla="*/ 0 h 246"/>
                <a:gd name="T62" fmla="*/ 0 w 200"/>
                <a:gd name="T63" fmla="*/ 0 h 246"/>
                <a:gd name="T64" fmla="*/ 0 w 200"/>
                <a:gd name="T65" fmla="*/ 0 h 246"/>
                <a:gd name="T66" fmla="*/ 0 w 200"/>
                <a:gd name="T67" fmla="*/ 0 h 246"/>
                <a:gd name="T68" fmla="*/ 0 w 200"/>
                <a:gd name="T69" fmla="*/ 0 h 246"/>
                <a:gd name="T70" fmla="*/ 0 w 200"/>
                <a:gd name="T71" fmla="*/ 0 h 246"/>
                <a:gd name="T72" fmla="*/ 0 w 200"/>
                <a:gd name="T73" fmla="*/ 0 h 246"/>
                <a:gd name="T74" fmla="*/ 0 w 200"/>
                <a:gd name="T75" fmla="*/ 0 h 246"/>
                <a:gd name="T76" fmla="*/ 0 w 200"/>
                <a:gd name="T77" fmla="*/ 0 h 246"/>
                <a:gd name="T78" fmla="*/ 0 w 200"/>
                <a:gd name="T79" fmla="*/ 0 h 246"/>
                <a:gd name="T80" fmla="*/ 0 w 200"/>
                <a:gd name="T81" fmla="*/ 0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8" name="Freeform 845"/>
            <p:cNvSpPr>
              <a:spLocks/>
            </p:cNvSpPr>
            <p:nvPr>
              <p:custDataLst>
                <p:tags r:id="rId206"/>
              </p:custDataLst>
            </p:nvPr>
          </p:nvSpPr>
          <p:spPr bwMode="auto">
            <a:xfrm>
              <a:off x="5137" y="2351"/>
              <a:ext cx="158" cy="160"/>
            </a:xfrm>
            <a:custGeom>
              <a:avLst/>
              <a:gdLst>
                <a:gd name="T0" fmla="*/ 0 w 538"/>
                <a:gd name="T1" fmla="*/ 0 h 487"/>
                <a:gd name="T2" fmla="*/ 0 w 538"/>
                <a:gd name="T3" fmla="*/ 0 h 487"/>
                <a:gd name="T4" fmla="*/ 0 w 538"/>
                <a:gd name="T5" fmla="*/ 0 h 487"/>
                <a:gd name="T6" fmla="*/ 0 w 538"/>
                <a:gd name="T7" fmla="*/ 0 h 487"/>
                <a:gd name="T8" fmla="*/ 0 w 538"/>
                <a:gd name="T9" fmla="*/ 0 h 487"/>
                <a:gd name="T10" fmla="*/ 0 w 538"/>
                <a:gd name="T11" fmla="*/ 0 h 487"/>
                <a:gd name="T12" fmla="*/ 0 w 538"/>
                <a:gd name="T13" fmla="*/ 0 h 487"/>
                <a:gd name="T14" fmla="*/ 0 w 538"/>
                <a:gd name="T15" fmla="*/ 0 h 487"/>
                <a:gd name="T16" fmla="*/ 0 w 538"/>
                <a:gd name="T17" fmla="*/ 0 h 487"/>
                <a:gd name="T18" fmla="*/ 0 w 538"/>
                <a:gd name="T19" fmla="*/ 0 h 487"/>
                <a:gd name="T20" fmla="*/ 0 w 538"/>
                <a:gd name="T21" fmla="*/ 0 h 487"/>
                <a:gd name="T22" fmla="*/ 0 w 538"/>
                <a:gd name="T23" fmla="*/ 0 h 487"/>
                <a:gd name="T24" fmla="*/ 0 w 538"/>
                <a:gd name="T25" fmla="*/ 0 h 487"/>
                <a:gd name="T26" fmla="*/ 0 w 538"/>
                <a:gd name="T27" fmla="*/ 0 h 487"/>
                <a:gd name="T28" fmla="*/ 0 w 538"/>
                <a:gd name="T29" fmla="*/ 0 h 487"/>
                <a:gd name="T30" fmla="*/ 0 w 538"/>
                <a:gd name="T31" fmla="*/ 0 h 487"/>
                <a:gd name="T32" fmla="*/ 0 w 538"/>
                <a:gd name="T33" fmla="*/ 0 h 487"/>
                <a:gd name="T34" fmla="*/ 0 w 538"/>
                <a:gd name="T35" fmla="*/ 0 h 487"/>
                <a:gd name="T36" fmla="*/ 0 w 538"/>
                <a:gd name="T37" fmla="*/ 0 h 487"/>
                <a:gd name="T38" fmla="*/ 0 w 538"/>
                <a:gd name="T39" fmla="*/ 0 h 487"/>
                <a:gd name="T40" fmla="*/ 0 w 538"/>
                <a:gd name="T41" fmla="*/ 0 h 487"/>
                <a:gd name="T42" fmla="*/ 0 w 538"/>
                <a:gd name="T43" fmla="*/ 0 h 487"/>
                <a:gd name="T44" fmla="*/ 0 w 538"/>
                <a:gd name="T45" fmla="*/ 0 h 487"/>
                <a:gd name="T46" fmla="*/ 0 w 538"/>
                <a:gd name="T47" fmla="*/ 0 h 487"/>
                <a:gd name="T48" fmla="*/ 0 w 538"/>
                <a:gd name="T49" fmla="*/ 0 h 487"/>
                <a:gd name="T50" fmla="*/ 0 w 538"/>
                <a:gd name="T51" fmla="*/ 0 h 487"/>
                <a:gd name="T52" fmla="*/ 0 w 538"/>
                <a:gd name="T53" fmla="*/ 0 h 487"/>
                <a:gd name="T54" fmla="*/ 0 w 538"/>
                <a:gd name="T55" fmla="*/ 0 h 487"/>
                <a:gd name="T56" fmla="*/ 0 w 538"/>
                <a:gd name="T57" fmla="*/ 0 h 487"/>
                <a:gd name="T58" fmla="*/ 0 w 538"/>
                <a:gd name="T59" fmla="*/ 0 h 487"/>
                <a:gd name="T60" fmla="*/ 0 w 538"/>
                <a:gd name="T61" fmla="*/ 0 h 487"/>
                <a:gd name="T62" fmla="*/ 0 w 538"/>
                <a:gd name="T63" fmla="*/ 0 h 487"/>
                <a:gd name="T64" fmla="*/ 0 w 538"/>
                <a:gd name="T65" fmla="*/ 0 h 487"/>
                <a:gd name="T66" fmla="*/ 0 w 538"/>
                <a:gd name="T67" fmla="*/ 0 h 487"/>
                <a:gd name="T68" fmla="*/ 0 w 538"/>
                <a:gd name="T69" fmla="*/ 0 h 487"/>
                <a:gd name="T70" fmla="*/ 0 w 538"/>
                <a:gd name="T71" fmla="*/ 0 h 487"/>
                <a:gd name="T72" fmla="*/ 0 w 538"/>
                <a:gd name="T73" fmla="*/ 0 h 487"/>
                <a:gd name="T74" fmla="*/ 0 w 538"/>
                <a:gd name="T75" fmla="*/ 0 h 487"/>
                <a:gd name="T76" fmla="*/ 0 w 538"/>
                <a:gd name="T77" fmla="*/ 0 h 487"/>
                <a:gd name="T78" fmla="*/ 0 w 538"/>
                <a:gd name="T79" fmla="*/ 0 h 487"/>
                <a:gd name="T80" fmla="*/ 0 w 538"/>
                <a:gd name="T81" fmla="*/ 0 h 487"/>
                <a:gd name="T82" fmla="*/ 0 w 538"/>
                <a:gd name="T83" fmla="*/ 0 h 487"/>
                <a:gd name="T84" fmla="*/ 0 w 538"/>
                <a:gd name="T85" fmla="*/ 0 h 487"/>
                <a:gd name="T86" fmla="*/ 0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9" name="Freeform 846"/>
            <p:cNvSpPr>
              <a:spLocks/>
            </p:cNvSpPr>
            <p:nvPr>
              <p:custDataLst>
                <p:tags r:id="rId207"/>
              </p:custDataLst>
            </p:nvPr>
          </p:nvSpPr>
          <p:spPr bwMode="auto">
            <a:xfrm>
              <a:off x="5268" y="2341"/>
              <a:ext cx="73" cy="81"/>
            </a:xfrm>
            <a:custGeom>
              <a:avLst/>
              <a:gdLst>
                <a:gd name="T0" fmla="*/ 0 w 253"/>
                <a:gd name="T1" fmla="*/ 0 h 246"/>
                <a:gd name="T2" fmla="*/ 0 w 253"/>
                <a:gd name="T3" fmla="*/ 0 h 246"/>
                <a:gd name="T4" fmla="*/ 0 w 253"/>
                <a:gd name="T5" fmla="*/ 0 h 246"/>
                <a:gd name="T6" fmla="*/ 0 w 253"/>
                <a:gd name="T7" fmla="*/ 0 h 246"/>
                <a:gd name="T8" fmla="*/ 0 w 253"/>
                <a:gd name="T9" fmla="*/ 0 h 246"/>
                <a:gd name="T10" fmla="*/ 0 w 253"/>
                <a:gd name="T11" fmla="*/ 0 h 246"/>
                <a:gd name="T12" fmla="*/ 0 w 253"/>
                <a:gd name="T13" fmla="*/ 0 h 246"/>
                <a:gd name="T14" fmla="*/ 0 w 253"/>
                <a:gd name="T15" fmla="*/ 0 h 246"/>
                <a:gd name="T16" fmla="*/ 0 w 253"/>
                <a:gd name="T17" fmla="*/ 0 h 246"/>
                <a:gd name="T18" fmla="*/ 0 w 253"/>
                <a:gd name="T19" fmla="*/ 0 h 246"/>
                <a:gd name="T20" fmla="*/ 0 w 253"/>
                <a:gd name="T21" fmla="*/ 0 h 246"/>
                <a:gd name="T22" fmla="*/ 0 w 253"/>
                <a:gd name="T23" fmla="*/ 0 h 246"/>
                <a:gd name="T24" fmla="*/ 0 w 253"/>
                <a:gd name="T25" fmla="*/ 0 h 246"/>
                <a:gd name="T26" fmla="*/ 0 w 253"/>
                <a:gd name="T27" fmla="*/ 0 h 246"/>
                <a:gd name="T28" fmla="*/ 0 w 253"/>
                <a:gd name="T29" fmla="*/ 0 h 246"/>
                <a:gd name="T30" fmla="*/ 0 w 253"/>
                <a:gd name="T31" fmla="*/ 0 h 246"/>
                <a:gd name="T32" fmla="*/ 0 w 253"/>
                <a:gd name="T33" fmla="*/ 0 h 246"/>
                <a:gd name="T34" fmla="*/ 0 w 253"/>
                <a:gd name="T35" fmla="*/ 0 h 246"/>
                <a:gd name="T36" fmla="*/ 0 w 253"/>
                <a:gd name="T37" fmla="*/ 0 h 246"/>
                <a:gd name="T38" fmla="*/ 0 w 253"/>
                <a:gd name="T39" fmla="*/ 0 h 246"/>
                <a:gd name="T40" fmla="*/ 0 w 253"/>
                <a:gd name="T41" fmla="*/ 0 h 246"/>
                <a:gd name="T42" fmla="*/ 0 w 253"/>
                <a:gd name="T43" fmla="*/ 0 h 246"/>
                <a:gd name="T44" fmla="*/ 0 w 253"/>
                <a:gd name="T45" fmla="*/ 0 h 246"/>
                <a:gd name="T46" fmla="*/ 0 w 253"/>
                <a:gd name="T47" fmla="*/ 0 h 246"/>
                <a:gd name="T48" fmla="*/ 0 w 253"/>
                <a:gd name="T49" fmla="*/ 0 h 246"/>
                <a:gd name="T50" fmla="*/ 0 w 253"/>
                <a:gd name="T51" fmla="*/ 0 h 246"/>
                <a:gd name="T52" fmla="*/ 0 w 253"/>
                <a:gd name="T53" fmla="*/ 0 h 246"/>
                <a:gd name="T54" fmla="*/ 0 w 253"/>
                <a:gd name="T55" fmla="*/ 0 h 246"/>
                <a:gd name="T56" fmla="*/ 0 w 253"/>
                <a:gd name="T57" fmla="*/ 0 h 246"/>
                <a:gd name="T58" fmla="*/ 0 w 253"/>
                <a:gd name="T59" fmla="*/ 0 h 246"/>
                <a:gd name="T60" fmla="*/ 0 w 253"/>
                <a:gd name="T61" fmla="*/ 0 h 246"/>
                <a:gd name="T62" fmla="*/ 0 w 253"/>
                <a:gd name="T63" fmla="*/ 0 h 246"/>
                <a:gd name="T64" fmla="*/ 0 w 253"/>
                <a:gd name="T65" fmla="*/ 0 h 246"/>
                <a:gd name="T66" fmla="*/ 0 w 253"/>
                <a:gd name="T67" fmla="*/ 0 h 246"/>
                <a:gd name="T68" fmla="*/ 0 w 253"/>
                <a:gd name="T69" fmla="*/ 0 h 246"/>
                <a:gd name="T70" fmla="*/ 0 w 253"/>
                <a:gd name="T71" fmla="*/ 0 h 246"/>
                <a:gd name="T72" fmla="*/ 0 w 253"/>
                <a:gd name="T73" fmla="*/ 0 h 246"/>
                <a:gd name="T74" fmla="*/ 0 w 253"/>
                <a:gd name="T75" fmla="*/ 0 h 246"/>
                <a:gd name="T76" fmla="*/ 0 w 253"/>
                <a:gd name="T77" fmla="*/ 0 h 246"/>
                <a:gd name="T78" fmla="*/ 0 w 253"/>
                <a:gd name="T79" fmla="*/ 0 h 246"/>
                <a:gd name="T80" fmla="*/ 0 w 253"/>
                <a:gd name="T81" fmla="*/ 0 h 246"/>
                <a:gd name="T82" fmla="*/ 0 w 253"/>
                <a:gd name="T83" fmla="*/ 0 h 246"/>
                <a:gd name="T84" fmla="*/ 0 w 253"/>
                <a:gd name="T85" fmla="*/ 0 h 246"/>
                <a:gd name="T86" fmla="*/ 0 w 253"/>
                <a:gd name="T87" fmla="*/ 0 h 246"/>
                <a:gd name="T88" fmla="*/ 0 w 253"/>
                <a:gd name="T89" fmla="*/ 0 h 246"/>
                <a:gd name="T90" fmla="*/ 0 w 253"/>
                <a:gd name="T91" fmla="*/ 0 h 246"/>
                <a:gd name="T92" fmla="*/ 0 w 253"/>
                <a:gd name="T93" fmla="*/ 0 h 246"/>
                <a:gd name="T94" fmla="*/ 0 w 253"/>
                <a:gd name="T95" fmla="*/ 0 h 246"/>
                <a:gd name="T96" fmla="*/ 0 w 253"/>
                <a:gd name="T97" fmla="*/ 0 h 246"/>
                <a:gd name="T98" fmla="*/ 0 w 253"/>
                <a:gd name="T99" fmla="*/ 0 h 246"/>
                <a:gd name="T100" fmla="*/ 0 w 253"/>
                <a:gd name="T101" fmla="*/ 0 h 246"/>
                <a:gd name="T102" fmla="*/ 0 w 253"/>
                <a:gd name="T103" fmla="*/ 0 h 246"/>
                <a:gd name="T104" fmla="*/ 0 w 253"/>
                <a:gd name="T105" fmla="*/ 0 h 246"/>
                <a:gd name="T106" fmla="*/ 0 w 253"/>
                <a:gd name="T107" fmla="*/ 0 h 246"/>
                <a:gd name="T108" fmla="*/ 0 w 253"/>
                <a:gd name="T109" fmla="*/ 0 h 246"/>
                <a:gd name="T110" fmla="*/ 0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0" name="Freeform 847"/>
            <p:cNvSpPr>
              <a:spLocks/>
            </p:cNvSpPr>
            <p:nvPr>
              <p:custDataLst>
                <p:tags r:id="rId208"/>
              </p:custDataLst>
            </p:nvPr>
          </p:nvSpPr>
          <p:spPr bwMode="auto">
            <a:xfrm>
              <a:off x="4092" y="2110"/>
              <a:ext cx="43" cy="75"/>
            </a:xfrm>
            <a:custGeom>
              <a:avLst/>
              <a:gdLst>
                <a:gd name="T0" fmla="*/ 0 w 141"/>
                <a:gd name="T1" fmla="*/ 0 h 228"/>
                <a:gd name="T2" fmla="*/ 0 w 141"/>
                <a:gd name="T3" fmla="*/ 0 h 228"/>
                <a:gd name="T4" fmla="*/ 0 w 141"/>
                <a:gd name="T5" fmla="*/ 0 h 228"/>
                <a:gd name="T6" fmla="*/ 0 w 141"/>
                <a:gd name="T7" fmla="*/ 0 h 228"/>
                <a:gd name="T8" fmla="*/ 0 w 141"/>
                <a:gd name="T9" fmla="*/ 0 h 228"/>
                <a:gd name="T10" fmla="*/ 0 w 141"/>
                <a:gd name="T11" fmla="*/ 0 h 228"/>
                <a:gd name="T12" fmla="*/ 0 w 141"/>
                <a:gd name="T13" fmla="*/ 0 h 228"/>
                <a:gd name="T14" fmla="*/ 0 w 141"/>
                <a:gd name="T15" fmla="*/ 0 h 228"/>
                <a:gd name="T16" fmla="*/ 0 w 141"/>
                <a:gd name="T17" fmla="*/ 0 h 228"/>
                <a:gd name="T18" fmla="*/ 0 w 141"/>
                <a:gd name="T19" fmla="*/ 0 h 228"/>
                <a:gd name="T20" fmla="*/ 0 w 141"/>
                <a:gd name="T21" fmla="*/ 0 h 228"/>
                <a:gd name="T22" fmla="*/ 0 w 141"/>
                <a:gd name="T23" fmla="*/ 0 h 228"/>
                <a:gd name="T24" fmla="*/ 0 w 141"/>
                <a:gd name="T25" fmla="*/ 0 h 228"/>
                <a:gd name="T26" fmla="*/ 0 w 141"/>
                <a:gd name="T27" fmla="*/ 0 h 228"/>
                <a:gd name="T28" fmla="*/ 0 w 141"/>
                <a:gd name="T29" fmla="*/ 0 h 228"/>
                <a:gd name="T30" fmla="*/ 0 w 141"/>
                <a:gd name="T31" fmla="*/ 0 h 228"/>
                <a:gd name="T32" fmla="*/ 0 w 141"/>
                <a:gd name="T33" fmla="*/ 0 h 228"/>
                <a:gd name="T34" fmla="*/ 0 w 141"/>
                <a:gd name="T35" fmla="*/ 0 h 228"/>
                <a:gd name="T36" fmla="*/ 0 w 141"/>
                <a:gd name="T37" fmla="*/ 0 h 228"/>
                <a:gd name="T38" fmla="*/ 0 w 141"/>
                <a:gd name="T39" fmla="*/ 0 h 228"/>
                <a:gd name="T40" fmla="*/ 0 w 141"/>
                <a:gd name="T41" fmla="*/ 0 h 228"/>
                <a:gd name="T42" fmla="*/ 0 w 141"/>
                <a:gd name="T43" fmla="*/ 0 h 228"/>
                <a:gd name="T44" fmla="*/ 0 w 141"/>
                <a:gd name="T45" fmla="*/ 0 h 228"/>
                <a:gd name="T46" fmla="*/ 0 w 141"/>
                <a:gd name="T47" fmla="*/ 0 h 228"/>
                <a:gd name="T48" fmla="*/ 0 w 141"/>
                <a:gd name="T49" fmla="*/ 0 h 228"/>
                <a:gd name="T50" fmla="*/ 0 w 141"/>
                <a:gd name="T51" fmla="*/ 0 h 228"/>
                <a:gd name="T52" fmla="*/ 0 w 141"/>
                <a:gd name="T53" fmla="*/ 0 h 228"/>
                <a:gd name="T54" fmla="*/ 0 w 141"/>
                <a:gd name="T55" fmla="*/ 0 h 228"/>
                <a:gd name="T56" fmla="*/ 0 w 141"/>
                <a:gd name="T57" fmla="*/ 0 h 228"/>
                <a:gd name="T58" fmla="*/ 0 w 141"/>
                <a:gd name="T59" fmla="*/ 0 h 228"/>
                <a:gd name="T60" fmla="*/ 0 w 141"/>
                <a:gd name="T61" fmla="*/ 0 h 228"/>
                <a:gd name="T62" fmla="*/ 0 w 141"/>
                <a:gd name="T63" fmla="*/ 0 h 228"/>
                <a:gd name="T64" fmla="*/ 0 w 141"/>
                <a:gd name="T65" fmla="*/ 0 h 228"/>
                <a:gd name="T66" fmla="*/ 0 w 141"/>
                <a:gd name="T67" fmla="*/ 0 h 228"/>
                <a:gd name="T68" fmla="*/ 0 w 141"/>
                <a:gd name="T69" fmla="*/ 0 h 228"/>
                <a:gd name="T70" fmla="*/ 0 w 141"/>
                <a:gd name="T71" fmla="*/ 0 h 228"/>
                <a:gd name="T72" fmla="*/ 0 w 141"/>
                <a:gd name="T73" fmla="*/ 0 h 228"/>
                <a:gd name="T74" fmla="*/ 0 w 141"/>
                <a:gd name="T75" fmla="*/ 0 h 228"/>
                <a:gd name="T76" fmla="*/ 0 w 141"/>
                <a:gd name="T77" fmla="*/ 0 h 228"/>
                <a:gd name="T78" fmla="*/ 0 w 141"/>
                <a:gd name="T79" fmla="*/ 0 h 228"/>
                <a:gd name="T80" fmla="*/ 0 w 141"/>
                <a:gd name="T81" fmla="*/ 0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1" name="Group 848"/>
            <p:cNvGrpSpPr>
              <a:grpSpLocks/>
            </p:cNvGrpSpPr>
            <p:nvPr>
              <p:custDataLst>
                <p:tags r:id="rId209"/>
              </p:custDataLst>
            </p:nvPr>
          </p:nvGrpSpPr>
          <p:grpSpPr bwMode="auto">
            <a:xfrm>
              <a:off x="4733" y="1928"/>
              <a:ext cx="159" cy="277"/>
              <a:chOff x="5062" y="2295"/>
              <a:chExt cx="177" cy="279"/>
            </a:xfrm>
            <a:grpFill/>
          </p:grpSpPr>
          <p:sp>
            <p:nvSpPr>
              <p:cNvPr id="18906" name="Freeform 849"/>
              <p:cNvSpPr>
                <a:spLocks/>
              </p:cNvSpPr>
              <p:nvPr/>
            </p:nvSpPr>
            <p:spPr bwMode="auto">
              <a:xfrm>
                <a:off x="5154" y="2449"/>
                <a:ext cx="19" cy="37"/>
              </a:xfrm>
              <a:custGeom>
                <a:avLst/>
                <a:gdLst>
                  <a:gd name="T0" fmla="*/ 0 w 60"/>
                  <a:gd name="T1" fmla="*/ 0 h 110"/>
                  <a:gd name="T2" fmla="*/ 0 w 60"/>
                  <a:gd name="T3" fmla="*/ 0 h 110"/>
                  <a:gd name="T4" fmla="*/ 0 w 60"/>
                  <a:gd name="T5" fmla="*/ 0 h 110"/>
                  <a:gd name="T6" fmla="*/ 0 w 60"/>
                  <a:gd name="T7" fmla="*/ 0 h 110"/>
                  <a:gd name="T8" fmla="*/ 0 w 60"/>
                  <a:gd name="T9" fmla="*/ 0 h 110"/>
                  <a:gd name="T10" fmla="*/ 0 w 60"/>
                  <a:gd name="T11" fmla="*/ 0 h 110"/>
                  <a:gd name="T12" fmla="*/ 0 w 60"/>
                  <a:gd name="T13" fmla="*/ 0 h 110"/>
                  <a:gd name="T14" fmla="*/ 0 w 60"/>
                  <a:gd name="T15" fmla="*/ 0 h 110"/>
                  <a:gd name="T16" fmla="*/ 0 w 60"/>
                  <a:gd name="T17" fmla="*/ 0 h 110"/>
                  <a:gd name="T18" fmla="*/ 0 w 60"/>
                  <a:gd name="T19" fmla="*/ 0 h 110"/>
                  <a:gd name="T20" fmla="*/ 0 w 60"/>
                  <a:gd name="T21" fmla="*/ 0 h 110"/>
                  <a:gd name="T22" fmla="*/ 0 w 60"/>
                  <a:gd name="T23" fmla="*/ 0 h 110"/>
                  <a:gd name="T24" fmla="*/ 0 w 60"/>
                  <a:gd name="T25" fmla="*/ 0 h 110"/>
                  <a:gd name="T26" fmla="*/ 0 w 60"/>
                  <a:gd name="T27" fmla="*/ 0 h 110"/>
                  <a:gd name="T28" fmla="*/ 0 w 60"/>
                  <a:gd name="T29" fmla="*/ 0 h 110"/>
                  <a:gd name="T30" fmla="*/ 0 w 60"/>
                  <a:gd name="T31" fmla="*/ 0 h 110"/>
                  <a:gd name="T32" fmla="*/ 0 w 60"/>
                  <a:gd name="T33" fmla="*/ 0 h 110"/>
                  <a:gd name="T34" fmla="*/ 0 w 60"/>
                  <a:gd name="T35" fmla="*/ 0 h 110"/>
                  <a:gd name="T36" fmla="*/ 0 w 60"/>
                  <a:gd name="T37" fmla="*/ 0 h 110"/>
                  <a:gd name="T38" fmla="*/ 0 w 60"/>
                  <a:gd name="T39" fmla="*/ 0 h 110"/>
                  <a:gd name="T40" fmla="*/ 0 w 60"/>
                  <a:gd name="T41" fmla="*/ 0 h 110"/>
                  <a:gd name="T42" fmla="*/ 0 w 60"/>
                  <a:gd name="T43" fmla="*/ 0 h 110"/>
                  <a:gd name="T44" fmla="*/ 0 w 60"/>
                  <a:gd name="T45" fmla="*/ 0 h 110"/>
                  <a:gd name="T46" fmla="*/ 0 w 60"/>
                  <a:gd name="T47" fmla="*/ 0 h 110"/>
                  <a:gd name="T48" fmla="*/ 0 w 60"/>
                  <a:gd name="T49" fmla="*/ 0 h 110"/>
                  <a:gd name="T50" fmla="*/ 0 w 60"/>
                  <a:gd name="T51" fmla="*/ 0 h 110"/>
                  <a:gd name="T52" fmla="*/ 0 w 60"/>
                  <a:gd name="T53" fmla="*/ 0 h 110"/>
                  <a:gd name="T54" fmla="*/ 0 w 60"/>
                  <a:gd name="T55" fmla="*/ 0 h 110"/>
                  <a:gd name="T56" fmla="*/ 0 w 60"/>
                  <a:gd name="T57" fmla="*/ 0 h 110"/>
                  <a:gd name="T58" fmla="*/ 0 w 60"/>
                  <a:gd name="T59" fmla="*/ 0 h 110"/>
                  <a:gd name="T60" fmla="*/ 0 w 60"/>
                  <a:gd name="T61" fmla="*/ 0 h 110"/>
                  <a:gd name="T62" fmla="*/ 0 w 60"/>
                  <a:gd name="T63" fmla="*/ 0 h 110"/>
                  <a:gd name="T64" fmla="*/ 0 w 60"/>
                  <a:gd name="T65" fmla="*/ 0 h 110"/>
                  <a:gd name="T66" fmla="*/ 0 w 60"/>
                  <a:gd name="T67" fmla="*/ 0 h 110"/>
                  <a:gd name="T68" fmla="*/ 0 w 60"/>
                  <a:gd name="T69" fmla="*/ 0 h 110"/>
                  <a:gd name="T70" fmla="*/ 0 w 60"/>
                  <a:gd name="T71" fmla="*/ 0 h 110"/>
                  <a:gd name="T72" fmla="*/ 0 w 60"/>
                  <a:gd name="T73" fmla="*/ 0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
                  <a:gd name="T112" fmla="*/ 0 h 110"/>
                  <a:gd name="T113" fmla="*/ 60 w 60"/>
                  <a:gd name="T114" fmla="*/ 110 h 1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7" name="Freeform 850"/>
              <p:cNvSpPr>
                <a:spLocks/>
              </p:cNvSpPr>
              <p:nvPr/>
            </p:nvSpPr>
            <p:spPr bwMode="auto">
              <a:xfrm>
                <a:off x="5189" y="2422"/>
                <a:ext cx="24" cy="25"/>
              </a:xfrm>
              <a:custGeom>
                <a:avLst/>
                <a:gdLst>
                  <a:gd name="T0" fmla="*/ 0 w 72"/>
                  <a:gd name="T1" fmla="*/ 0 h 75"/>
                  <a:gd name="T2" fmla="*/ 0 w 72"/>
                  <a:gd name="T3" fmla="*/ 0 h 75"/>
                  <a:gd name="T4" fmla="*/ 0 w 72"/>
                  <a:gd name="T5" fmla="*/ 0 h 75"/>
                  <a:gd name="T6" fmla="*/ 0 w 72"/>
                  <a:gd name="T7" fmla="*/ 0 h 75"/>
                  <a:gd name="T8" fmla="*/ 0 w 72"/>
                  <a:gd name="T9" fmla="*/ 0 h 75"/>
                  <a:gd name="T10" fmla="*/ 0 w 72"/>
                  <a:gd name="T11" fmla="*/ 0 h 75"/>
                  <a:gd name="T12" fmla="*/ 0 w 72"/>
                  <a:gd name="T13" fmla="*/ 0 h 75"/>
                  <a:gd name="T14" fmla="*/ 0 w 72"/>
                  <a:gd name="T15" fmla="*/ 0 h 75"/>
                  <a:gd name="T16" fmla="*/ 0 w 72"/>
                  <a:gd name="T17" fmla="*/ 0 h 75"/>
                  <a:gd name="T18" fmla="*/ 0 w 72"/>
                  <a:gd name="T19" fmla="*/ 0 h 75"/>
                  <a:gd name="T20" fmla="*/ 0 w 72"/>
                  <a:gd name="T21" fmla="*/ 0 h 75"/>
                  <a:gd name="T22" fmla="*/ 0 w 72"/>
                  <a:gd name="T23" fmla="*/ 0 h 75"/>
                  <a:gd name="T24" fmla="*/ 0 w 72"/>
                  <a:gd name="T25" fmla="*/ 0 h 75"/>
                  <a:gd name="T26" fmla="*/ 0 w 72"/>
                  <a:gd name="T27" fmla="*/ 0 h 75"/>
                  <a:gd name="T28" fmla="*/ 0 w 72"/>
                  <a:gd name="T29" fmla="*/ 0 h 75"/>
                  <a:gd name="T30" fmla="*/ 0 w 72"/>
                  <a:gd name="T31" fmla="*/ 0 h 75"/>
                  <a:gd name="T32" fmla="*/ 0 w 72"/>
                  <a:gd name="T33" fmla="*/ 0 h 75"/>
                  <a:gd name="T34" fmla="*/ 0 w 72"/>
                  <a:gd name="T35" fmla="*/ 0 h 75"/>
                  <a:gd name="T36" fmla="*/ 0 w 72"/>
                  <a:gd name="T37" fmla="*/ 0 h 75"/>
                  <a:gd name="T38" fmla="*/ 0 w 72"/>
                  <a:gd name="T39" fmla="*/ 0 h 75"/>
                  <a:gd name="T40" fmla="*/ 0 w 72"/>
                  <a:gd name="T41" fmla="*/ 0 h 75"/>
                  <a:gd name="T42" fmla="*/ 0 w 72"/>
                  <a:gd name="T43" fmla="*/ 0 h 75"/>
                  <a:gd name="T44" fmla="*/ 0 w 72"/>
                  <a:gd name="T45" fmla="*/ 0 h 75"/>
                  <a:gd name="T46" fmla="*/ 0 w 72"/>
                  <a:gd name="T47" fmla="*/ 0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2"/>
                  <a:gd name="T73" fmla="*/ 0 h 75"/>
                  <a:gd name="T74" fmla="*/ 72 w 72"/>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8" name="Freeform 851"/>
              <p:cNvSpPr>
                <a:spLocks/>
              </p:cNvSpPr>
              <p:nvPr/>
            </p:nvSpPr>
            <p:spPr bwMode="auto">
              <a:xfrm>
                <a:off x="5160" y="2389"/>
                <a:ext cx="6" cy="16"/>
              </a:xfrm>
              <a:custGeom>
                <a:avLst/>
                <a:gdLst>
                  <a:gd name="T0" fmla="*/ 0 w 15"/>
                  <a:gd name="T1" fmla="*/ 0 h 49"/>
                  <a:gd name="T2" fmla="*/ 0 w 15"/>
                  <a:gd name="T3" fmla="*/ 0 h 49"/>
                  <a:gd name="T4" fmla="*/ 0 w 15"/>
                  <a:gd name="T5" fmla="*/ 0 h 49"/>
                  <a:gd name="T6" fmla="*/ 0 w 15"/>
                  <a:gd name="T7" fmla="*/ 0 h 49"/>
                  <a:gd name="T8" fmla="*/ 0 w 15"/>
                  <a:gd name="T9" fmla="*/ 0 h 49"/>
                  <a:gd name="T10" fmla="*/ 0 w 15"/>
                  <a:gd name="T11" fmla="*/ 0 h 49"/>
                  <a:gd name="T12" fmla="*/ 0 w 15"/>
                  <a:gd name="T13" fmla="*/ 0 h 49"/>
                  <a:gd name="T14" fmla="*/ 0 w 15"/>
                  <a:gd name="T15" fmla="*/ 0 h 49"/>
                  <a:gd name="T16" fmla="*/ 0 w 15"/>
                  <a:gd name="T17" fmla="*/ 0 h 49"/>
                  <a:gd name="T18" fmla="*/ 0 w 15"/>
                  <a:gd name="T19" fmla="*/ 0 h 49"/>
                  <a:gd name="T20" fmla="*/ 0 w 15"/>
                  <a:gd name="T21" fmla="*/ 0 h 49"/>
                  <a:gd name="T22" fmla="*/ 0 w 15"/>
                  <a:gd name="T23" fmla="*/ 0 h 49"/>
                  <a:gd name="T24" fmla="*/ 0 w 15"/>
                  <a:gd name="T25" fmla="*/ 0 h 49"/>
                  <a:gd name="T26" fmla="*/ 0 w 15"/>
                  <a:gd name="T27" fmla="*/ 0 h 49"/>
                  <a:gd name="T28" fmla="*/ 0 w 15"/>
                  <a:gd name="T29" fmla="*/ 0 h 49"/>
                  <a:gd name="T30" fmla="*/ 0 w 15"/>
                  <a:gd name="T31" fmla="*/ 0 h 49"/>
                  <a:gd name="T32" fmla="*/ 0 w 15"/>
                  <a:gd name="T33" fmla="*/ 0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49"/>
                  <a:gd name="T53" fmla="*/ 15 w 15"/>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9" name="Freeform 852"/>
              <p:cNvSpPr>
                <a:spLocks/>
              </p:cNvSpPr>
              <p:nvPr/>
            </p:nvSpPr>
            <p:spPr bwMode="auto">
              <a:xfrm>
                <a:off x="5139" y="2387"/>
                <a:ext cx="17" cy="13"/>
              </a:xfrm>
              <a:custGeom>
                <a:avLst/>
                <a:gdLst>
                  <a:gd name="T0" fmla="*/ 0 w 47"/>
                  <a:gd name="T1" fmla="*/ 0 h 40"/>
                  <a:gd name="T2" fmla="*/ 0 w 47"/>
                  <a:gd name="T3" fmla="*/ 0 h 40"/>
                  <a:gd name="T4" fmla="*/ 0 w 47"/>
                  <a:gd name="T5" fmla="*/ 0 h 40"/>
                  <a:gd name="T6" fmla="*/ 0 w 47"/>
                  <a:gd name="T7" fmla="*/ 0 h 40"/>
                  <a:gd name="T8" fmla="*/ 0 w 47"/>
                  <a:gd name="T9" fmla="*/ 0 h 40"/>
                  <a:gd name="T10" fmla="*/ 0 w 47"/>
                  <a:gd name="T11" fmla="*/ 0 h 40"/>
                  <a:gd name="T12" fmla="*/ 0 w 47"/>
                  <a:gd name="T13" fmla="*/ 0 h 40"/>
                  <a:gd name="T14" fmla="*/ 0 w 47"/>
                  <a:gd name="T15" fmla="*/ 0 h 40"/>
                  <a:gd name="T16" fmla="*/ 0 w 47"/>
                  <a:gd name="T17" fmla="*/ 0 h 40"/>
                  <a:gd name="T18" fmla="*/ 0 w 47"/>
                  <a:gd name="T19" fmla="*/ 0 h 40"/>
                  <a:gd name="T20" fmla="*/ 0 w 47"/>
                  <a:gd name="T21" fmla="*/ 0 h 40"/>
                  <a:gd name="T22" fmla="*/ 0 w 47"/>
                  <a:gd name="T23" fmla="*/ 0 h 40"/>
                  <a:gd name="T24" fmla="*/ 0 w 47"/>
                  <a:gd name="T25" fmla="*/ 0 h 40"/>
                  <a:gd name="T26" fmla="*/ 0 w 47"/>
                  <a:gd name="T27" fmla="*/ 0 h 40"/>
                  <a:gd name="T28" fmla="*/ 0 w 47"/>
                  <a:gd name="T29" fmla="*/ 0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7"/>
                  <a:gd name="T46" fmla="*/ 0 h 40"/>
                  <a:gd name="T47" fmla="*/ 47 w 47"/>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0" name="Freeform 853"/>
              <p:cNvSpPr>
                <a:spLocks/>
              </p:cNvSpPr>
              <p:nvPr/>
            </p:nvSpPr>
            <p:spPr bwMode="auto">
              <a:xfrm>
                <a:off x="5184" y="2465"/>
                <a:ext cx="10" cy="10"/>
              </a:xfrm>
              <a:custGeom>
                <a:avLst/>
                <a:gdLst>
                  <a:gd name="T0" fmla="*/ 0 w 39"/>
                  <a:gd name="T1" fmla="*/ 0 h 31"/>
                  <a:gd name="T2" fmla="*/ 0 w 39"/>
                  <a:gd name="T3" fmla="*/ 0 h 31"/>
                  <a:gd name="T4" fmla="*/ 0 w 39"/>
                  <a:gd name="T5" fmla="*/ 0 h 31"/>
                  <a:gd name="T6" fmla="*/ 0 w 39"/>
                  <a:gd name="T7" fmla="*/ 0 h 31"/>
                  <a:gd name="T8" fmla="*/ 0 w 39"/>
                  <a:gd name="T9" fmla="*/ 0 h 31"/>
                  <a:gd name="T10" fmla="*/ 0 w 39"/>
                  <a:gd name="T11" fmla="*/ 0 h 31"/>
                  <a:gd name="T12" fmla="*/ 0 w 39"/>
                  <a:gd name="T13" fmla="*/ 0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1" name="Freeform 854"/>
              <p:cNvSpPr>
                <a:spLocks/>
              </p:cNvSpPr>
              <p:nvPr/>
            </p:nvSpPr>
            <p:spPr bwMode="auto">
              <a:xfrm>
                <a:off x="5172" y="2410"/>
                <a:ext cx="10" cy="6"/>
              </a:xfrm>
              <a:custGeom>
                <a:avLst/>
                <a:gdLst>
                  <a:gd name="T0" fmla="*/ 0 w 34"/>
                  <a:gd name="T1" fmla="*/ 0 h 19"/>
                  <a:gd name="T2" fmla="*/ 0 w 34"/>
                  <a:gd name="T3" fmla="*/ 0 h 19"/>
                  <a:gd name="T4" fmla="*/ 0 w 34"/>
                  <a:gd name="T5" fmla="*/ 0 h 19"/>
                  <a:gd name="T6" fmla="*/ 0 w 34"/>
                  <a:gd name="T7" fmla="*/ 0 h 19"/>
                  <a:gd name="T8" fmla="*/ 0 w 34"/>
                  <a:gd name="T9" fmla="*/ 0 h 19"/>
                  <a:gd name="T10" fmla="*/ 0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 name="T21" fmla="*/ 0 w 34"/>
                  <a:gd name="T22" fmla="*/ 0 h 19"/>
                  <a:gd name="T23" fmla="*/ 34 w 3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9">
                    <a:moveTo>
                      <a:pt x="0" y="0"/>
                    </a:moveTo>
                    <a:lnTo>
                      <a:pt x="34" y="19"/>
                    </a:lnTo>
                    <a:lnTo>
                      <a:pt x="34" y="0"/>
                    </a:lnTo>
                    <a:lnTo>
                      <a:pt x="24" y="0"/>
                    </a:lnTo>
                    <a:lnTo>
                      <a:pt x="14" y="0"/>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2" name="Freeform 855"/>
              <p:cNvSpPr>
                <a:spLocks/>
              </p:cNvSpPr>
              <p:nvPr/>
            </p:nvSpPr>
            <p:spPr bwMode="auto">
              <a:xfrm>
                <a:off x="5180" y="2471"/>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0" y="0"/>
                    </a:moveTo>
                    <a:lnTo>
                      <a:pt x="19" y="12"/>
                    </a:lnTo>
                    <a:lnTo>
                      <a:pt x="13"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3" name="Freeform 856"/>
              <p:cNvSpPr>
                <a:spLocks/>
              </p:cNvSpPr>
              <p:nvPr/>
            </p:nvSpPr>
            <p:spPr bwMode="auto">
              <a:xfrm>
                <a:off x="5062" y="2447"/>
                <a:ext cx="42" cy="55"/>
              </a:xfrm>
              <a:custGeom>
                <a:avLst/>
                <a:gdLst>
                  <a:gd name="T0" fmla="*/ 0 w 126"/>
                  <a:gd name="T1" fmla="*/ 0 h 166"/>
                  <a:gd name="T2" fmla="*/ 0 w 126"/>
                  <a:gd name="T3" fmla="*/ 0 h 166"/>
                  <a:gd name="T4" fmla="*/ 0 w 126"/>
                  <a:gd name="T5" fmla="*/ 0 h 166"/>
                  <a:gd name="T6" fmla="*/ 0 w 126"/>
                  <a:gd name="T7" fmla="*/ 0 h 166"/>
                  <a:gd name="T8" fmla="*/ 0 w 126"/>
                  <a:gd name="T9" fmla="*/ 0 h 166"/>
                  <a:gd name="T10" fmla="*/ 0 w 126"/>
                  <a:gd name="T11" fmla="*/ 0 h 166"/>
                  <a:gd name="T12" fmla="*/ 0 w 126"/>
                  <a:gd name="T13" fmla="*/ 0 h 166"/>
                  <a:gd name="T14" fmla="*/ 0 w 126"/>
                  <a:gd name="T15" fmla="*/ 0 h 166"/>
                  <a:gd name="T16" fmla="*/ 0 w 126"/>
                  <a:gd name="T17" fmla="*/ 0 h 166"/>
                  <a:gd name="T18" fmla="*/ 0 w 126"/>
                  <a:gd name="T19" fmla="*/ 0 h 166"/>
                  <a:gd name="T20" fmla="*/ 0 w 126"/>
                  <a:gd name="T21" fmla="*/ 0 h 166"/>
                  <a:gd name="T22" fmla="*/ 0 w 126"/>
                  <a:gd name="T23" fmla="*/ 0 h 166"/>
                  <a:gd name="T24" fmla="*/ 0 w 126"/>
                  <a:gd name="T25" fmla="*/ 0 h 166"/>
                  <a:gd name="T26" fmla="*/ 0 w 126"/>
                  <a:gd name="T27" fmla="*/ 0 h 166"/>
                  <a:gd name="T28" fmla="*/ 0 w 126"/>
                  <a:gd name="T29" fmla="*/ 0 h 166"/>
                  <a:gd name="T30" fmla="*/ 0 w 126"/>
                  <a:gd name="T31" fmla="*/ 0 h 166"/>
                  <a:gd name="T32" fmla="*/ 0 w 126"/>
                  <a:gd name="T33" fmla="*/ 0 h 166"/>
                  <a:gd name="T34" fmla="*/ 0 w 126"/>
                  <a:gd name="T35" fmla="*/ 0 h 166"/>
                  <a:gd name="T36" fmla="*/ 0 w 126"/>
                  <a:gd name="T37" fmla="*/ 0 h 166"/>
                  <a:gd name="T38" fmla="*/ 0 w 126"/>
                  <a:gd name="T39" fmla="*/ 0 h 166"/>
                  <a:gd name="T40" fmla="*/ 0 w 126"/>
                  <a:gd name="T41" fmla="*/ 0 h 166"/>
                  <a:gd name="T42" fmla="*/ 0 w 126"/>
                  <a:gd name="T43" fmla="*/ 0 h 166"/>
                  <a:gd name="T44" fmla="*/ 0 w 126"/>
                  <a:gd name="T45" fmla="*/ 0 h 166"/>
                  <a:gd name="T46" fmla="*/ 0 w 126"/>
                  <a:gd name="T47" fmla="*/ 0 h 166"/>
                  <a:gd name="T48" fmla="*/ 0 w 126"/>
                  <a:gd name="T49" fmla="*/ 0 h 166"/>
                  <a:gd name="T50" fmla="*/ 0 w 126"/>
                  <a:gd name="T51" fmla="*/ 0 h 166"/>
                  <a:gd name="T52" fmla="*/ 0 w 126"/>
                  <a:gd name="T53" fmla="*/ 0 h 166"/>
                  <a:gd name="T54" fmla="*/ 0 w 126"/>
                  <a:gd name="T55" fmla="*/ 0 h 166"/>
                  <a:gd name="T56" fmla="*/ 0 w 126"/>
                  <a:gd name="T57" fmla="*/ 0 h 166"/>
                  <a:gd name="T58" fmla="*/ 0 w 126"/>
                  <a:gd name="T59" fmla="*/ 0 h 166"/>
                  <a:gd name="T60" fmla="*/ 0 w 126"/>
                  <a:gd name="T61" fmla="*/ 0 h 166"/>
                  <a:gd name="T62" fmla="*/ 0 w 126"/>
                  <a:gd name="T63" fmla="*/ 0 h 166"/>
                  <a:gd name="T64" fmla="*/ 0 w 126"/>
                  <a:gd name="T65" fmla="*/ 0 h 166"/>
                  <a:gd name="T66" fmla="*/ 0 w 126"/>
                  <a:gd name="T67" fmla="*/ 0 h 166"/>
                  <a:gd name="T68" fmla="*/ 0 w 126"/>
                  <a:gd name="T69" fmla="*/ 0 h 166"/>
                  <a:gd name="T70" fmla="*/ 0 w 126"/>
                  <a:gd name="T71" fmla="*/ 0 h 166"/>
                  <a:gd name="T72" fmla="*/ 0 w 126"/>
                  <a:gd name="T73" fmla="*/ 0 h 166"/>
                  <a:gd name="T74" fmla="*/ 0 w 126"/>
                  <a:gd name="T75" fmla="*/ 0 h 166"/>
                  <a:gd name="T76" fmla="*/ 0 w 126"/>
                  <a:gd name="T77" fmla="*/ 0 h 166"/>
                  <a:gd name="T78" fmla="*/ 0 w 126"/>
                  <a:gd name="T79" fmla="*/ 0 h 166"/>
                  <a:gd name="T80" fmla="*/ 0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6"/>
                  <a:gd name="T124" fmla="*/ 0 h 166"/>
                  <a:gd name="T125" fmla="*/ 126 w 126"/>
                  <a:gd name="T126" fmla="*/ 166 h 1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4" name="Freeform 857"/>
              <p:cNvSpPr>
                <a:spLocks/>
              </p:cNvSpPr>
              <p:nvPr/>
            </p:nvSpPr>
            <p:spPr bwMode="auto">
              <a:xfrm>
                <a:off x="5154" y="2465"/>
                <a:ext cx="85" cy="86"/>
              </a:xfrm>
              <a:custGeom>
                <a:avLst/>
                <a:gdLst>
                  <a:gd name="T0" fmla="*/ 0 w 259"/>
                  <a:gd name="T1" fmla="*/ 0 h 259"/>
                  <a:gd name="T2" fmla="*/ 0 w 259"/>
                  <a:gd name="T3" fmla="*/ 0 h 259"/>
                  <a:gd name="T4" fmla="*/ 0 w 259"/>
                  <a:gd name="T5" fmla="*/ 0 h 259"/>
                  <a:gd name="T6" fmla="*/ 0 w 259"/>
                  <a:gd name="T7" fmla="*/ 0 h 259"/>
                  <a:gd name="T8" fmla="*/ 0 w 259"/>
                  <a:gd name="T9" fmla="*/ 0 h 259"/>
                  <a:gd name="T10" fmla="*/ 0 w 259"/>
                  <a:gd name="T11" fmla="*/ 0 h 259"/>
                  <a:gd name="T12" fmla="*/ 0 w 259"/>
                  <a:gd name="T13" fmla="*/ 0 h 259"/>
                  <a:gd name="T14" fmla="*/ 0 w 259"/>
                  <a:gd name="T15" fmla="*/ 0 h 259"/>
                  <a:gd name="T16" fmla="*/ 0 w 259"/>
                  <a:gd name="T17" fmla="*/ 0 h 259"/>
                  <a:gd name="T18" fmla="*/ 0 w 259"/>
                  <a:gd name="T19" fmla="*/ 0 h 259"/>
                  <a:gd name="T20" fmla="*/ 0 w 259"/>
                  <a:gd name="T21" fmla="*/ 0 h 259"/>
                  <a:gd name="T22" fmla="*/ 0 w 259"/>
                  <a:gd name="T23" fmla="*/ 0 h 259"/>
                  <a:gd name="T24" fmla="*/ 0 w 259"/>
                  <a:gd name="T25" fmla="*/ 0 h 259"/>
                  <a:gd name="T26" fmla="*/ 0 w 259"/>
                  <a:gd name="T27" fmla="*/ 0 h 259"/>
                  <a:gd name="T28" fmla="*/ 0 w 259"/>
                  <a:gd name="T29" fmla="*/ 0 h 259"/>
                  <a:gd name="T30" fmla="*/ 0 w 259"/>
                  <a:gd name="T31" fmla="*/ 0 h 259"/>
                  <a:gd name="T32" fmla="*/ 0 w 259"/>
                  <a:gd name="T33" fmla="*/ 0 h 259"/>
                  <a:gd name="T34" fmla="*/ 0 w 259"/>
                  <a:gd name="T35" fmla="*/ 0 h 259"/>
                  <a:gd name="T36" fmla="*/ 0 w 259"/>
                  <a:gd name="T37" fmla="*/ 0 h 259"/>
                  <a:gd name="T38" fmla="*/ 0 w 259"/>
                  <a:gd name="T39" fmla="*/ 0 h 259"/>
                  <a:gd name="T40" fmla="*/ 0 w 259"/>
                  <a:gd name="T41" fmla="*/ 0 h 259"/>
                  <a:gd name="T42" fmla="*/ 0 w 259"/>
                  <a:gd name="T43" fmla="*/ 0 h 259"/>
                  <a:gd name="T44" fmla="*/ 0 w 259"/>
                  <a:gd name="T45" fmla="*/ 0 h 259"/>
                  <a:gd name="T46" fmla="*/ 0 w 259"/>
                  <a:gd name="T47" fmla="*/ 0 h 259"/>
                  <a:gd name="T48" fmla="*/ 0 w 259"/>
                  <a:gd name="T49" fmla="*/ 0 h 259"/>
                  <a:gd name="T50" fmla="*/ 0 w 259"/>
                  <a:gd name="T51" fmla="*/ 0 h 259"/>
                  <a:gd name="T52" fmla="*/ 0 w 259"/>
                  <a:gd name="T53" fmla="*/ 0 h 259"/>
                  <a:gd name="T54" fmla="*/ 0 w 259"/>
                  <a:gd name="T55" fmla="*/ 0 h 259"/>
                  <a:gd name="T56" fmla="*/ 0 w 259"/>
                  <a:gd name="T57" fmla="*/ 0 h 259"/>
                  <a:gd name="T58" fmla="*/ 0 w 259"/>
                  <a:gd name="T59" fmla="*/ 0 h 259"/>
                  <a:gd name="T60" fmla="*/ 0 w 259"/>
                  <a:gd name="T61" fmla="*/ 0 h 259"/>
                  <a:gd name="T62" fmla="*/ 0 w 259"/>
                  <a:gd name="T63" fmla="*/ 0 h 259"/>
                  <a:gd name="T64" fmla="*/ 0 w 259"/>
                  <a:gd name="T65" fmla="*/ 0 h 259"/>
                  <a:gd name="T66" fmla="*/ 0 w 259"/>
                  <a:gd name="T67" fmla="*/ 0 h 259"/>
                  <a:gd name="T68" fmla="*/ 0 w 259"/>
                  <a:gd name="T69" fmla="*/ 0 h 259"/>
                  <a:gd name="T70" fmla="*/ 0 w 259"/>
                  <a:gd name="T71" fmla="*/ 0 h 259"/>
                  <a:gd name="T72" fmla="*/ 0 w 259"/>
                  <a:gd name="T73" fmla="*/ 0 h 259"/>
                  <a:gd name="T74" fmla="*/ 0 w 259"/>
                  <a:gd name="T75" fmla="*/ 0 h 259"/>
                  <a:gd name="T76" fmla="*/ 0 w 259"/>
                  <a:gd name="T77" fmla="*/ 0 h 259"/>
                  <a:gd name="T78" fmla="*/ 0 w 259"/>
                  <a:gd name="T79" fmla="*/ 0 h 259"/>
                  <a:gd name="T80" fmla="*/ 0 w 259"/>
                  <a:gd name="T81" fmla="*/ 0 h 259"/>
                  <a:gd name="T82" fmla="*/ 0 w 259"/>
                  <a:gd name="T83" fmla="*/ 0 h 259"/>
                  <a:gd name="T84" fmla="*/ 0 w 259"/>
                  <a:gd name="T85" fmla="*/ 0 h 259"/>
                  <a:gd name="T86" fmla="*/ 0 w 259"/>
                  <a:gd name="T87" fmla="*/ 0 h 259"/>
                  <a:gd name="T88" fmla="*/ 0 w 259"/>
                  <a:gd name="T89" fmla="*/ 0 h 259"/>
                  <a:gd name="T90" fmla="*/ 0 w 259"/>
                  <a:gd name="T91" fmla="*/ 0 h 259"/>
                  <a:gd name="T92" fmla="*/ 0 w 259"/>
                  <a:gd name="T93" fmla="*/ 0 h 259"/>
                  <a:gd name="T94" fmla="*/ 0 w 259"/>
                  <a:gd name="T95" fmla="*/ 0 h 259"/>
                  <a:gd name="T96" fmla="*/ 0 w 259"/>
                  <a:gd name="T97" fmla="*/ 0 h 259"/>
                  <a:gd name="T98" fmla="*/ 0 w 259"/>
                  <a:gd name="T99" fmla="*/ 0 h 259"/>
                  <a:gd name="T100" fmla="*/ 0 w 259"/>
                  <a:gd name="T101" fmla="*/ 0 h 259"/>
                  <a:gd name="T102" fmla="*/ 0 w 259"/>
                  <a:gd name="T103" fmla="*/ 0 h 259"/>
                  <a:gd name="T104" fmla="*/ 0 w 259"/>
                  <a:gd name="T105" fmla="*/ 0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59"/>
                  <a:gd name="T160" fmla="*/ 0 h 259"/>
                  <a:gd name="T161" fmla="*/ 259 w 259"/>
                  <a:gd name="T162" fmla="*/ 259 h 25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5" name="Freeform 858"/>
              <p:cNvSpPr>
                <a:spLocks/>
              </p:cNvSpPr>
              <p:nvPr/>
            </p:nvSpPr>
            <p:spPr bwMode="auto">
              <a:xfrm>
                <a:off x="5104" y="2395"/>
                <a:ext cx="21" cy="31"/>
              </a:xfrm>
              <a:custGeom>
                <a:avLst/>
                <a:gdLst>
                  <a:gd name="T0" fmla="*/ 0 w 72"/>
                  <a:gd name="T1" fmla="*/ 0 h 92"/>
                  <a:gd name="T2" fmla="*/ 0 w 72"/>
                  <a:gd name="T3" fmla="*/ 0 h 92"/>
                  <a:gd name="T4" fmla="*/ 0 w 72"/>
                  <a:gd name="T5" fmla="*/ 0 h 92"/>
                  <a:gd name="T6" fmla="*/ 0 w 72"/>
                  <a:gd name="T7" fmla="*/ 0 h 92"/>
                  <a:gd name="T8" fmla="*/ 0 w 72"/>
                  <a:gd name="T9" fmla="*/ 0 h 92"/>
                  <a:gd name="T10" fmla="*/ 0 w 72"/>
                  <a:gd name="T11" fmla="*/ 0 h 92"/>
                  <a:gd name="T12" fmla="*/ 0 w 72"/>
                  <a:gd name="T13" fmla="*/ 0 h 92"/>
                  <a:gd name="T14" fmla="*/ 0 w 72"/>
                  <a:gd name="T15" fmla="*/ 0 h 92"/>
                  <a:gd name="T16" fmla="*/ 0 w 72"/>
                  <a:gd name="T17" fmla="*/ 0 h 92"/>
                  <a:gd name="T18" fmla="*/ 0 w 72"/>
                  <a:gd name="T19" fmla="*/ 0 h 92"/>
                  <a:gd name="T20" fmla="*/ 0 w 72"/>
                  <a:gd name="T21" fmla="*/ 0 h 92"/>
                  <a:gd name="T22" fmla="*/ 0 w 72"/>
                  <a:gd name="T23" fmla="*/ 0 h 92"/>
                  <a:gd name="T24" fmla="*/ 0 w 72"/>
                  <a:gd name="T25" fmla="*/ 0 h 92"/>
                  <a:gd name="T26" fmla="*/ 0 w 72"/>
                  <a:gd name="T27" fmla="*/ 0 h 92"/>
                  <a:gd name="T28" fmla="*/ 0 w 72"/>
                  <a:gd name="T29" fmla="*/ 0 h 92"/>
                  <a:gd name="T30" fmla="*/ 0 w 72"/>
                  <a:gd name="T31" fmla="*/ 0 h 92"/>
                  <a:gd name="T32" fmla="*/ 0 w 72"/>
                  <a:gd name="T33" fmla="*/ 0 h 92"/>
                  <a:gd name="T34" fmla="*/ 0 w 72"/>
                  <a:gd name="T35" fmla="*/ 0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92"/>
                  <a:gd name="T56" fmla="*/ 72 w 72"/>
                  <a:gd name="T57" fmla="*/ 92 h 9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6" name="Freeform 859"/>
              <p:cNvSpPr>
                <a:spLocks/>
              </p:cNvSpPr>
              <p:nvPr/>
            </p:nvSpPr>
            <p:spPr bwMode="auto">
              <a:xfrm>
                <a:off x="5143" y="2436"/>
                <a:ext cx="16" cy="21"/>
              </a:xfrm>
              <a:custGeom>
                <a:avLst/>
                <a:gdLst>
                  <a:gd name="T0" fmla="*/ 0 w 46"/>
                  <a:gd name="T1" fmla="*/ 0 h 62"/>
                  <a:gd name="T2" fmla="*/ 0 w 46"/>
                  <a:gd name="T3" fmla="*/ 0 h 62"/>
                  <a:gd name="T4" fmla="*/ 0 w 46"/>
                  <a:gd name="T5" fmla="*/ 0 h 62"/>
                  <a:gd name="T6" fmla="*/ 0 w 46"/>
                  <a:gd name="T7" fmla="*/ 0 h 62"/>
                  <a:gd name="T8" fmla="*/ 0 w 46"/>
                  <a:gd name="T9" fmla="*/ 0 h 62"/>
                  <a:gd name="T10" fmla="*/ 0 w 46"/>
                  <a:gd name="T11" fmla="*/ 0 h 62"/>
                  <a:gd name="T12" fmla="*/ 0 w 46"/>
                  <a:gd name="T13" fmla="*/ 0 h 62"/>
                  <a:gd name="T14" fmla="*/ 0 w 46"/>
                  <a:gd name="T15" fmla="*/ 0 h 62"/>
                  <a:gd name="T16" fmla="*/ 0 w 46"/>
                  <a:gd name="T17" fmla="*/ 0 h 62"/>
                  <a:gd name="T18" fmla="*/ 0 w 46"/>
                  <a:gd name="T19" fmla="*/ 0 h 62"/>
                  <a:gd name="T20" fmla="*/ 0 w 46"/>
                  <a:gd name="T21" fmla="*/ 0 h 62"/>
                  <a:gd name="T22" fmla="*/ 0 w 46"/>
                  <a:gd name="T23" fmla="*/ 0 h 62"/>
                  <a:gd name="T24" fmla="*/ 0 w 46"/>
                  <a:gd name="T25" fmla="*/ 0 h 62"/>
                  <a:gd name="T26" fmla="*/ 0 w 46"/>
                  <a:gd name="T27" fmla="*/ 0 h 62"/>
                  <a:gd name="T28" fmla="*/ 0 w 46"/>
                  <a:gd name="T29" fmla="*/ 0 h 62"/>
                  <a:gd name="T30" fmla="*/ 0 w 46"/>
                  <a:gd name="T31" fmla="*/ 0 h 62"/>
                  <a:gd name="T32" fmla="*/ 0 w 46"/>
                  <a:gd name="T33" fmla="*/ 0 h 62"/>
                  <a:gd name="T34" fmla="*/ 0 w 46"/>
                  <a:gd name="T35" fmla="*/ 0 h 62"/>
                  <a:gd name="T36" fmla="*/ 0 w 46"/>
                  <a:gd name="T37" fmla="*/ 0 h 62"/>
                  <a:gd name="T38" fmla="*/ 0 w 46"/>
                  <a:gd name="T39" fmla="*/ 0 h 62"/>
                  <a:gd name="T40" fmla="*/ 0 w 46"/>
                  <a:gd name="T41" fmla="*/ 0 h 62"/>
                  <a:gd name="T42" fmla="*/ 0 w 46"/>
                  <a:gd name="T43" fmla="*/ 0 h 62"/>
                  <a:gd name="T44" fmla="*/ 0 w 46"/>
                  <a:gd name="T45" fmla="*/ 0 h 62"/>
                  <a:gd name="T46" fmla="*/ 0 w 46"/>
                  <a:gd name="T47" fmla="*/ 0 h 62"/>
                  <a:gd name="T48" fmla="*/ 0 w 46"/>
                  <a:gd name="T49" fmla="*/ 0 h 62"/>
                  <a:gd name="T50" fmla="*/ 0 w 46"/>
                  <a:gd name="T51" fmla="*/ 0 h 62"/>
                  <a:gd name="T52" fmla="*/ 0 w 46"/>
                  <a:gd name="T53" fmla="*/ 0 h 62"/>
                  <a:gd name="T54" fmla="*/ 0 w 46"/>
                  <a:gd name="T55" fmla="*/ 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6"/>
                  <a:gd name="T85" fmla="*/ 0 h 62"/>
                  <a:gd name="T86" fmla="*/ 46 w 4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7" name="Freeform 860"/>
              <p:cNvSpPr>
                <a:spLocks/>
              </p:cNvSpPr>
              <p:nvPr/>
            </p:nvSpPr>
            <p:spPr bwMode="auto">
              <a:xfrm>
                <a:off x="5089" y="2295"/>
                <a:ext cx="50" cy="98"/>
              </a:xfrm>
              <a:custGeom>
                <a:avLst/>
                <a:gdLst>
                  <a:gd name="T0" fmla="*/ 0 w 152"/>
                  <a:gd name="T1" fmla="*/ 0 h 296"/>
                  <a:gd name="T2" fmla="*/ 0 w 152"/>
                  <a:gd name="T3" fmla="*/ 0 h 296"/>
                  <a:gd name="T4" fmla="*/ 0 w 152"/>
                  <a:gd name="T5" fmla="*/ 0 h 296"/>
                  <a:gd name="T6" fmla="*/ 0 w 152"/>
                  <a:gd name="T7" fmla="*/ 0 h 296"/>
                  <a:gd name="T8" fmla="*/ 0 w 152"/>
                  <a:gd name="T9" fmla="*/ 0 h 296"/>
                  <a:gd name="T10" fmla="*/ 0 w 152"/>
                  <a:gd name="T11" fmla="*/ 0 h 296"/>
                  <a:gd name="T12" fmla="*/ 0 w 152"/>
                  <a:gd name="T13" fmla="*/ 0 h 296"/>
                  <a:gd name="T14" fmla="*/ 0 w 152"/>
                  <a:gd name="T15" fmla="*/ 0 h 296"/>
                  <a:gd name="T16" fmla="*/ 0 w 152"/>
                  <a:gd name="T17" fmla="*/ 0 h 296"/>
                  <a:gd name="T18" fmla="*/ 0 w 152"/>
                  <a:gd name="T19" fmla="*/ 0 h 296"/>
                  <a:gd name="T20" fmla="*/ 0 w 152"/>
                  <a:gd name="T21" fmla="*/ 0 h 296"/>
                  <a:gd name="T22" fmla="*/ 0 w 152"/>
                  <a:gd name="T23" fmla="*/ 0 h 296"/>
                  <a:gd name="T24" fmla="*/ 0 w 152"/>
                  <a:gd name="T25" fmla="*/ 0 h 296"/>
                  <a:gd name="T26" fmla="*/ 0 w 152"/>
                  <a:gd name="T27" fmla="*/ 0 h 296"/>
                  <a:gd name="T28" fmla="*/ 0 w 152"/>
                  <a:gd name="T29" fmla="*/ 0 h 296"/>
                  <a:gd name="T30" fmla="*/ 0 w 152"/>
                  <a:gd name="T31" fmla="*/ 0 h 296"/>
                  <a:gd name="T32" fmla="*/ 0 w 152"/>
                  <a:gd name="T33" fmla="*/ 0 h 296"/>
                  <a:gd name="T34" fmla="*/ 0 w 152"/>
                  <a:gd name="T35" fmla="*/ 0 h 296"/>
                  <a:gd name="T36" fmla="*/ 0 w 152"/>
                  <a:gd name="T37" fmla="*/ 0 h 296"/>
                  <a:gd name="T38" fmla="*/ 0 w 152"/>
                  <a:gd name="T39" fmla="*/ 0 h 296"/>
                  <a:gd name="T40" fmla="*/ 0 w 152"/>
                  <a:gd name="T41" fmla="*/ 0 h 296"/>
                  <a:gd name="T42" fmla="*/ 0 w 152"/>
                  <a:gd name="T43" fmla="*/ 0 h 296"/>
                  <a:gd name="T44" fmla="*/ 0 w 152"/>
                  <a:gd name="T45" fmla="*/ 0 h 296"/>
                  <a:gd name="T46" fmla="*/ 0 w 152"/>
                  <a:gd name="T47" fmla="*/ 0 h 296"/>
                  <a:gd name="T48" fmla="*/ 0 w 152"/>
                  <a:gd name="T49" fmla="*/ 0 h 296"/>
                  <a:gd name="T50" fmla="*/ 0 w 152"/>
                  <a:gd name="T51" fmla="*/ 0 h 296"/>
                  <a:gd name="T52" fmla="*/ 0 w 152"/>
                  <a:gd name="T53" fmla="*/ 0 h 296"/>
                  <a:gd name="T54" fmla="*/ 0 w 152"/>
                  <a:gd name="T55" fmla="*/ 0 h 296"/>
                  <a:gd name="T56" fmla="*/ 0 w 152"/>
                  <a:gd name="T57" fmla="*/ 0 h 296"/>
                  <a:gd name="T58" fmla="*/ 0 w 152"/>
                  <a:gd name="T59" fmla="*/ 0 h 296"/>
                  <a:gd name="T60" fmla="*/ 0 w 152"/>
                  <a:gd name="T61" fmla="*/ 0 h 296"/>
                  <a:gd name="T62" fmla="*/ 0 w 152"/>
                  <a:gd name="T63" fmla="*/ 0 h 296"/>
                  <a:gd name="T64" fmla="*/ 0 w 152"/>
                  <a:gd name="T65" fmla="*/ 0 h 296"/>
                  <a:gd name="T66" fmla="*/ 0 w 152"/>
                  <a:gd name="T67" fmla="*/ 0 h 296"/>
                  <a:gd name="T68" fmla="*/ 0 w 152"/>
                  <a:gd name="T69" fmla="*/ 0 h 296"/>
                  <a:gd name="T70" fmla="*/ 0 w 152"/>
                  <a:gd name="T71" fmla="*/ 0 h 296"/>
                  <a:gd name="T72" fmla="*/ 0 w 152"/>
                  <a:gd name="T73" fmla="*/ 0 h 296"/>
                  <a:gd name="T74" fmla="*/ 0 w 152"/>
                  <a:gd name="T75" fmla="*/ 0 h 296"/>
                  <a:gd name="T76" fmla="*/ 0 w 152"/>
                  <a:gd name="T77" fmla="*/ 0 h 296"/>
                  <a:gd name="T78" fmla="*/ 0 w 152"/>
                  <a:gd name="T79" fmla="*/ 0 h 296"/>
                  <a:gd name="T80" fmla="*/ 0 w 152"/>
                  <a:gd name="T81" fmla="*/ 0 h 296"/>
                  <a:gd name="T82" fmla="*/ 0 w 152"/>
                  <a:gd name="T83" fmla="*/ 0 h 296"/>
                  <a:gd name="T84" fmla="*/ 0 w 152"/>
                  <a:gd name="T85" fmla="*/ 0 h 296"/>
                  <a:gd name="T86" fmla="*/ 0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2"/>
                  <a:gd name="T133" fmla="*/ 0 h 296"/>
                  <a:gd name="T134" fmla="*/ 152 w 152"/>
                  <a:gd name="T135" fmla="*/ 296 h 2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8" name="Freeform 861"/>
              <p:cNvSpPr>
                <a:spLocks/>
              </p:cNvSpPr>
              <p:nvPr/>
            </p:nvSpPr>
            <p:spPr bwMode="auto">
              <a:xfrm>
                <a:off x="5189" y="2442"/>
                <a:ext cx="8" cy="13"/>
              </a:xfrm>
              <a:custGeom>
                <a:avLst/>
                <a:gdLst>
                  <a:gd name="T0" fmla="*/ 0 w 26"/>
                  <a:gd name="T1" fmla="*/ 0 h 38"/>
                  <a:gd name="T2" fmla="*/ 0 w 26"/>
                  <a:gd name="T3" fmla="*/ 0 h 38"/>
                  <a:gd name="T4" fmla="*/ 0 w 26"/>
                  <a:gd name="T5" fmla="*/ 0 h 38"/>
                  <a:gd name="T6" fmla="*/ 0 w 26"/>
                  <a:gd name="T7" fmla="*/ 0 h 38"/>
                  <a:gd name="T8" fmla="*/ 0 w 26"/>
                  <a:gd name="T9" fmla="*/ 0 h 38"/>
                  <a:gd name="T10" fmla="*/ 0 w 26"/>
                  <a:gd name="T11" fmla="*/ 0 h 38"/>
                  <a:gd name="T12" fmla="*/ 0 w 26"/>
                  <a:gd name="T13" fmla="*/ 0 h 38"/>
                  <a:gd name="T14" fmla="*/ 0 w 26"/>
                  <a:gd name="T15" fmla="*/ 0 h 3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38"/>
                  <a:gd name="T26" fmla="*/ 26 w 26"/>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38">
                    <a:moveTo>
                      <a:pt x="26" y="38"/>
                    </a:moveTo>
                    <a:lnTo>
                      <a:pt x="26" y="0"/>
                    </a:lnTo>
                    <a:lnTo>
                      <a:pt x="21" y="1"/>
                    </a:lnTo>
                    <a:lnTo>
                      <a:pt x="13" y="4"/>
                    </a:lnTo>
                    <a:lnTo>
                      <a:pt x="6" y="8"/>
                    </a:lnTo>
                    <a:lnTo>
                      <a:pt x="0" y="13"/>
                    </a:lnTo>
                    <a:lnTo>
                      <a:pt x="18" y="30"/>
                    </a:lnTo>
                    <a:lnTo>
                      <a:pt x="26" y="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9" name="Freeform 862"/>
              <p:cNvSpPr>
                <a:spLocks/>
              </p:cNvSpPr>
              <p:nvPr/>
            </p:nvSpPr>
            <p:spPr bwMode="auto">
              <a:xfrm>
                <a:off x="5166" y="2420"/>
                <a:ext cx="10" cy="10"/>
              </a:xfrm>
              <a:custGeom>
                <a:avLst/>
                <a:gdLst>
                  <a:gd name="T0" fmla="*/ 0 w 34"/>
                  <a:gd name="T1" fmla="*/ 0 h 31"/>
                  <a:gd name="T2" fmla="*/ 0 w 34"/>
                  <a:gd name="T3" fmla="*/ 0 h 31"/>
                  <a:gd name="T4" fmla="*/ 0 w 34"/>
                  <a:gd name="T5" fmla="*/ 0 h 31"/>
                  <a:gd name="T6" fmla="*/ 0 w 34"/>
                  <a:gd name="T7" fmla="*/ 0 h 31"/>
                  <a:gd name="T8" fmla="*/ 0 w 34"/>
                  <a:gd name="T9" fmla="*/ 0 h 31"/>
                  <a:gd name="T10" fmla="*/ 0 w 34"/>
                  <a:gd name="T11" fmla="*/ 0 h 31"/>
                  <a:gd name="T12" fmla="*/ 0 w 34"/>
                  <a:gd name="T13" fmla="*/ 0 h 31"/>
                  <a:gd name="T14" fmla="*/ 0 w 34"/>
                  <a:gd name="T15" fmla="*/ 0 h 31"/>
                  <a:gd name="T16" fmla="*/ 0 w 34"/>
                  <a:gd name="T17" fmla="*/ 0 h 31"/>
                  <a:gd name="T18" fmla="*/ 0 w 34"/>
                  <a:gd name="T19" fmla="*/ 0 h 31"/>
                  <a:gd name="T20" fmla="*/ 0 w 34"/>
                  <a:gd name="T21" fmla="*/ 0 h 31"/>
                  <a:gd name="T22" fmla="*/ 0 w 34"/>
                  <a:gd name="T23" fmla="*/ 0 h 31"/>
                  <a:gd name="T24" fmla="*/ 0 w 34"/>
                  <a:gd name="T25" fmla="*/ 0 h 31"/>
                  <a:gd name="T26" fmla="*/ 0 w 34"/>
                  <a:gd name="T27" fmla="*/ 0 h 31"/>
                  <a:gd name="T28" fmla="*/ 0 w 34"/>
                  <a:gd name="T29" fmla="*/ 0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31"/>
                  <a:gd name="T47" fmla="*/ 34 w 34"/>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0" name="Freeform 863"/>
              <p:cNvSpPr>
                <a:spLocks/>
              </p:cNvSpPr>
              <p:nvPr/>
            </p:nvSpPr>
            <p:spPr bwMode="auto">
              <a:xfrm>
                <a:off x="5139" y="2418"/>
                <a:ext cx="7" cy="12"/>
              </a:xfrm>
              <a:custGeom>
                <a:avLst/>
                <a:gdLst>
                  <a:gd name="T0" fmla="*/ 0 w 20"/>
                  <a:gd name="T1" fmla="*/ 0 h 37"/>
                  <a:gd name="T2" fmla="*/ 0 w 20"/>
                  <a:gd name="T3" fmla="*/ 0 h 37"/>
                  <a:gd name="T4" fmla="*/ 0 w 20"/>
                  <a:gd name="T5" fmla="*/ 0 h 37"/>
                  <a:gd name="T6" fmla="*/ 0 w 20"/>
                  <a:gd name="T7" fmla="*/ 0 h 37"/>
                  <a:gd name="T8" fmla="*/ 0 w 20"/>
                  <a:gd name="T9" fmla="*/ 0 h 37"/>
                  <a:gd name="T10" fmla="*/ 0 w 20"/>
                  <a:gd name="T11" fmla="*/ 0 h 37"/>
                  <a:gd name="T12" fmla="*/ 0 60000 65536"/>
                  <a:gd name="T13" fmla="*/ 0 60000 65536"/>
                  <a:gd name="T14" fmla="*/ 0 60000 65536"/>
                  <a:gd name="T15" fmla="*/ 0 60000 65536"/>
                  <a:gd name="T16" fmla="*/ 0 60000 65536"/>
                  <a:gd name="T17" fmla="*/ 0 60000 65536"/>
                  <a:gd name="T18" fmla="*/ 0 w 20"/>
                  <a:gd name="T19" fmla="*/ 0 h 37"/>
                  <a:gd name="T20" fmla="*/ 20 w 20"/>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0" h="37">
                    <a:moveTo>
                      <a:pt x="0" y="6"/>
                    </a:moveTo>
                    <a:lnTo>
                      <a:pt x="0" y="37"/>
                    </a:lnTo>
                    <a:lnTo>
                      <a:pt x="7" y="33"/>
                    </a:lnTo>
                    <a:lnTo>
                      <a:pt x="20" y="30"/>
                    </a:lnTo>
                    <a:lnTo>
                      <a:pt x="2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1" name="Line 864"/>
              <p:cNvSpPr>
                <a:spLocks noChangeShapeType="1"/>
              </p:cNvSpPr>
              <p:nvPr/>
            </p:nvSpPr>
            <p:spPr bwMode="auto">
              <a:xfrm>
                <a:off x="5180" y="2449"/>
                <a:ext cx="1" cy="10"/>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2" name="Freeform 865"/>
              <p:cNvSpPr>
                <a:spLocks/>
              </p:cNvSpPr>
              <p:nvPr/>
            </p:nvSpPr>
            <p:spPr bwMode="auto">
              <a:xfrm>
                <a:off x="5180" y="2453"/>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60000 65536"/>
                  <a:gd name="T11" fmla="*/ 0 60000 65536"/>
                  <a:gd name="T12" fmla="*/ 0 60000 65536"/>
                  <a:gd name="T13" fmla="*/ 0 60000 65536"/>
                  <a:gd name="T14" fmla="*/ 0 60000 65536"/>
                  <a:gd name="T15" fmla="*/ 0 w 13"/>
                  <a:gd name="T16" fmla="*/ 0 h 18"/>
                  <a:gd name="T17" fmla="*/ 13 w 13"/>
                  <a:gd name="T18" fmla="*/ 18 h 18"/>
                </a:gdLst>
                <a:ahLst/>
                <a:cxnLst>
                  <a:cxn ang="T10">
                    <a:pos x="T0" y="T1"/>
                  </a:cxn>
                  <a:cxn ang="T11">
                    <a:pos x="T2" y="T3"/>
                  </a:cxn>
                  <a:cxn ang="T12">
                    <a:pos x="T4" y="T5"/>
                  </a:cxn>
                  <a:cxn ang="T13">
                    <a:pos x="T6" y="T7"/>
                  </a:cxn>
                  <a:cxn ang="T14">
                    <a:pos x="T8" y="T9"/>
                  </a:cxn>
                </a:cxnLst>
                <a:rect l="T15" t="T16" r="T17" b="T18"/>
                <a:pathLst>
                  <a:path w="13" h="18">
                    <a:moveTo>
                      <a:pt x="0" y="18"/>
                    </a:moveTo>
                    <a:lnTo>
                      <a:pt x="1" y="13"/>
                    </a:lnTo>
                    <a:lnTo>
                      <a:pt x="3" y="9"/>
                    </a:lnTo>
                    <a:lnTo>
                      <a:pt x="7" y="4"/>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3" name="Line 866"/>
              <p:cNvSpPr>
                <a:spLocks noChangeShapeType="1"/>
              </p:cNvSpPr>
              <p:nvPr/>
            </p:nvSpPr>
            <p:spPr bwMode="auto">
              <a:xfrm flipH="1" flipV="1">
                <a:off x="5178" y="2447"/>
                <a:ext cx="7"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4" name="Freeform 867"/>
              <p:cNvSpPr>
                <a:spLocks/>
              </p:cNvSpPr>
              <p:nvPr/>
            </p:nvSpPr>
            <p:spPr bwMode="auto">
              <a:xfrm>
                <a:off x="5117" y="2564"/>
                <a:ext cx="9" cy="10"/>
              </a:xfrm>
              <a:custGeom>
                <a:avLst/>
                <a:gdLst>
                  <a:gd name="T0" fmla="*/ 0 w 27"/>
                  <a:gd name="T1" fmla="*/ 0 h 31"/>
                  <a:gd name="T2" fmla="*/ 0 w 27"/>
                  <a:gd name="T3" fmla="*/ 0 h 31"/>
                  <a:gd name="T4" fmla="*/ 0 w 27"/>
                  <a:gd name="T5" fmla="*/ 0 h 31"/>
                  <a:gd name="T6" fmla="*/ 0 60000 65536"/>
                  <a:gd name="T7" fmla="*/ 0 60000 65536"/>
                  <a:gd name="T8" fmla="*/ 0 60000 65536"/>
                  <a:gd name="T9" fmla="*/ 0 w 27"/>
                  <a:gd name="T10" fmla="*/ 0 h 31"/>
                  <a:gd name="T11" fmla="*/ 27 w 27"/>
                  <a:gd name="T12" fmla="*/ 31 h 31"/>
                </a:gdLst>
                <a:ahLst/>
                <a:cxnLst>
                  <a:cxn ang="T6">
                    <a:pos x="T0" y="T1"/>
                  </a:cxn>
                  <a:cxn ang="T7">
                    <a:pos x="T2" y="T3"/>
                  </a:cxn>
                  <a:cxn ang="T8">
                    <a:pos x="T4" y="T5"/>
                  </a:cxn>
                </a:cxnLst>
                <a:rect l="T9" t="T10" r="T11" b="T12"/>
                <a:pathLst>
                  <a:path w="27" h="31">
                    <a:moveTo>
                      <a:pt x="0" y="0"/>
                    </a:moveTo>
                    <a:lnTo>
                      <a:pt x="20" y="31"/>
                    </a:lnTo>
                    <a:lnTo>
                      <a:pt x="27"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5" name="Freeform 868"/>
              <p:cNvSpPr>
                <a:spLocks/>
              </p:cNvSpPr>
              <p:nvPr/>
            </p:nvSpPr>
            <p:spPr bwMode="auto">
              <a:xfrm>
                <a:off x="5119" y="2568"/>
                <a:ext cx="7" cy="1"/>
              </a:xfrm>
              <a:custGeom>
                <a:avLst/>
                <a:gdLst>
                  <a:gd name="T0" fmla="*/ 0 w 20"/>
                  <a:gd name="T1" fmla="*/ 0 h 1"/>
                  <a:gd name="T2" fmla="*/ 0 w 20"/>
                  <a:gd name="T3" fmla="*/ 0 h 1"/>
                  <a:gd name="T4" fmla="*/ 0 w 20"/>
                  <a:gd name="T5" fmla="*/ 0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6" name="Freeform 869"/>
              <p:cNvSpPr>
                <a:spLocks/>
              </p:cNvSpPr>
              <p:nvPr/>
            </p:nvSpPr>
            <p:spPr bwMode="auto">
              <a:xfrm>
                <a:off x="5127" y="2557"/>
                <a:ext cx="12" cy="5"/>
              </a:xfrm>
              <a:custGeom>
                <a:avLst/>
                <a:gdLst>
                  <a:gd name="T0" fmla="*/ 0 w 34"/>
                  <a:gd name="T1" fmla="*/ 0 h 13"/>
                  <a:gd name="T2" fmla="*/ 0 w 34"/>
                  <a:gd name="T3" fmla="*/ 0 h 13"/>
                  <a:gd name="T4" fmla="*/ 0 w 34"/>
                  <a:gd name="T5" fmla="*/ 0 h 13"/>
                  <a:gd name="T6" fmla="*/ 0 w 34"/>
                  <a:gd name="T7" fmla="*/ 0 h 13"/>
                  <a:gd name="T8" fmla="*/ 0 w 34"/>
                  <a:gd name="T9" fmla="*/ 0 h 13"/>
                  <a:gd name="T10" fmla="*/ 0 w 34"/>
                  <a:gd name="T11" fmla="*/ 0 h 13"/>
                  <a:gd name="T12" fmla="*/ 0 w 34"/>
                  <a:gd name="T13" fmla="*/ 0 h 13"/>
                  <a:gd name="T14" fmla="*/ 0 w 34"/>
                  <a:gd name="T15" fmla="*/ 0 h 13"/>
                  <a:gd name="T16" fmla="*/ 0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13"/>
                  <a:gd name="T29" fmla="*/ 34 w 3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13">
                    <a:moveTo>
                      <a:pt x="0" y="13"/>
                    </a:moveTo>
                    <a:lnTo>
                      <a:pt x="6" y="13"/>
                    </a:lnTo>
                    <a:lnTo>
                      <a:pt x="10" y="11"/>
                    </a:lnTo>
                    <a:lnTo>
                      <a:pt x="16" y="10"/>
                    </a:lnTo>
                    <a:lnTo>
                      <a:pt x="20" y="7"/>
                    </a:lnTo>
                    <a:lnTo>
                      <a:pt x="28" y="2"/>
                    </a:lnTo>
                    <a:lnTo>
                      <a:pt x="34" y="0"/>
                    </a:lnTo>
                    <a:lnTo>
                      <a:pt x="25" y="0"/>
                    </a:lnTo>
                    <a:lnTo>
                      <a:pt x="1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7" name="Freeform 870"/>
              <p:cNvSpPr>
                <a:spLocks/>
              </p:cNvSpPr>
              <p:nvPr/>
            </p:nvSpPr>
            <p:spPr bwMode="auto">
              <a:xfrm>
                <a:off x="5127" y="2547"/>
                <a:ext cx="12" cy="6"/>
              </a:xfrm>
              <a:custGeom>
                <a:avLst/>
                <a:gdLst>
                  <a:gd name="T0" fmla="*/ 0 w 34"/>
                  <a:gd name="T1" fmla="*/ 0 h 18"/>
                  <a:gd name="T2" fmla="*/ 0 w 34"/>
                  <a:gd name="T3" fmla="*/ 0 h 18"/>
                  <a:gd name="T4" fmla="*/ 0 w 34"/>
                  <a:gd name="T5" fmla="*/ 0 h 18"/>
                  <a:gd name="T6" fmla="*/ 0 w 34"/>
                  <a:gd name="T7" fmla="*/ 0 h 18"/>
                  <a:gd name="T8" fmla="*/ 0 w 34"/>
                  <a:gd name="T9" fmla="*/ 0 h 18"/>
                  <a:gd name="T10" fmla="*/ 0 w 34"/>
                  <a:gd name="T11" fmla="*/ 0 h 18"/>
                  <a:gd name="T12" fmla="*/ 0 w 34"/>
                  <a:gd name="T13" fmla="*/ 0 h 18"/>
                  <a:gd name="T14" fmla="*/ 0 60000 65536"/>
                  <a:gd name="T15" fmla="*/ 0 60000 65536"/>
                  <a:gd name="T16" fmla="*/ 0 60000 65536"/>
                  <a:gd name="T17" fmla="*/ 0 60000 65536"/>
                  <a:gd name="T18" fmla="*/ 0 60000 65536"/>
                  <a:gd name="T19" fmla="*/ 0 60000 65536"/>
                  <a:gd name="T20" fmla="*/ 0 60000 65536"/>
                  <a:gd name="T21" fmla="*/ 0 w 34"/>
                  <a:gd name="T22" fmla="*/ 0 h 18"/>
                  <a:gd name="T23" fmla="*/ 34 w 3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8">
                    <a:moveTo>
                      <a:pt x="34" y="18"/>
                    </a:moveTo>
                    <a:lnTo>
                      <a:pt x="34" y="0"/>
                    </a:lnTo>
                    <a:lnTo>
                      <a:pt x="28" y="0"/>
                    </a:lnTo>
                    <a:lnTo>
                      <a:pt x="20" y="0"/>
                    </a:lnTo>
                    <a:lnTo>
                      <a:pt x="10" y="0"/>
                    </a:lnTo>
                    <a:lnTo>
                      <a:pt x="0" y="0"/>
                    </a:lnTo>
                    <a:lnTo>
                      <a:pt x="34"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8" name="Freeform 871"/>
              <p:cNvSpPr>
                <a:spLocks/>
              </p:cNvSpPr>
              <p:nvPr/>
            </p:nvSpPr>
            <p:spPr bwMode="auto">
              <a:xfrm>
                <a:off x="5141" y="2535"/>
                <a:ext cx="20" cy="8"/>
              </a:xfrm>
              <a:custGeom>
                <a:avLst/>
                <a:gdLst>
                  <a:gd name="T0" fmla="*/ 0 w 59"/>
                  <a:gd name="T1" fmla="*/ 0 h 25"/>
                  <a:gd name="T2" fmla="*/ 0 w 59"/>
                  <a:gd name="T3" fmla="*/ 0 h 25"/>
                  <a:gd name="T4" fmla="*/ 0 w 59"/>
                  <a:gd name="T5" fmla="*/ 0 h 25"/>
                  <a:gd name="T6" fmla="*/ 0 w 59"/>
                  <a:gd name="T7" fmla="*/ 0 h 25"/>
                  <a:gd name="T8" fmla="*/ 0 w 59"/>
                  <a:gd name="T9" fmla="*/ 0 h 25"/>
                  <a:gd name="T10" fmla="*/ 0 w 59"/>
                  <a:gd name="T11" fmla="*/ 0 h 25"/>
                  <a:gd name="T12" fmla="*/ 0 w 59"/>
                  <a:gd name="T13" fmla="*/ 0 h 25"/>
                  <a:gd name="T14" fmla="*/ 0 w 59"/>
                  <a:gd name="T15" fmla="*/ 0 h 25"/>
                  <a:gd name="T16" fmla="*/ 0 w 59"/>
                  <a:gd name="T17" fmla="*/ 0 h 25"/>
                  <a:gd name="T18" fmla="*/ 0 w 59"/>
                  <a:gd name="T19" fmla="*/ 0 h 25"/>
                  <a:gd name="T20" fmla="*/ 0 w 59"/>
                  <a:gd name="T21" fmla="*/ 0 h 25"/>
                  <a:gd name="T22" fmla="*/ 0 w 59"/>
                  <a:gd name="T23" fmla="*/ 0 h 25"/>
                  <a:gd name="T24" fmla="*/ 0 w 59"/>
                  <a:gd name="T25" fmla="*/ 0 h 25"/>
                  <a:gd name="T26" fmla="*/ 0 w 59"/>
                  <a:gd name="T27" fmla="*/ 0 h 25"/>
                  <a:gd name="T28" fmla="*/ 0 w 59"/>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9"/>
                  <a:gd name="T46" fmla="*/ 0 h 25"/>
                  <a:gd name="T47" fmla="*/ 59 w 59"/>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9" name="Line 872"/>
              <p:cNvSpPr>
                <a:spLocks noChangeShapeType="1"/>
              </p:cNvSpPr>
              <p:nvPr/>
            </p:nvSpPr>
            <p:spPr bwMode="auto">
              <a:xfrm flipV="1">
                <a:off x="5191" y="2516"/>
                <a:ext cx="6"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662" name="Freeform 873"/>
            <p:cNvSpPr>
              <a:spLocks/>
            </p:cNvSpPr>
            <p:nvPr>
              <p:custDataLst>
                <p:tags r:id="rId210"/>
              </p:custDataLst>
            </p:nvPr>
          </p:nvSpPr>
          <p:spPr bwMode="auto">
            <a:xfrm>
              <a:off x="4968" y="2444"/>
              <a:ext cx="10" cy="35"/>
            </a:xfrm>
            <a:custGeom>
              <a:avLst/>
              <a:gdLst>
                <a:gd name="T0" fmla="*/ 0 w 33"/>
                <a:gd name="T1" fmla="*/ 2 h 43"/>
                <a:gd name="T2" fmla="*/ 0 w 33"/>
                <a:gd name="T3" fmla="*/ 2 h 43"/>
                <a:gd name="T4" fmla="*/ 0 w 33"/>
                <a:gd name="T5" fmla="*/ 2 h 43"/>
                <a:gd name="T6" fmla="*/ 0 w 33"/>
                <a:gd name="T7" fmla="*/ 2 h 43"/>
                <a:gd name="T8" fmla="*/ 0 w 33"/>
                <a:gd name="T9" fmla="*/ 2 h 43"/>
                <a:gd name="T10" fmla="*/ 0 w 33"/>
                <a:gd name="T11" fmla="*/ 2 h 43"/>
                <a:gd name="T12" fmla="*/ 0 w 33"/>
                <a:gd name="T13" fmla="*/ 2 h 43"/>
                <a:gd name="T14" fmla="*/ 0 w 33"/>
                <a:gd name="T15" fmla="*/ 2 h 43"/>
                <a:gd name="T16" fmla="*/ 0 w 33"/>
                <a:gd name="T17" fmla="*/ 0 h 43"/>
                <a:gd name="T18" fmla="*/ 0 w 33"/>
                <a:gd name="T19" fmla="*/ 2 h 43"/>
                <a:gd name="T20" fmla="*/ 0 w 33"/>
                <a:gd name="T21" fmla="*/ 2 h 43"/>
                <a:gd name="T22" fmla="*/ 0 w 33"/>
                <a:gd name="T23" fmla="*/ 2 h 43"/>
                <a:gd name="T24" fmla="*/ 0 w 33"/>
                <a:gd name="T25" fmla="*/ 2 h 43"/>
                <a:gd name="T26" fmla="*/ 0 w 33"/>
                <a:gd name="T27" fmla="*/ 2 h 43"/>
                <a:gd name="T28" fmla="*/ 0 w 33"/>
                <a:gd name="T29" fmla="*/ 2 h 43"/>
                <a:gd name="T30" fmla="*/ 0 w 33"/>
                <a:gd name="T31" fmla="*/ 2 h 43"/>
                <a:gd name="T32" fmla="*/ 0 w 33"/>
                <a:gd name="T33" fmla="*/ 2 h 43"/>
                <a:gd name="T34" fmla="*/ 0 w 33"/>
                <a:gd name="T35" fmla="*/ 2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3" name="Freeform 874"/>
            <p:cNvSpPr>
              <a:spLocks/>
            </p:cNvSpPr>
            <p:nvPr>
              <p:custDataLst>
                <p:tags r:id="rId211"/>
              </p:custDataLst>
            </p:nvPr>
          </p:nvSpPr>
          <p:spPr bwMode="auto">
            <a:xfrm>
              <a:off x="5020" y="2406"/>
              <a:ext cx="15" cy="37"/>
            </a:xfrm>
            <a:custGeom>
              <a:avLst/>
              <a:gdLst>
                <a:gd name="T0" fmla="*/ 0 w 54"/>
                <a:gd name="T1" fmla="*/ 0 h 92"/>
                <a:gd name="T2" fmla="*/ 0 w 54"/>
                <a:gd name="T3" fmla="*/ 0 h 92"/>
                <a:gd name="T4" fmla="*/ 0 w 54"/>
                <a:gd name="T5" fmla="*/ 0 h 92"/>
                <a:gd name="T6" fmla="*/ 0 w 54"/>
                <a:gd name="T7" fmla="*/ 0 h 92"/>
                <a:gd name="T8" fmla="*/ 0 w 54"/>
                <a:gd name="T9" fmla="*/ 0 h 92"/>
                <a:gd name="T10" fmla="*/ 0 w 54"/>
                <a:gd name="T11" fmla="*/ 0 h 92"/>
                <a:gd name="T12" fmla="*/ 0 w 54"/>
                <a:gd name="T13" fmla="*/ 0 h 92"/>
                <a:gd name="T14" fmla="*/ 0 w 54"/>
                <a:gd name="T15" fmla="*/ 0 h 92"/>
                <a:gd name="T16" fmla="*/ 0 w 54"/>
                <a:gd name="T17" fmla="*/ 0 h 92"/>
                <a:gd name="T18" fmla="*/ 0 w 54"/>
                <a:gd name="T19" fmla="*/ 0 h 92"/>
                <a:gd name="T20" fmla="*/ 0 w 54"/>
                <a:gd name="T21" fmla="*/ 0 h 92"/>
                <a:gd name="T22" fmla="*/ 0 w 54"/>
                <a:gd name="T23" fmla="*/ 0 h 92"/>
                <a:gd name="T24" fmla="*/ 0 w 54"/>
                <a:gd name="T25" fmla="*/ 0 h 92"/>
                <a:gd name="T26" fmla="*/ 0 w 54"/>
                <a:gd name="T27" fmla="*/ 0 h 92"/>
                <a:gd name="T28" fmla="*/ 0 w 54"/>
                <a:gd name="T29" fmla="*/ 0 h 92"/>
                <a:gd name="T30" fmla="*/ 0 w 54"/>
                <a:gd name="T31" fmla="*/ 0 h 92"/>
                <a:gd name="T32" fmla="*/ 0 w 54"/>
                <a:gd name="T33" fmla="*/ 0 h 92"/>
                <a:gd name="T34" fmla="*/ 0 w 54"/>
                <a:gd name="T35" fmla="*/ 0 h 92"/>
                <a:gd name="T36" fmla="*/ 0 w 54"/>
                <a:gd name="T37" fmla="*/ 0 h 92"/>
                <a:gd name="T38" fmla="*/ 0 w 54"/>
                <a:gd name="T39" fmla="*/ 0 h 92"/>
                <a:gd name="T40" fmla="*/ 0 w 54"/>
                <a:gd name="T41" fmla="*/ 0 h 92"/>
                <a:gd name="T42" fmla="*/ 0 w 54"/>
                <a:gd name="T43" fmla="*/ 0 h 92"/>
                <a:gd name="T44" fmla="*/ 0 w 54"/>
                <a:gd name="T45" fmla="*/ 0 h 92"/>
                <a:gd name="T46" fmla="*/ 0 w 54"/>
                <a:gd name="T47" fmla="*/ 0 h 92"/>
                <a:gd name="T48" fmla="*/ 0 w 54"/>
                <a:gd name="T49" fmla="*/ 0 h 92"/>
                <a:gd name="T50" fmla="*/ 0 w 54"/>
                <a:gd name="T51" fmla="*/ 0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4" name="Freeform 875"/>
            <p:cNvSpPr>
              <a:spLocks/>
            </p:cNvSpPr>
            <p:nvPr>
              <p:custDataLst>
                <p:tags r:id="rId212"/>
              </p:custDataLst>
            </p:nvPr>
          </p:nvSpPr>
          <p:spPr bwMode="auto">
            <a:xfrm>
              <a:off x="5053" y="2330"/>
              <a:ext cx="16" cy="36"/>
            </a:xfrm>
            <a:custGeom>
              <a:avLst/>
              <a:gdLst>
                <a:gd name="T0" fmla="*/ 0 w 60"/>
                <a:gd name="T1" fmla="*/ 0 h 18"/>
                <a:gd name="T2" fmla="*/ 0 w 60"/>
                <a:gd name="T3" fmla="*/ 4194304 h 18"/>
                <a:gd name="T4" fmla="*/ 0 w 60"/>
                <a:gd name="T5" fmla="*/ 9437184 h 18"/>
                <a:gd name="T6" fmla="*/ 0 w 60"/>
                <a:gd name="T7" fmla="*/ 11534335 h 18"/>
                <a:gd name="T8" fmla="*/ 0 w 60"/>
                <a:gd name="T9" fmla="*/ 13631486 h 18"/>
                <a:gd name="T10" fmla="*/ 0 w 60"/>
                <a:gd name="T11" fmla="*/ 16777217 h 18"/>
                <a:gd name="T12" fmla="*/ 0 w 60"/>
                <a:gd name="T13" fmla="*/ 18874368 h 18"/>
                <a:gd name="T14" fmla="*/ 0 w 60"/>
                <a:gd name="T15" fmla="*/ 18874368 h 18"/>
                <a:gd name="T16" fmla="*/ 0 w 60"/>
                <a:gd name="T17" fmla="*/ 18874368 h 18"/>
                <a:gd name="T18" fmla="*/ 0 w 60"/>
                <a:gd name="T19" fmla="*/ 18874368 h 18"/>
                <a:gd name="T20" fmla="*/ 0 w 60"/>
                <a:gd name="T21" fmla="*/ 18874368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5" name="Freeform 876"/>
            <p:cNvSpPr>
              <a:spLocks/>
            </p:cNvSpPr>
            <p:nvPr>
              <p:custDataLst>
                <p:tags r:id="rId213"/>
              </p:custDataLst>
            </p:nvPr>
          </p:nvSpPr>
          <p:spPr bwMode="auto">
            <a:xfrm>
              <a:off x="5042" y="2311"/>
              <a:ext cx="17" cy="36"/>
            </a:xfrm>
            <a:custGeom>
              <a:avLst/>
              <a:gdLst>
                <a:gd name="T0" fmla="*/ 0 w 66"/>
                <a:gd name="T1" fmla="*/ 18874368 h 18"/>
                <a:gd name="T2" fmla="*/ 0 w 66"/>
                <a:gd name="T3" fmla="*/ 18874368 h 18"/>
                <a:gd name="T4" fmla="*/ 0 w 66"/>
                <a:gd name="T5" fmla="*/ 13631486 h 18"/>
                <a:gd name="T6" fmla="*/ 0 w 66"/>
                <a:gd name="T7" fmla="*/ 7340031 h 18"/>
                <a:gd name="T8" fmla="*/ 0 w 66"/>
                <a:gd name="T9" fmla="*/ 4194304 h 18"/>
                <a:gd name="T10" fmla="*/ 0 w 66"/>
                <a:gd name="T11" fmla="*/ 2097152 h 18"/>
                <a:gd name="T12" fmla="*/ 0 w 66"/>
                <a:gd name="T13" fmla="*/ 1048576 h 18"/>
                <a:gd name="T14" fmla="*/ 0 w 66"/>
                <a:gd name="T15" fmla="*/ 0 h 18"/>
                <a:gd name="T16" fmla="*/ 0 w 66"/>
                <a:gd name="T17" fmla="*/ 18874368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6" name="Freeform 877"/>
            <p:cNvSpPr>
              <a:spLocks/>
            </p:cNvSpPr>
            <p:nvPr>
              <p:custDataLst>
                <p:tags r:id="rId214"/>
              </p:custDataLst>
            </p:nvPr>
          </p:nvSpPr>
          <p:spPr bwMode="auto">
            <a:xfrm>
              <a:off x="4923" y="2246"/>
              <a:ext cx="5" cy="36"/>
            </a:xfrm>
            <a:custGeom>
              <a:avLst/>
              <a:gdLst>
                <a:gd name="T0" fmla="*/ 0 w 17"/>
                <a:gd name="T1" fmla="*/ 3 h 42"/>
                <a:gd name="T2" fmla="*/ 0 w 17"/>
                <a:gd name="T3" fmla="*/ 3 h 42"/>
                <a:gd name="T4" fmla="*/ 0 w 17"/>
                <a:gd name="T5" fmla="*/ 3 h 42"/>
                <a:gd name="T6" fmla="*/ 0 w 17"/>
                <a:gd name="T7" fmla="*/ 3 h 42"/>
                <a:gd name="T8" fmla="*/ 0 w 17"/>
                <a:gd name="T9" fmla="*/ 3 h 42"/>
                <a:gd name="T10" fmla="*/ 0 w 17"/>
                <a:gd name="T11" fmla="*/ 3 h 42"/>
                <a:gd name="T12" fmla="*/ 0 w 17"/>
                <a:gd name="T13" fmla="*/ 3 h 42"/>
                <a:gd name="T14" fmla="*/ 0 w 17"/>
                <a:gd name="T15" fmla="*/ 0 h 42"/>
                <a:gd name="T16" fmla="*/ 0 w 17"/>
                <a:gd name="T17" fmla="*/ 3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7" name="Freeform 878"/>
            <p:cNvSpPr>
              <a:spLocks/>
            </p:cNvSpPr>
            <p:nvPr>
              <p:custDataLst>
                <p:tags r:id="rId215"/>
              </p:custDataLst>
            </p:nvPr>
          </p:nvSpPr>
          <p:spPr bwMode="auto">
            <a:xfrm>
              <a:off x="4873" y="2331"/>
              <a:ext cx="20" cy="37"/>
            </a:xfrm>
            <a:custGeom>
              <a:avLst/>
              <a:gdLst>
                <a:gd name="T0" fmla="*/ 0 w 72"/>
                <a:gd name="T1" fmla="*/ 3771 h 29"/>
                <a:gd name="T2" fmla="*/ 0 w 72"/>
                <a:gd name="T3" fmla="*/ 3387 h 29"/>
                <a:gd name="T4" fmla="*/ 0 w 72"/>
                <a:gd name="T5" fmla="*/ 3187 h 29"/>
                <a:gd name="T6" fmla="*/ 0 w 72"/>
                <a:gd name="T7" fmla="*/ 3187 h 29"/>
                <a:gd name="T8" fmla="*/ 0 w 72"/>
                <a:gd name="T9" fmla="*/ 3187 h 29"/>
                <a:gd name="T10" fmla="*/ 0 w 72"/>
                <a:gd name="T11" fmla="*/ 3440 h 29"/>
                <a:gd name="T12" fmla="*/ 0 w 72"/>
                <a:gd name="T13" fmla="*/ 3771 h 29"/>
                <a:gd name="T14" fmla="*/ 0 w 72"/>
                <a:gd name="T15" fmla="*/ 527 h 29"/>
                <a:gd name="T16" fmla="*/ 0 w 72"/>
                <a:gd name="T17" fmla="*/ 1 h 29"/>
                <a:gd name="T18" fmla="*/ 0 w 72"/>
                <a:gd name="T19" fmla="*/ 0 h 29"/>
                <a:gd name="T20" fmla="*/ 0 w 72"/>
                <a:gd name="T21" fmla="*/ 0 h 29"/>
                <a:gd name="T22" fmla="*/ 0 w 72"/>
                <a:gd name="T23" fmla="*/ 324 h 29"/>
                <a:gd name="T24" fmla="*/ 0 w 72"/>
                <a:gd name="T25" fmla="*/ 413 h 29"/>
                <a:gd name="T26" fmla="*/ 0 w 72"/>
                <a:gd name="T27" fmla="*/ 672 h 29"/>
                <a:gd name="T28" fmla="*/ 0 w 72"/>
                <a:gd name="T29" fmla="*/ 672 h 29"/>
                <a:gd name="T30" fmla="*/ 0 w 72"/>
                <a:gd name="T31" fmla="*/ 527 h 29"/>
                <a:gd name="T32" fmla="*/ 0 w 72"/>
                <a:gd name="T33" fmla="*/ 2081 h 29"/>
                <a:gd name="T34" fmla="*/ 0 w 72"/>
                <a:gd name="T35" fmla="*/ 3771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8" name="Freeform 879"/>
            <p:cNvSpPr>
              <a:spLocks/>
            </p:cNvSpPr>
            <p:nvPr>
              <p:custDataLst>
                <p:tags r:id="rId216"/>
              </p:custDataLst>
            </p:nvPr>
          </p:nvSpPr>
          <p:spPr bwMode="auto">
            <a:xfrm>
              <a:off x="4878" y="2448"/>
              <a:ext cx="13" cy="35"/>
            </a:xfrm>
            <a:custGeom>
              <a:avLst/>
              <a:gdLst>
                <a:gd name="T0" fmla="*/ 0 w 46"/>
                <a:gd name="T1" fmla="*/ 0 h 37"/>
                <a:gd name="T2" fmla="*/ 0 w 46"/>
                <a:gd name="T3" fmla="*/ 9 h 37"/>
                <a:gd name="T4" fmla="*/ 0 w 46"/>
                <a:gd name="T5" fmla="*/ 9 h 37"/>
                <a:gd name="T6" fmla="*/ 0 w 46"/>
                <a:gd name="T7" fmla="*/ 9 h 37"/>
                <a:gd name="T8" fmla="*/ 0 w 46"/>
                <a:gd name="T9" fmla="*/ 9 h 37"/>
                <a:gd name="T10" fmla="*/ 0 w 46"/>
                <a:gd name="T11" fmla="*/ 9 h 37"/>
                <a:gd name="T12" fmla="*/ 0 w 46"/>
                <a:gd name="T13" fmla="*/ 10 h 37"/>
                <a:gd name="T14" fmla="*/ 0 w 46"/>
                <a:gd name="T15" fmla="*/ 11 h 37"/>
                <a:gd name="T16" fmla="*/ 0 w 46"/>
                <a:gd name="T17" fmla="*/ 12 h 37"/>
                <a:gd name="T18" fmla="*/ 0 w 46"/>
                <a:gd name="T19" fmla="*/ 11 h 37"/>
                <a:gd name="T20" fmla="*/ 0 w 46"/>
                <a:gd name="T21" fmla="*/ 10 h 37"/>
                <a:gd name="T22" fmla="*/ 0 w 46"/>
                <a:gd name="T23" fmla="*/ 9 h 37"/>
                <a:gd name="T24" fmla="*/ 0 w 46"/>
                <a:gd name="T25" fmla="*/ 9 h 37"/>
                <a:gd name="T26" fmla="*/ 0 w 46"/>
                <a:gd name="T27" fmla="*/ 9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9" name="Freeform 880"/>
            <p:cNvSpPr>
              <a:spLocks/>
            </p:cNvSpPr>
            <p:nvPr>
              <p:custDataLst>
                <p:tags r:id="rId217"/>
              </p:custDataLst>
            </p:nvPr>
          </p:nvSpPr>
          <p:spPr bwMode="auto">
            <a:xfrm>
              <a:off x="4955" y="2334"/>
              <a:ext cx="8" cy="36"/>
            </a:xfrm>
            <a:custGeom>
              <a:avLst/>
              <a:gdLst>
                <a:gd name="T0" fmla="*/ 0 w 26"/>
                <a:gd name="T1" fmla="*/ 0 h 19"/>
                <a:gd name="T2" fmla="*/ 0 w 26"/>
                <a:gd name="T3" fmla="*/ 6724223 h 19"/>
                <a:gd name="T4" fmla="*/ 0 w 26"/>
                <a:gd name="T5" fmla="*/ 3203909 h 19"/>
                <a:gd name="T6" fmla="*/ 0 w 26"/>
                <a:gd name="T7" fmla="*/ 0 h 19"/>
                <a:gd name="T8" fmla="*/ 0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0" name="Freeform 881"/>
            <p:cNvSpPr>
              <a:spLocks/>
            </p:cNvSpPr>
            <p:nvPr>
              <p:custDataLst>
                <p:tags r:id="rId218"/>
              </p:custDataLst>
            </p:nvPr>
          </p:nvSpPr>
          <p:spPr bwMode="auto">
            <a:xfrm>
              <a:off x="4860" y="2331"/>
              <a:ext cx="13" cy="37"/>
            </a:xfrm>
            <a:custGeom>
              <a:avLst/>
              <a:gdLst>
                <a:gd name="T0" fmla="*/ 0 w 43"/>
                <a:gd name="T1" fmla="*/ 0 h 31"/>
                <a:gd name="T2" fmla="*/ 0 w 43"/>
                <a:gd name="T3" fmla="*/ 423 h 31"/>
                <a:gd name="T4" fmla="*/ 0 w 43"/>
                <a:gd name="T5" fmla="*/ 764 h 31"/>
                <a:gd name="T6" fmla="*/ 0 w 43"/>
                <a:gd name="T7" fmla="*/ 898 h 31"/>
                <a:gd name="T8" fmla="*/ 0 w 43"/>
                <a:gd name="T9" fmla="*/ 1025 h 31"/>
                <a:gd name="T10" fmla="*/ 0 w 43"/>
                <a:gd name="T11" fmla="*/ 1072 h 31"/>
                <a:gd name="T12" fmla="*/ 0 w 43"/>
                <a:gd name="T13" fmla="*/ 1072 h 31"/>
                <a:gd name="T14" fmla="*/ 0 w 43"/>
                <a:gd name="T15" fmla="*/ 752 h 31"/>
                <a:gd name="T16" fmla="*/ 0 w 43"/>
                <a:gd name="T17" fmla="*/ 449 h 31"/>
                <a:gd name="T18" fmla="*/ 0 w 43"/>
                <a:gd name="T19" fmla="*/ 175 h 31"/>
                <a:gd name="T20" fmla="*/ 0 w 43"/>
                <a:gd name="T21" fmla="*/ 0 h 31"/>
                <a:gd name="T22" fmla="*/ 0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1" name="Freeform 882"/>
            <p:cNvSpPr>
              <a:spLocks/>
            </p:cNvSpPr>
            <p:nvPr>
              <p:custDataLst>
                <p:tags r:id="rId219"/>
              </p:custDataLst>
            </p:nvPr>
          </p:nvSpPr>
          <p:spPr bwMode="auto">
            <a:xfrm>
              <a:off x="4890" y="2361"/>
              <a:ext cx="21" cy="36"/>
            </a:xfrm>
            <a:custGeom>
              <a:avLst/>
              <a:gdLst>
                <a:gd name="T0" fmla="*/ 0 w 71"/>
                <a:gd name="T1" fmla="*/ 1 h 49"/>
                <a:gd name="T2" fmla="*/ 0 w 71"/>
                <a:gd name="T3" fmla="*/ 1 h 49"/>
                <a:gd name="T4" fmla="*/ 0 w 71"/>
                <a:gd name="T5" fmla="*/ 1 h 49"/>
                <a:gd name="T6" fmla="*/ 0 w 71"/>
                <a:gd name="T7" fmla="*/ 1 h 49"/>
                <a:gd name="T8" fmla="*/ 0 w 71"/>
                <a:gd name="T9" fmla="*/ 1 h 49"/>
                <a:gd name="T10" fmla="*/ 0 w 71"/>
                <a:gd name="T11" fmla="*/ 1 h 49"/>
                <a:gd name="T12" fmla="*/ 0 w 71"/>
                <a:gd name="T13" fmla="*/ 1 h 49"/>
                <a:gd name="T14" fmla="*/ 0 w 71"/>
                <a:gd name="T15" fmla="*/ 1 h 49"/>
                <a:gd name="T16" fmla="*/ 0 w 71"/>
                <a:gd name="T17" fmla="*/ 1 h 49"/>
                <a:gd name="T18" fmla="*/ 0 w 71"/>
                <a:gd name="T19" fmla="*/ 1 h 49"/>
                <a:gd name="T20" fmla="*/ 0 w 71"/>
                <a:gd name="T21" fmla="*/ 1 h 49"/>
                <a:gd name="T22" fmla="*/ 0 w 71"/>
                <a:gd name="T23" fmla="*/ 1 h 49"/>
                <a:gd name="T24" fmla="*/ 0 w 71"/>
                <a:gd name="T25" fmla="*/ 1 h 49"/>
                <a:gd name="T26" fmla="*/ 0 w 71"/>
                <a:gd name="T27" fmla="*/ 1 h 49"/>
                <a:gd name="T28" fmla="*/ 0 w 71"/>
                <a:gd name="T29" fmla="*/ 1 h 49"/>
                <a:gd name="T30" fmla="*/ 0 w 71"/>
                <a:gd name="T31" fmla="*/ 1 h 49"/>
                <a:gd name="T32" fmla="*/ 0 w 71"/>
                <a:gd name="T33" fmla="*/ 1 h 49"/>
                <a:gd name="T34" fmla="*/ 0 w 71"/>
                <a:gd name="T35" fmla="*/ 1 h 49"/>
                <a:gd name="T36" fmla="*/ 0 w 71"/>
                <a:gd name="T37" fmla="*/ 1 h 49"/>
                <a:gd name="T38" fmla="*/ 0 w 71"/>
                <a:gd name="T39" fmla="*/ 1 h 49"/>
                <a:gd name="T40" fmla="*/ 0 w 71"/>
                <a:gd name="T41" fmla="*/ 1 h 49"/>
                <a:gd name="T42" fmla="*/ 0 w 71"/>
                <a:gd name="T43" fmla="*/ 1 h 49"/>
                <a:gd name="T44" fmla="*/ 0 w 71"/>
                <a:gd name="T45" fmla="*/ 0 h 49"/>
                <a:gd name="T46" fmla="*/ 0 w 71"/>
                <a:gd name="T47" fmla="*/ 1 h 49"/>
                <a:gd name="T48" fmla="*/ 0 w 71"/>
                <a:gd name="T49" fmla="*/ 1 h 49"/>
                <a:gd name="T50" fmla="*/ 0 w 71"/>
                <a:gd name="T51" fmla="*/ 1 h 49"/>
                <a:gd name="T52" fmla="*/ 0 w 71"/>
                <a:gd name="T53" fmla="*/ 1 h 49"/>
                <a:gd name="T54" fmla="*/ 0 w 71"/>
                <a:gd name="T55" fmla="*/ 1 h 49"/>
                <a:gd name="T56" fmla="*/ 0 w 71"/>
                <a:gd name="T57" fmla="*/ 1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2" name="Freeform 883"/>
            <p:cNvSpPr>
              <a:spLocks/>
            </p:cNvSpPr>
            <p:nvPr>
              <p:custDataLst>
                <p:tags r:id="rId220"/>
              </p:custDataLst>
            </p:nvPr>
          </p:nvSpPr>
          <p:spPr bwMode="auto">
            <a:xfrm>
              <a:off x="4755" y="2489"/>
              <a:ext cx="31" cy="37"/>
            </a:xfrm>
            <a:custGeom>
              <a:avLst/>
              <a:gdLst>
                <a:gd name="T0" fmla="*/ 0 w 112"/>
                <a:gd name="T1" fmla="*/ 2634 h 26"/>
                <a:gd name="T2" fmla="*/ 0 w 112"/>
                <a:gd name="T3" fmla="*/ 2634 h 26"/>
                <a:gd name="T4" fmla="*/ 0 w 112"/>
                <a:gd name="T5" fmla="*/ 3748 h 26"/>
                <a:gd name="T6" fmla="*/ 0 w 112"/>
                <a:gd name="T7" fmla="*/ 5334 h 26"/>
                <a:gd name="T8" fmla="*/ 0 w 112"/>
                <a:gd name="T9" fmla="*/ 7591 h 26"/>
                <a:gd name="T10" fmla="*/ 0 w 112"/>
                <a:gd name="T11" fmla="*/ 10803 h 26"/>
                <a:gd name="T12" fmla="*/ 0 w 112"/>
                <a:gd name="T13" fmla="*/ 13522 h 26"/>
                <a:gd name="T14" fmla="*/ 0 w 112"/>
                <a:gd name="T15" fmla="*/ 18854 h 26"/>
                <a:gd name="T16" fmla="*/ 0 w 112"/>
                <a:gd name="T17" fmla="*/ 22875 h 26"/>
                <a:gd name="T18" fmla="*/ 0 w 112"/>
                <a:gd name="T19" fmla="*/ 25447 h 26"/>
                <a:gd name="T20" fmla="*/ 0 w 112"/>
                <a:gd name="T21" fmla="*/ 26831 h 26"/>
                <a:gd name="T22" fmla="*/ 0 w 112"/>
                <a:gd name="T23" fmla="*/ 29468 h 26"/>
                <a:gd name="T24" fmla="*/ 0 w 112"/>
                <a:gd name="T25" fmla="*/ 29468 h 26"/>
                <a:gd name="T26" fmla="*/ 0 w 112"/>
                <a:gd name="T27" fmla="*/ 30141 h 26"/>
                <a:gd name="T28" fmla="*/ 0 w 112"/>
                <a:gd name="T29" fmla="*/ 30141 h 26"/>
                <a:gd name="T30" fmla="*/ 0 w 112"/>
                <a:gd name="T31" fmla="*/ 27384 h 26"/>
                <a:gd name="T32" fmla="*/ 0 w 112"/>
                <a:gd name="T33" fmla="*/ 21878 h 26"/>
                <a:gd name="T34" fmla="*/ 0 w 112"/>
                <a:gd name="T35" fmla="*/ 15374 h 26"/>
                <a:gd name="T36" fmla="*/ 0 w 112"/>
                <a:gd name="T37" fmla="*/ 9310 h 26"/>
                <a:gd name="T38" fmla="*/ 0 w 112"/>
                <a:gd name="T39" fmla="*/ 5334 h 26"/>
                <a:gd name="T40" fmla="*/ 0 w 112"/>
                <a:gd name="T41" fmla="*/ 2634 h 26"/>
                <a:gd name="T42" fmla="*/ 0 w 112"/>
                <a:gd name="T43" fmla="*/ 1 h 26"/>
                <a:gd name="T44" fmla="*/ 0 w 112"/>
                <a:gd name="T45" fmla="*/ 0 h 26"/>
                <a:gd name="T46" fmla="*/ 0 w 112"/>
                <a:gd name="T47" fmla="*/ 1 h 26"/>
                <a:gd name="T48" fmla="*/ 0 w 112"/>
                <a:gd name="T49" fmla="*/ 2634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3" name="Freeform 884"/>
            <p:cNvSpPr>
              <a:spLocks/>
            </p:cNvSpPr>
            <p:nvPr>
              <p:custDataLst>
                <p:tags r:id="rId221"/>
              </p:custDataLst>
            </p:nvPr>
          </p:nvSpPr>
          <p:spPr bwMode="auto">
            <a:xfrm>
              <a:off x="4822" y="2513"/>
              <a:ext cx="10" cy="37"/>
            </a:xfrm>
            <a:custGeom>
              <a:avLst/>
              <a:gdLst>
                <a:gd name="T0" fmla="*/ 0 w 41"/>
                <a:gd name="T1" fmla="*/ 0 h 25"/>
                <a:gd name="T2" fmla="*/ 0 w 41"/>
                <a:gd name="T3" fmla="*/ 0 h 25"/>
                <a:gd name="T4" fmla="*/ 0 w 41"/>
                <a:gd name="T5" fmla="*/ 21131 h 25"/>
                <a:gd name="T6" fmla="*/ 0 w 41"/>
                <a:gd name="T7" fmla="*/ 38746 h 25"/>
                <a:gd name="T8" fmla="*/ 0 w 41"/>
                <a:gd name="T9" fmla="*/ 50835 h 25"/>
                <a:gd name="T10" fmla="*/ 0 w 41"/>
                <a:gd name="T11" fmla="*/ 63581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4" name="Freeform 885"/>
            <p:cNvSpPr>
              <a:spLocks/>
            </p:cNvSpPr>
            <p:nvPr>
              <p:custDataLst>
                <p:tags r:id="rId222"/>
              </p:custDataLst>
            </p:nvPr>
          </p:nvSpPr>
          <p:spPr bwMode="auto">
            <a:xfrm>
              <a:off x="4708" y="2470"/>
              <a:ext cx="25" cy="35"/>
            </a:xfrm>
            <a:custGeom>
              <a:avLst/>
              <a:gdLst>
                <a:gd name="T0" fmla="*/ 0 w 81"/>
                <a:gd name="T1" fmla="*/ 353 h 31"/>
                <a:gd name="T2" fmla="*/ 0 w 81"/>
                <a:gd name="T3" fmla="*/ 256 h 31"/>
                <a:gd name="T4" fmla="*/ 0 w 81"/>
                <a:gd name="T5" fmla="*/ 145 h 31"/>
                <a:gd name="T6" fmla="*/ 0 w 81"/>
                <a:gd name="T7" fmla="*/ 111 h 31"/>
                <a:gd name="T8" fmla="*/ 0 w 81"/>
                <a:gd name="T9" fmla="*/ 87 h 31"/>
                <a:gd name="T10" fmla="*/ 0 w 81"/>
                <a:gd name="T11" fmla="*/ 68 h 31"/>
                <a:gd name="T12" fmla="*/ 0 w 81"/>
                <a:gd name="T13" fmla="*/ 53 h 31"/>
                <a:gd name="T14" fmla="*/ 0 w 81"/>
                <a:gd name="T15" fmla="*/ 2 h 31"/>
                <a:gd name="T16" fmla="*/ 0 w 81"/>
                <a:gd name="T17" fmla="*/ 0 h 31"/>
                <a:gd name="T18" fmla="*/ 0 w 81"/>
                <a:gd name="T19" fmla="*/ 1 h 31"/>
                <a:gd name="T20" fmla="*/ 0 w 81"/>
                <a:gd name="T21" fmla="*/ 1 h 31"/>
                <a:gd name="T22" fmla="*/ 0 w 81"/>
                <a:gd name="T23" fmla="*/ 1 h 31"/>
                <a:gd name="T24" fmla="*/ 0 w 81"/>
                <a:gd name="T25" fmla="*/ 1 h 31"/>
                <a:gd name="T26" fmla="*/ 0 w 81"/>
                <a:gd name="T27" fmla="*/ 1 h 31"/>
                <a:gd name="T28" fmla="*/ 0 w 81"/>
                <a:gd name="T29" fmla="*/ 1 h 31"/>
                <a:gd name="T30" fmla="*/ 0 w 81"/>
                <a:gd name="T31" fmla="*/ 68 h 31"/>
                <a:gd name="T32" fmla="*/ 0 w 81"/>
                <a:gd name="T33" fmla="*/ 111 h 31"/>
                <a:gd name="T34" fmla="*/ 0 w 81"/>
                <a:gd name="T35" fmla="*/ 159 h 31"/>
                <a:gd name="T36" fmla="*/ 0 w 81"/>
                <a:gd name="T37" fmla="*/ 203 h 31"/>
                <a:gd name="T38" fmla="*/ 0 w 81"/>
                <a:gd name="T39" fmla="*/ 236 h 31"/>
                <a:gd name="T40" fmla="*/ 0 w 81"/>
                <a:gd name="T41" fmla="*/ 259 h 31"/>
                <a:gd name="T42" fmla="*/ 0 w 81"/>
                <a:gd name="T43" fmla="*/ 289 h 31"/>
                <a:gd name="T44" fmla="*/ 0 w 81"/>
                <a:gd name="T45" fmla="*/ 289 h 31"/>
                <a:gd name="T46" fmla="*/ 0 w 81"/>
                <a:gd name="T47" fmla="*/ 35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5" name="Freeform 886"/>
            <p:cNvSpPr>
              <a:spLocks/>
            </p:cNvSpPr>
            <p:nvPr>
              <p:custDataLst>
                <p:tags r:id="rId223"/>
              </p:custDataLst>
            </p:nvPr>
          </p:nvSpPr>
          <p:spPr bwMode="auto">
            <a:xfrm>
              <a:off x="4739" y="2461"/>
              <a:ext cx="27" cy="35"/>
            </a:xfrm>
            <a:custGeom>
              <a:avLst/>
              <a:gdLst>
                <a:gd name="T0" fmla="*/ 0 w 89"/>
                <a:gd name="T1" fmla="*/ 1 h 49"/>
                <a:gd name="T2" fmla="*/ 0 w 89"/>
                <a:gd name="T3" fmla="*/ 1 h 49"/>
                <a:gd name="T4" fmla="*/ 0 w 89"/>
                <a:gd name="T5" fmla="*/ 1 h 49"/>
                <a:gd name="T6" fmla="*/ 0 w 89"/>
                <a:gd name="T7" fmla="*/ 1 h 49"/>
                <a:gd name="T8" fmla="*/ 0 w 89"/>
                <a:gd name="T9" fmla="*/ 1 h 49"/>
                <a:gd name="T10" fmla="*/ 0 w 89"/>
                <a:gd name="T11" fmla="*/ 1 h 49"/>
                <a:gd name="T12" fmla="*/ 0 w 89"/>
                <a:gd name="T13" fmla="*/ 1 h 49"/>
                <a:gd name="T14" fmla="*/ 0 w 89"/>
                <a:gd name="T15" fmla="*/ 1 h 49"/>
                <a:gd name="T16" fmla="*/ 0 w 89"/>
                <a:gd name="T17" fmla="*/ 1 h 49"/>
                <a:gd name="T18" fmla="*/ 0 w 89"/>
                <a:gd name="T19" fmla="*/ 0 h 49"/>
                <a:gd name="T20" fmla="*/ 0 w 89"/>
                <a:gd name="T21" fmla="*/ 1 h 49"/>
                <a:gd name="T22" fmla="*/ 0 w 89"/>
                <a:gd name="T23" fmla="*/ 1 h 49"/>
                <a:gd name="T24" fmla="*/ 0 w 89"/>
                <a:gd name="T25" fmla="*/ 1 h 49"/>
                <a:gd name="T26" fmla="*/ 0 w 89"/>
                <a:gd name="T27" fmla="*/ 1 h 49"/>
                <a:gd name="T28" fmla="*/ 0 w 89"/>
                <a:gd name="T29" fmla="*/ 1 h 49"/>
                <a:gd name="T30" fmla="*/ 0 w 89"/>
                <a:gd name="T31" fmla="*/ 1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6" name="Freeform 887"/>
            <p:cNvSpPr>
              <a:spLocks/>
            </p:cNvSpPr>
            <p:nvPr>
              <p:custDataLst>
                <p:tags r:id="rId224"/>
              </p:custDataLst>
            </p:nvPr>
          </p:nvSpPr>
          <p:spPr bwMode="auto">
            <a:xfrm>
              <a:off x="4774" y="2467"/>
              <a:ext cx="25" cy="37"/>
            </a:xfrm>
            <a:custGeom>
              <a:avLst/>
              <a:gdLst>
                <a:gd name="T0" fmla="*/ 0 w 86"/>
                <a:gd name="T1" fmla="*/ 2 h 46"/>
                <a:gd name="T2" fmla="*/ 0 w 86"/>
                <a:gd name="T3" fmla="*/ 2 h 46"/>
                <a:gd name="T4" fmla="*/ 0 w 86"/>
                <a:gd name="T5" fmla="*/ 2 h 46"/>
                <a:gd name="T6" fmla="*/ 0 w 86"/>
                <a:gd name="T7" fmla="*/ 2 h 46"/>
                <a:gd name="T8" fmla="*/ 0 w 86"/>
                <a:gd name="T9" fmla="*/ 2 h 46"/>
                <a:gd name="T10" fmla="*/ 0 w 86"/>
                <a:gd name="T11" fmla="*/ 2 h 46"/>
                <a:gd name="T12" fmla="*/ 0 w 86"/>
                <a:gd name="T13" fmla="*/ 2 h 46"/>
                <a:gd name="T14" fmla="*/ 0 w 86"/>
                <a:gd name="T15" fmla="*/ 2 h 46"/>
                <a:gd name="T16" fmla="*/ 0 w 86"/>
                <a:gd name="T17" fmla="*/ 2 h 46"/>
                <a:gd name="T18" fmla="*/ 0 w 86"/>
                <a:gd name="T19" fmla="*/ 2 h 46"/>
                <a:gd name="T20" fmla="*/ 0 w 86"/>
                <a:gd name="T21" fmla="*/ 2 h 46"/>
                <a:gd name="T22" fmla="*/ 0 w 86"/>
                <a:gd name="T23" fmla="*/ 2 h 46"/>
                <a:gd name="T24" fmla="*/ 0 w 86"/>
                <a:gd name="T25" fmla="*/ 2 h 46"/>
                <a:gd name="T26" fmla="*/ 0 w 86"/>
                <a:gd name="T27" fmla="*/ 2 h 46"/>
                <a:gd name="T28" fmla="*/ 0 w 86"/>
                <a:gd name="T29" fmla="*/ 2 h 46"/>
                <a:gd name="T30" fmla="*/ 0 w 86"/>
                <a:gd name="T31" fmla="*/ 2 h 46"/>
                <a:gd name="T32" fmla="*/ 0 w 86"/>
                <a:gd name="T33" fmla="*/ 2 h 46"/>
                <a:gd name="T34" fmla="*/ 0 w 86"/>
                <a:gd name="T35" fmla="*/ 2 h 46"/>
                <a:gd name="T36" fmla="*/ 0 w 86"/>
                <a:gd name="T37" fmla="*/ 2 h 46"/>
                <a:gd name="T38" fmla="*/ 0 w 86"/>
                <a:gd name="T39" fmla="*/ 2 h 46"/>
                <a:gd name="T40" fmla="*/ 0 w 86"/>
                <a:gd name="T41" fmla="*/ 1 h 46"/>
                <a:gd name="T42" fmla="*/ 0 w 86"/>
                <a:gd name="T43" fmla="*/ 0 h 46"/>
                <a:gd name="T44" fmla="*/ 0 w 86"/>
                <a:gd name="T45" fmla="*/ 0 h 46"/>
                <a:gd name="T46" fmla="*/ 0 w 86"/>
                <a:gd name="T47" fmla="*/ 1 h 46"/>
                <a:gd name="T48" fmla="*/ 0 w 86"/>
                <a:gd name="T49" fmla="*/ 2 h 46"/>
                <a:gd name="T50" fmla="*/ 0 w 86"/>
                <a:gd name="T51" fmla="*/ 2 h 46"/>
                <a:gd name="T52" fmla="*/ 0 w 86"/>
                <a:gd name="T53" fmla="*/ 2 h 46"/>
                <a:gd name="T54" fmla="*/ 0 w 86"/>
                <a:gd name="T55" fmla="*/ 2 h 46"/>
                <a:gd name="T56" fmla="*/ 0 w 86"/>
                <a:gd name="T57" fmla="*/ 2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7" name="Freeform 888"/>
            <p:cNvSpPr>
              <a:spLocks/>
            </p:cNvSpPr>
            <p:nvPr>
              <p:custDataLst>
                <p:tags r:id="rId225"/>
              </p:custDataLst>
            </p:nvPr>
          </p:nvSpPr>
          <p:spPr bwMode="auto">
            <a:xfrm>
              <a:off x="4810" y="2470"/>
              <a:ext cx="17" cy="35"/>
            </a:xfrm>
            <a:custGeom>
              <a:avLst/>
              <a:gdLst>
                <a:gd name="T0" fmla="*/ 0 w 59"/>
                <a:gd name="T1" fmla="*/ 0 h 18"/>
                <a:gd name="T2" fmla="*/ 0 w 59"/>
                <a:gd name="T3" fmla="*/ 10735223 h 18"/>
                <a:gd name="T4" fmla="*/ 0 w 59"/>
                <a:gd name="T5" fmla="*/ 10735223 h 18"/>
                <a:gd name="T6" fmla="*/ 0 w 59"/>
                <a:gd name="T7" fmla="*/ 3634514 h 18"/>
                <a:gd name="T8" fmla="*/ 0 w 59"/>
                <a:gd name="T9" fmla="*/ 3006381 h 18"/>
                <a:gd name="T10" fmla="*/ 0 w 59"/>
                <a:gd name="T11" fmla="*/ 2502444 h 18"/>
                <a:gd name="T12" fmla="*/ 0 w 59"/>
                <a:gd name="T13" fmla="*/ 3006381 h 18"/>
                <a:gd name="T14" fmla="*/ 0 w 59"/>
                <a:gd name="T15" fmla="*/ 3634514 h 18"/>
                <a:gd name="T16" fmla="*/ 0 w 59"/>
                <a:gd name="T17" fmla="*/ 3634514 h 18"/>
                <a:gd name="T18" fmla="*/ 0 w 59"/>
                <a:gd name="T19" fmla="*/ 3006381 h 18"/>
                <a:gd name="T20" fmla="*/ 0 w 59"/>
                <a:gd name="T21" fmla="*/ 2502444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8" name="Freeform 889"/>
            <p:cNvSpPr>
              <a:spLocks/>
            </p:cNvSpPr>
            <p:nvPr>
              <p:custDataLst>
                <p:tags r:id="rId226"/>
              </p:custDataLst>
            </p:nvPr>
          </p:nvSpPr>
          <p:spPr bwMode="auto">
            <a:xfrm>
              <a:off x="4860" y="2465"/>
              <a:ext cx="1" cy="35"/>
            </a:xfrm>
            <a:custGeom>
              <a:avLst/>
              <a:gdLst>
                <a:gd name="T0" fmla="*/ 0 w 4"/>
                <a:gd name="T1" fmla="*/ 3819818 h 19"/>
                <a:gd name="T2" fmla="*/ 0 w 4"/>
                <a:gd name="T3" fmla="*/ 0 h 19"/>
                <a:gd name="T4" fmla="*/ 0 w 4"/>
                <a:gd name="T5" fmla="*/ 227178 h 19"/>
                <a:gd name="T6" fmla="*/ 0 w 4"/>
                <a:gd name="T7" fmla="*/ 647458 h 19"/>
                <a:gd name="T8" fmla="*/ 0 w 4"/>
                <a:gd name="T9" fmla="*/ 1192686 h 19"/>
                <a:gd name="T10" fmla="*/ 0 w 4"/>
                <a:gd name="T11" fmla="*/ 1963579 h 19"/>
                <a:gd name="T12" fmla="*/ 0 w 4"/>
                <a:gd name="T13" fmla="*/ 2842519 h 19"/>
                <a:gd name="T14" fmla="*/ 0 w 4"/>
                <a:gd name="T15" fmla="*/ 3175962 h 19"/>
                <a:gd name="T16" fmla="*/ 0 w 4"/>
                <a:gd name="T17" fmla="*/ 3819818 h 19"/>
                <a:gd name="T18" fmla="*/ 0 w 4"/>
                <a:gd name="T19" fmla="*/ 3819818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9" name="Freeform 890"/>
            <p:cNvSpPr>
              <a:spLocks/>
            </p:cNvSpPr>
            <p:nvPr>
              <p:custDataLst>
                <p:tags r:id="rId227"/>
              </p:custDataLst>
            </p:nvPr>
          </p:nvSpPr>
          <p:spPr bwMode="auto">
            <a:xfrm>
              <a:off x="4570" y="2348"/>
              <a:ext cx="14" cy="37"/>
            </a:xfrm>
            <a:custGeom>
              <a:avLst/>
              <a:gdLst>
                <a:gd name="T0" fmla="*/ 0 w 46"/>
                <a:gd name="T1" fmla="*/ 1 h 50"/>
                <a:gd name="T2" fmla="*/ 0 w 46"/>
                <a:gd name="T3" fmla="*/ 0 h 50"/>
                <a:gd name="T4" fmla="*/ 0 w 46"/>
                <a:gd name="T5" fmla="*/ 1 h 50"/>
                <a:gd name="T6" fmla="*/ 0 w 46"/>
                <a:gd name="T7" fmla="*/ 1 h 50"/>
                <a:gd name="T8" fmla="*/ 0 w 46"/>
                <a:gd name="T9" fmla="*/ 1 h 50"/>
                <a:gd name="T10" fmla="*/ 0 w 46"/>
                <a:gd name="T11" fmla="*/ 1 h 50"/>
                <a:gd name="T12" fmla="*/ 0 w 46"/>
                <a:gd name="T13" fmla="*/ 1 h 50"/>
                <a:gd name="T14" fmla="*/ 0 w 46"/>
                <a:gd name="T15" fmla="*/ 1 h 50"/>
                <a:gd name="T16" fmla="*/ 0 w 46"/>
                <a:gd name="T17" fmla="*/ 1 h 50"/>
                <a:gd name="T18" fmla="*/ 0 w 46"/>
                <a:gd name="T19" fmla="*/ 1 h 50"/>
                <a:gd name="T20" fmla="*/ 0 w 46"/>
                <a:gd name="T21" fmla="*/ 1 h 50"/>
                <a:gd name="T22" fmla="*/ 0 w 46"/>
                <a:gd name="T23" fmla="*/ 1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0" name="Freeform 891"/>
            <p:cNvSpPr>
              <a:spLocks/>
            </p:cNvSpPr>
            <p:nvPr>
              <p:custDataLst>
                <p:tags r:id="rId228"/>
              </p:custDataLst>
            </p:nvPr>
          </p:nvSpPr>
          <p:spPr bwMode="auto">
            <a:xfrm>
              <a:off x="4533" y="2331"/>
              <a:ext cx="20" cy="37"/>
            </a:xfrm>
            <a:custGeom>
              <a:avLst/>
              <a:gdLst>
                <a:gd name="T0" fmla="*/ 0 w 66"/>
                <a:gd name="T1" fmla="*/ 0 h 80"/>
                <a:gd name="T2" fmla="*/ 0 w 66"/>
                <a:gd name="T3" fmla="*/ 0 h 80"/>
                <a:gd name="T4" fmla="*/ 0 w 66"/>
                <a:gd name="T5" fmla="*/ 0 h 80"/>
                <a:gd name="T6" fmla="*/ 0 w 66"/>
                <a:gd name="T7" fmla="*/ 0 h 80"/>
                <a:gd name="T8" fmla="*/ 0 w 66"/>
                <a:gd name="T9" fmla="*/ 0 h 80"/>
                <a:gd name="T10" fmla="*/ 0 w 66"/>
                <a:gd name="T11" fmla="*/ 0 h 80"/>
                <a:gd name="T12" fmla="*/ 0 w 66"/>
                <a:gd name="T13" fmla="*/ 0 h 80"/>
                <a:gd name="T14" fmla="*/ 0 w 66"/>
                <a:gd name="T15" fmla="*/ 0 h 80"/>
                <a:gd name="T16" fmla="*/ 0 w 66"/>
                <a:gd name="T17" fmla="*/ 0 h 80"/>
                <a:gd name="T18" fmla="*/ 0 w 66"/>
                <a:gd name="T19" fmla="*/ 0 h 80"/>
                <a:gd name="T20" fmla="*/ 0 w 66"/>
                <a:gd name="T21" fmla="*/ 0 h 80"/>
                <a:gd name="T22" fmla="*/ 0 w 66"/>
                <a:gd name="T23" fmla="*/ 0 h 80"/>
                <a:gd name="T24" fmla="*/ 0 w 66"/>
                <a:gd name="T25" fmla="*/ 0 h 80"/>
                <a:gd name="T26" fmla="*/ 0 w 66"/>
                <a:gd name="T27" fmla="*/ 0 h 80"/>
                <a:gd name="T28" fmla="*/ 0 w 66"/>
                <a:gd name="T29" fmla="*/ 0 h 80"/>
                <a:gd name="T30" fmla="*/ 0 w 66"/>
                <a:gd name="T31" fmla="*/ 0 h 80"/>
                <a:gd name="T32" fmla="*/ 0 w 66"/>
                <a:gd name="T33" fmla="*/ 0 h 80"/>
                <a:gd name="T34" fmla="*/ 0 w 66"/>
                <a:gd name="T35" fmla="*/ 0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1" name="Freeform 892"/>
            <p:cNvSpPr>
              <a:spLocks/>
            </p:cNvSpPr>
            <p:nvPr>
              <p:custDataLst>
                <p:tags r:id="rId229"/>
              </p:custDataLst>
            </p:nvPr>
          </p:nvSpPr>
          <p:spPr bwMode="auto">
            <a:xfrm>
              <a:off x="4420" y="2321"/>
              <a:ext cx="5" cy="36"/>
            </a:xfrm>
            <a:custGeom>
              <a:avLst/>
              <a:gdLst>
                <a:gd name="T0" fmla="*/ 0 w 20"/>
                <a:gd name="T1" fmla="*/ 2 h 48"/>
                <a:gd name="T2" fmla="*/ 0 w 20"/>
                <a:gd name="T3" fmla="*/ 2 h 48"/>
                <a:gd name="T4" fmla="*/ 0 w 20"/>
                <a:gd name="T5" fmla="*/ 2 h 48"/>
                <a:gd name="T6" fmla="*/ 0 w 20"/>
                <a:gd name="T7" fmla="*/ 2 h 48"/>
                <a:gd name="T8" fmla="*/ 0 w 20"/>
                <a:gd name="T9" fmla="*/ 2 h 48"/>
                <a:gd name="T10" fmla="*/ 0 w 20"/>
                <a:gd name="T11" fmla="*/ 2 h 48"/>
                <a:gd name="T12" fmla="*/ 0 w 20"/>
                <a:gd name="T13" fmla="*/ 2 h 48"/>
                <a:gd name="T14" fmla="*/ 0 w 20"/>
                <a:gd name="T15" fmla="*/ 2 h 48"/>
                <a:gd name="T16" fmla="*/ 0 w 20"/>
                <a:gd name="T17" fmla="*/ 0 h 48"/>
                <a:gd name="T18" fmla="*/ 0 w 20"/>
                <a:gd name="T19" fmla="*/ 2 h 48"/>
                <a:gd name="T20" fmla="*/ 0 w 20"/>
                <a:gd name="T21" fmla="*/ 2 h 48"/>
                <a:gd name="T22" fmla="*/ 0 w 20"/>
                <a:gd name="T23" fmla="*/ 2 h 48"/>
                <a:gd name="T24" fmla="*/ 0 w 20"/>
                <a:gd name="T25" fmla="*/ 2 h 48"/>
                <a:gd name="T26" fmla="*/ 0 w 20"/>
                <a:gd name="T27" fmla="*/ 2 h 48"/>
                <a:gd name="T28" fmla="*/ 0 w 20"/>
                <a:gd name="T29" fmla="*/ 2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2" name="Line 893" descr="Horizontal dunkel"/>
            <p:cNvSpPr>
              <a:spLocks noChangeShapeType="1"/>
            </p:cNvSpPr>
            <p:nvPr>
              <p:custDataLst>
                <p:tags r:id="rId230"/>
              </p:custDataLst>
            </p:nvPr>
          </p:nvSpPr>
          <p:spPr bwMode="auto">
            <a:xfrm>
              <a:off x="4437" y="2344"/>
              <a:ext cx="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683" name="Freeform 894"/>
            <p:cNvSpPr>
              <a:spLocks/>
            </p:cNvSpPr>
            <p:nvPr>
              <p:custDataLst>
                <p:tags r:id="rId231"/>
              </p:custDataLst>
            </p:nvPr>
          </p:nvSpPr>
          <p:spPr bwMode="auto">
            <a:xfrm>
              <a:off x="4435" y="2344"/>
              <a:ext cx="6" cy="36"/>
            </a:xfrm>
            <a:custGeom>
              <a:avLst/>
              <a:gdLst>
                <a:gd name="T0" fmla="*/ 0 w 20"/>
                <a:gd name="T1" fmla="*/ 2147483647 h 12"/>
                <a:gd name="T2" fmla="*/ 0 w 20"/>
                <a:gd name="T3" fmla="*/ 2147483647 h 12"/>
                <a:gd name="T4" fmla="*/ 0 w 20"/>
                <a:gd name="T5" fmla="*/ 2147483647 h 12"/>
                <a:gd name="T6" fmla="*/ 0 w 20"/>
                <a:gd name="T7" fmla="*/ 2147483647 h 12"/>
                <a:gd name="T8" fmla="*/ 0 w 20"/>
                <a:gd name="T9" fmla="*/ 2147483647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4" name="Freeform 895"/>
            <p:cNvSpPr>
              <a:spLocks/>
            </p:cNvSpPr>
            <p:nvPr>
              <p:custDataLst>
                <p:tags r:id="rId232"/>
              </p:custDataLst>
            </p:nvPr>
          </p:nvSpPr>
          <p:spPr bwMode="auto">
            <a:xfrm>
              <a:off x="4368" y="2246"/>
              <a:ext cx="15" cy="36"/>
            </a:xfrm>
            <a:custGeom>
              <a:avLst/>
              <a:gdLst>
                <a:gd name="T0" fmla="*/ 0 w 53"/>
                <a:gd name="T1" fmla="*/ 0 h 30"/>
                <a:gd name="T2" fmla="*/ 0 w 53"/>
                <a:gd name="T3" fmla="*/ 149 h 30"/>
                <a:gd name="T4" fmla="*/ 0 w 53"/>
                <a:gd name="T5" fmla="*/ 521 h 30"/>
                <a:gd name="T6" fmla="*/ 0 w 53"/>
                <a:gd name="T7" fmla="*/ 900 h 30"/>
                <a:gd name="T8" fmla="*/ 0 w 53"/>
                <a:gd name="T9" fmla="*/ 1144 h 30"/>
                <a:gd name="T10" fmla="*/ 0 w 53"/>
                <a:gd name="T11" fmla="*/ 683 h 30"/>
                <a:gd name="T12" fmla="*/ 0 w 53"/>
                <a:gd name="T13" fmla="*/ 215 h 30"/>
                <a:gd name="T14" fmla="*/ 0 w 53"/>
                <a:gd name="T15" fmla="*/ 179 h 30"/>
                <a:gd name="T16" fmla="*/ 0 w 53"/>
                <a:gd name="T17" fmla="*/ 124 h 30"/>
                <a:gd name="T18" fmla="*/ 0 w 53"/>
                <a:gd name="T19" fmla="*/ 124 h 30"/>
                <a:gd name="T20" fmla="*/ 0 w 53"/>
                <a:gd name="T21" fmla="*/ 124 h 30"/>
                <a:gd name="T22" fmla="*/ 0 w 53"/>
                <a:gd name="T23" fmla="*/ 149 h 30"/>
                <a:gd name="T24" fmla="*/ 0 w 53"/>
                <a:gd name="T25" fmla="*/ 215 h 30"/>
                <a:gd name="T26" fmla="*/ 0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5" name="Freeform 896"/>
            <p:cNvSpPr>
              <a:spLocks/>
            </p:cNvSpPr>
            <p:nvPr>
              <p:custDataLst>
                <p:tags r:id="rId233"/>
              </p:custDataLst>
            </p:nvPr>
          </p:nvSpPr>
          <p:spPr bwMode="auto">
            <a:xfrm>
              <a:off x="4729" y="2475"/>
              <a:ext cx="7" cy="36"/>
            </a:xfrm>
            <a:custGeom>
              <a:avLst/>
              <a:gdLst>
                <a:gd name="T0" fmla="*/ 0 w 33"/>
                <a:gd name="T1" fmla="*/ 117 h 31"/>
                <a:gd name="T2" fmla="*/ 0 w 33"/>
                <a:gd name="T3" fmla="*/ 410 h 31"/>
                <a:gd name="T4" fmla="*/ 0 w 33"/>
                <a:gd name="T5" fmla="*/ 619 h 31"/>
                <a:gd name="T6" fmla="*/ 0 w 33"/>
                <a:gd name="T7" fmla="*/ 619 h 31"/>
                <a:gd name="T8" fmla="*/ 0 w 33"/>
                <a:gd name="T9" fmla="*/ 619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11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6" name="Freeform 897"/>
            <p:cNvSpPr>
              <a:spLocks/>
            </p:cNvSpPr>
            <p:nvPr>
              <p:custDataLst>
                <p:tags r:id="rId234"/>
              </p:custDataLst>
            </p:nvPr>
          </p:nvSpPr>
          <p:spPr bwMode="auto">
            <a:xfrm>
              <a:off x="5081" y="2448"/>
              <a:ext cx="19" cy="35"/>
            </a:xfrm>
            <a:custGeom>
              <a:avLst/>
              <a:gdLst>
                <a:gd name="T0" fmla="*/ 0 w 65"/>
                <a:gd name="T1" fmla="*/ 1 h 68"/>
                <a:gd name="T2" fmla="*/ 0 w 65"/>
                <a:gd name="T3" fmla="*/ 1 h 68"/>
                <a:gd name="T4" fmla="*/ 0 w 65"/>
                <a:gd name="T5" fmla="*/ 1 h 68"/>
                <a:gd name="T6" fmla="*/ 0 w 65"/>
                <a:gd name="T7" fmla="*/ 1 h 68"/>
                <a:gd name="T8" fmla="*/ 0 w 65"/>
                <a:gd name="T9" fmla="*/ 1 h 68"/>
                <a:gd name="T10" fmla="*/ 0 w 65"/>
                <a:gd name="T11" fmla="*/ 1 h 68"/>
                <a:gd name="T12" fmla="*/ 0 w 65"/>
                <a:gd name="T13" fmla="*/ 1 h 68"/>
                <a:gd name="T14" fmla="*/ 0 w 65"/>
                <a:gd name="T15" fmla="*/ 1 h 68"/>
                <a:gd name="T16" fmla="*/ 0 w 65"/>
                <a:gd name="T17" fmla="*/ 1 h 68"/>
                <a:gd name="T18" fmla="*/ 0 w 65"/>
                <a:gd name="T19" fmla="*/ 1 h 68"/>
                <a:gd name="T20" fmla="*/ 0 w 65"/>
                <a:gd name="T21" fmla="*/ 1 h 68"/>
                <a:gd name="T22" fmla="*/ 0 w 65"/>
                <a:gd name="T23" fmla="*/ 1 h 68"/>
                <a:gd name="T24" fmla="*/ 0 w 65"/>
                <a:gd name="T25" fmla="*/ 1 h 68"/>
                <a:gd name="T26" fmla="*/ 0 w 65"/>
                <a:gd name="T27" fmla="*/ 1 h 68"/>
                <a:gd name="T28" fmla="*/ 0 w 65"/>
                <a:gd name="T29" fmla="*/ 1 h 68"/>
                <a:gd name="T30" fmla="*/ 0 w 65"/>
                <a:gd name="T31" fmla="*/ 1 h 68"/>
                <a:gd name="T32" fmla="*/ 0 w 65"/>
                <a:gd name="T33" fmla="*/ 0 h 68"/>
                <a:gd name="T34" fmla="*/ 0 w 65"/>
                <a:gd name="T35" fmla="*/ 0 h 68"/>
                <a:gd name="T36" fmla="*/ 0 w 65"/>
                <a:gd name="T37" fmla="*/ 0 h 68"/>
                <a:gd name="T38" fmla="*/ 0 w 65"/>
                <a:gd name="T39" fmla="*/ 1 h 68"/>
                <a:gd name="T40" fmla="*/ 0 w 65"/>
                <a:gd name="T41" fmla="*/ 1 h 68"/>
                <a:gd name="T42" fmla="*/ 0 w 65"/>
                <a:gd name="T43" fmla="*/ 1 h 68"/>
                <a:gd name="T44" fmla="*/ 0 w 65"/>
                <a:gd name="T45" fmla="*/ 1 h 68"/>
                <a:gd name="T46" fmla="*/ 0 w 65"/>
                <a:gd name="T47" fmla="*/ 1 h 68"/>
                <a:gd name="T48" fmla="*/ 0 w 65"/>
                <a:gd name="T49" fmla="*/ 1 h 68"/>
                <a:gd name="T50" fmla="*/ 0 w 65"/>
                <a:gd name="T51" fmla="*/ 1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7" name="Freeform 898"/>
            <p:cNvSpPr>
              <a:spLocks/>
            </p:cNvSpPr>
            <p:nvPr>
              <p:custDataLst>
                <p:tags r:id="rId235"/>
              </p:custDataLst>
            </p:nvPr>
          </p:nvSpPr>
          <p:spPr bwMode="auto">
            <a:xfrm>
              <a:off x="4356" y="2185"/>
              <a:ext cx="188" cy="232"/>
            </a:xfrm>
            <a:custGeom>
              <a:avLst/>
              <a:gdLst>
                <a:gd name="T0" fmla="*/ 0 w 625"/>
                <a:gd name="T1" fmla="*/ 0 h 694"/>
                <a:gd name="T2" fmla="*/ 0 w 625"/>
                <a:gd name="T3" fmla="*/ 0 h 694"/>
                <a:gd name="T4" fmla="*/ 0 w 625"/>
                <a:gd name="T5" fmla="*/ 0 h 694"/>
                <a:gd name="T6" fmla="*/ 0 w 625"/>
                <a:gd name="T7" fmla="*/ 0 h 694"/>
                <a:gd name="T8" fmla="*/ 0 w 625"/>
                <a:gd name="T9" fmla="*/ 0 h 694"/>
                <a:gd name="T10" fmla="*/ 0 w 625"/>
                <a:gd name="T11" fmla="*/ 0 h 694"/>
                <a:gd name="T12" fmla="*/ 0 w 625"/>
                <a:gd name="T13" fmla="*/ 0 h 694"/>
                <a:gd name="T14" fmla="*/ 0 w 625"/>
                <a:gd name="T15" fmla="*/ 0 h 694"/>
                <a:gd name="T16" fmla="*/ 0 w 625"/>
                <a:gd name="T17" fmla="*/ 0 h 694"/>
                <a:gd name="T18" fmla="*/ 0 w 625"/>
                <a:gd name="T19" fmla="*/ 0 h 694"/>
                <a:gd name="T20" fmla="*/ 0 w 625"/>
                <a:gd name="T21" fmla="*/ 0 h 694"/>
                <a:gd name="T22" fmla="*/ 0 w 625"/>
                <a:gd name="T23" fmla="*/ 0 h 694"/>
                <a:gd name="T24" fmla="*/ 0 w 625"/>
                <a:gd name="T25" fmla="*/ 0 h 694"/>
                <a:gd name="T26" fmla="*/ 0 w 625"/>
                <a:gd name="T27" fmla="*/ 0 h 694"/>
                <a:gd name="T28" fmla="*/ 0 w 625"/>
                <a:gd name="T29" fmla="*/ 0 h 694"/>
                <a:gd name="T30" fmla="*/ 0 w 625"/>
                <a:gd name="T31" fmla="*/ 0 h 694"/>
                <a:gd name="T32" fmla="*/ 0 w 625"/>
                <a:gd name="T33" fmla="*/ 0 h 694"/>
                <a:gd name="T34" fmla="*/ 0 w 625"/>
                <a:gd name="T35" fmla="*/ 0 h 694"/>
                <a:gd name="T36" fmla="*/ 0 w 625"/>
                <a:gd name="T37" fmla="*/ 0 h 694"/>
                <a:gd name="T38" fmla="*/ 0 w 625"/>
                <a:gd name="T39" fmla="*/ 0 h 694"/>
                <a:gd name="T40" fmla="*/ 0 w 625"/>
                <a:gd name="T41" fmla="*/ 0 h 694"/>
                <a:gd name="T42" fmla="*/ 0 w 625"/>
                <a:gd name="T43" fmla="*/ 0 h 694"/>
                <a:gd name="T44" fmla="*/ 0 w 625"/>
                <a:gd name="T45" fmla="*/ 0 h 694"/>
                <a:gd name="T46" fmla="*/ 0 w 625"/>
                <a:gd name="T47" fmla="*/ 0 h 694"/>
                <a:gd name="T48" fmla="*/ 0 w 625"/>
                <a:gd name="T49" fmla="*/ 0 h 694"/>
                <a:gd name="T50" fmla="*/ 0 w 625"/>
                <a:gd name="T51" fmla="*/ 0 h 694"/>
                <a:gd name="T52" fmla="*/ 0 w 625"/>
                <a:gd name="T53" fmla="*/ 0 h 694"/>
                <a:gd name="T54" fmla="*/ 0 w 625"/>
                <a:gd name="T55" fmla="*/ 0 h 694"/>
                <a:gd name="T56" fmla="*/ 0 w 625"/>
                <a:gd name="T57" fmla="*/ 0 h 694"/>
                <a:gd name="T58" fmla="*/ 0 w 625"/>
                <a:gd name="T59" fmla="*/ 0 h 694"/>
                <a:gd name="T60" fmla="*/ 0 w 625"/>
                <a:gd name="T61" fmla="*/ 0 h 694"/>
                <a:gd name="T62" fmla="*/ 0 w 625"/>
                <a:gd name="T63" fmla="*/ 0 h 694"/>
                <a:gd name="T64" fmla="*/ 0 w 625"/>
                <a:gd name="T65" fmla="*/ 0 h 694"/>
                <a:gd name="T66" fmla="*/ 0 w 625"/>
                <a:gd name="T67" fmla="*/ 0 h 694"/>
                <a:gd name="T68" fmla="*/ 0 w 625"/>
                <a:gd name="T69" fmla="*/ 0 h 694"/>
                <a:gd name="T70" fmla="*/ 0 w 625"/>
                <a:gd name="T71" fmla="*/ 0 h 694"/>
                <a:gd name="T72" fmla="*/ 0 w 625"/>
                <a:gd name="T73" fmla="*/ 0 h 694"/>
                <a:gd name="T74" fmla="*/ 0 w 625"/>
                <a:gd name="T75" fmla="*/ 0 h 694"/>
                <a:gd name="T76" fmla="*/ 0 w 625"/>
                <a:gd name="T77" fmla="*/ 0 h 694"/>
                <a:gd name="T78" fmla="*/ 0 w 625"/>
                <a:gd name="T79" fmla="*/ 0 h 694"/>
                <a:gd name="T80" fmla="*/ 0 w 625"/>
                <a:gd name="T81" fmla="*/ 0 h 694"/>
                <a:gd name="T82" fmla="*/ 0 w 625"/>
                <a:gd name="T83" fmla="*/ 0 h 694"/>
                <a:gd name="T84" fmla="*/ 0 w 625"/>
                <a:gd name="T85" fmla="*/ 0 h 694"/>
                <a:gd name="T86" fmla="*/ 0 w 625"/>
                <a:gd name="T87" fmla="*/ 0 h 694"/>
                <a:gd name="T88" fmla="*/ 0 w 625"/>
                <a:gd name="T89" fmla="*/ 0 h 694"/>
                <a:gd name="T90" fmla="*/ 0 w 625"/>
                <a:gd name="T91" fmla="*/ 0 h 694"/>
                <a:gd name="T92" fmla="*/ 0 w 625"/>
                <a:gd name="T93" fmla="*/ 0 h 694"/>
                <a:gd name="T94" fmla="*/ 0 w 625"/>
                <a:gd name="T95" fmla="*/ 0 h 694"/>
                <a:gd name="T96" fmla="*/ 0 w 625"/>
                <a:gd name="T97" fmla="*/ 0 h 694"/>
                <a:gd name="T98" fmla="*/ 0 w 625"/>
                <a:gd name="T99" fmla="*/ 0 h 694"/>
                <a:gd name="T100" fmla="*/ 0 w 625"/>
                <a:gd name="T101" fmla="*/ 0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8" name="Freeform 899"/>
            <p:cNvSpPr>
              <a:spLocks/>
            </p:cNvSpPr>
            <p:nvPr>
              <p:custDataLst>
                <p:tags r:id="rId236"/>
              </p:custDataLst>
            </p:nvPr>
          </p:nvSpPr>
          <p:spPr bwMode="auto">
            <a:xfrm>
              <a:off x="4589" y="2216"/>
              <a:ext cx="173" cy="162"/>
            </a:xfrm>
            <a:custGeom>
              <a:avLst/>
              <a:gdLst>
                <a:gd name="T0" fmla="*/ 0 w 585"/>
                <a:gd name="T1" fmla="*/ 0 h 493"/>
                <a:gd name="T2" fmla="*/ 0 w 585"/>
                <a:gd name="T3" fmla="*/ 0 h 493"/>
                <a:gd name="T4" fmla="*/ 0 w 585"/>
                <a:gd name="T5" fmla="*/ 0 h 493"/>
                <a:gd name="T6" fmla="*/ 0 w 585"/>
                <a:gd name="T7" fmla="*/ 0 h 493"/>
                <a:gd name="T8" fmla="*/ 0 w 585"/>
                <a:gd name="T9" fmla="*/ 0 h 493"/>
                <a:gd name="T10" fmla="*/ 0 w 585"/>
                <a:gd name="T11" fmla="*/ 0 h 493"/>
                <a:gd name="T12" fmla="*/ 0 w 585"/>
                <a:gd name="T13" fmla="*/ 0 h 493"/>
                <a:gd name="T14" fmla="*/ 0 w 585"/>
                <a:gd name="T15" fmla="*/ 0 h 493"/>
                <a:gd name="T16" fmla="*/ 0 w 585"/>
                <a:gd name="T17" fmla="*/ 0 h 493"/>
                <a:gd name="T18" fmla="*/ 0 w 585"/>
                <a:gd name="T19" fmla="*/ 0 h 493"/>
                <a:gd name="T20" fmla="*/ 0 w 585"/>
                <a:gd name="T21" fmla="*/ 0 h 493"/>
                <a:gd name="T22" fmla="*/ 0 w 585"/>
                <a:gd name="T23" fmla="*/ 0 h 493"/>
                <a:gd name="T24" fmla="*/ 0 w 585"/>
                <a:gd name="T25" fmla="*/ 0 h 493"/>
                <a:gd name="T26" fmla="*/ 0 w 585"/>
                <a:gd name="T27" fmla="*/ 0 h 493"/>
                <a:gd name="T28" fmla="*/ 0 w 585"/>
                <a:gd name="T29" fmla="*/ 0 h 493"/>
                <a:gd name="T30" fmla="*/ 0 w 585"/>
                <a:gd name="T31" fmla="*/ 0 h 493"/>
                <a:gd name="T32" fmla="*/ 0 w 585"/>
                <a:gd name="T33" fmla="*/ 0 h 493"/>
                <a:gd name="T34" fmla="*/ 0 w 585"/>
                <a:gd name="T35" fmla="*/ 0 h 493"/>
                <a:gd name="T36" fmla="*/ 0 w 585"/>
                <a:gd name="T37" fmla="*/ 0 h 493"/>
                <a:gd name="T38" fmla="*/ 0 w 585"/>
                <a:gd name="T39" fmla="*/ 0 h 493"/>
                <a:gd name="T40" fmla="*/ 0 w 585"/>
                <a:gd name="T41" fmla="*/ 0 h 493"/>
                <a:gd name="T42" fmla="*/ 0 w 585"/>
                <a:gd name="T43" fmla="*/ 0 h 493"/>
                <a:gd name="T44" fmla="*/ 0 w 585"/>
                <a:gd name="T45" fmla="*/ 0 h 493"/>
                <a:gd name="T46" fmla="*/ 0 w 585"/>
                <a:gd name="T47" fmla="*/ 0 h 493"/>
                <a:gd name="T48" fmla="*/ 0 w 585"/>
                <a:gd name="T49" fmla="*/ 0 h 493"/>
                <a:gd name="T50" fmla="*/ 0 w 585"/>
                <a:gd name="T51" fmla="*/ 0 h 493"/>
                <a:gd name="T52" fmla="*/ 0 w 585"/>
                <a:gd name="T53" fmla="*/ 0 h 493"/>
                <a:gd name="T54" fmla="*/ 0 w 585"/>
                <a:gd name="T55" fmla="*/ 0 h 493"/>
                <a:gd name="T56" fmla="*/ 0 w 585"/>
                <a:gd name="T57" fmla="*/ 0 h 493"/>
                <a:gd name="T58" fmla="*/ 0 w 585"/>
                <a:gd name="T59" fmla="*/ 0 h 493"/>
                <a:gd name="T60" fmla="*/ 0 w 585"/>
                <a:gd name="T61" fmla="*/ 0 h 493"/>
                <a:gd name="T62" fmla="*/ 0 w 585"/>
                <a:gd name="T63" fmla="*/ 0 h 493"/>
                <a:gd name="T64" fmla="*/ 0 w 585"/>
                <a:gd name="T65" fmla="*/ 0 h 493"/>
                <a:gd name="T66" fmla="*/ 0 w 585"/>
                <a:gd name="T67" fmla="*/ 0 h 493"/>
                <a:gd name="T68" fmla="*/ 0 w 585"/>
                <a:gd name="T69" fmla="*/ 0 h 493"/>
                <a:gd name="T70" fmla="*/ 0 w 585"/>
                <a:gd name="T71" fmla="*/ 0 h 493"/>
                <a:gd name="T72" fmla="*/ 0 w 585"/>
                <a:gd name="T73" fmla="*/ 0 h 493"/>
                <a:gd name="T74" fmla="*/ 0 w 585"/>
                <a:gd name="T75" fmla="*/ 0 h 493"/>
                <a:gd name="T76" fmla="*/ 0 w 585"/>
                <a:gd name="T77" fmla="*/ 0 h 493"/>
                <a:gd name="T78" fmla="*/ 0 w 585"/>
                <a:gd name="T79" fmla="*/ 0 h 493"/>
                <a:gd name="T80" fmla="*/ 0 w 585"/>
                <a:gd name="T81" fmla="*/ 0 h 493"/>
                <a:gd name="T82" fmla="*/ 0 w 585"/>
                <a:gd name="T83" fmla="*/ 0 h 493"/>
                <a:gd name="T84" fmla="*/ 0 w 585"/>
                <a:gd name="T85" fmla="*/ 0 h 493"/>
                <a:gd name="T86" fmla="*/ 0 w 585"/>
                <a:gd name="T87" fmla="*/ 0 h 493"/>
                <a:gd name="T88" fmla="*/ 0 w 585"/>
                <a:gd name="T89" fmla="*/ 0 h 493"/>
                <a:gd name="T90" fmla="*/ 0 w 585"/>
                <a:gd name="T91" fmla="*/ 0 h 493"/>
                <a:gd name="T92" fmla="*/ 0 w 585"/>
                <a:gd name="T93" fmla="*/ 0 h 493"/>
                <a:gd name="T94" fmla="*/ 0 w 585"/>
                <a:gd name="T95" fmla="*/ 0 h 493"/>
                <a:gd name="T96" fmla="*/ 0 w 585"/>
                <a:gd name="T97" fmla="*/ 0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9" name="Freeform 900"/>
            <p:cNvSpPr>
              <a:spLocks/>
            </p:cNvSpPr>
            <p:nvPr>
              <p:custDataLst>
                <p:tags r:id="rId237"/>
              </p:custDataLst>
            </p:nvPr>
          </p:nvSpPr>
          <p:spPr bwMode="auto">
            <a:xfrm>
              <a:off x="4832" y="2472"/>
              <a:ext cx="63" cy="36"/>
            </a:xfrm>
            <a:custGeom>
              <a:avLst/>
              <a:gdLst>
                <a:gd name="T0" fmla="*/ 0 w 212"/>
                <a:gd name="T1" fmla="*/ 0 h 105"/>
                <a:gd name="T2" fmla="*/ 0 w 212"/>
                <a:gd name="T3" fmla="*/ 0 h 105"/>
                <a:gd name="T4" fmla="*/ 0 w 212"/>
                <a:gd name="T5" fmla="*/ 0 h 105"/>
                <a:gd name="T6" fmla="*/ 0 w 212"/>
                <a:gd name="T7" fmla="*/ 0 h 105"/>
                <a:gd name="T8" fmla="*/ 0 w 212"/>
                <a:gd name="T9" fmla="*/ 0 h 105"/>
                <a:gd name="T10" fmla="*/ 0 w 212"/>
                <a:gd name="T11" fmla="*/ 0 h 105"/>
                <a:gd name="T12" fmla="*/ 0 w 212"/>
                <a:gd name="T13" fmla="*/ 0 h 105"/>
                <a:gd name="T14" fmla="*/ 0 w 212"/>
                <a:gd name="T15" fmla="*/ 0 h 105"/>
                <a:gd name="T16" fmla="*/ 0 w 212"/>
                <a:gd name="T17" fmla="*/ 0 h 105"/>
                <a:gd name="T18" fmla="*/ 0 w 212"/>
                <a:gd name="T19" fmla="*/ 0 h 105"/>
                <a:gd name="T20" fmla="*/ 0 w 212"/>
                <a:gd name="T21" fmla="*/ 0 h 105"/>
                <a:gd name="T22" fmla="*/ 0 w 212"/>
                <a:gd name="T23" fmla="*/ 0 h 105"/>
                <a:gd name="T24" fmla="*/ 0 w 212"/>
                <a:gd name="T25" fmla="*/ 0 h 105"/>
                <a:gd name="T26" fmla="*/ 0 w 212"/>
                <a:gd name="T27" fmla="*/ 0 h 105"/>
                <a:gd name="T28" fmla="*/ 0 w 212"/>
                <a:gd name="T29" fmla="*/ 0 h 105"/>
                <a:gd name="T30" fmla="*/ 0 w 212"/>
                <a:gd name="T31" fmla="*/ 0 h 105"/>
                <a:gd name="T32" fmla="*/ 0 w 212"/>
                <a:gd name="T33" fmla="*/ 0 h 105"/>
                <a:gd name="T34" fmla="*/ 0 w 212"/>
                <a:gd name="T35" fmla="*/ 0 h 105"/>
                <a:gd name="T36" fmla="*/ 0 w 212"/>
                <a:gd name="T37" fmla="*/ 0 h 105"/>
                <a:gd name="T38" fmla="*/ 0 w 212"/>
                <a:gd name="T39" fmla="*/ 0 h 105"/>
                <a:gd name="T40" fmla="*/ 0 w 212"/>
                <a:gd name="T41" fmla="*/ 0 h 105"/>
                <a:gd name="T42" fmla="*/ 0 w 212"/>
                <a:gd name="T43" fmla="*/ 0 h 105"/>
                <a:gd name="T44" fmla="*/ 0 w 212"/>
                <a:gd name="T45" fmla="*/ 0 h 105"/>
                <a:gd name="T46" fmla="*/ 0 w 212"/>
                <a:gd name="T47" fmla="*/ 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0" name="Freeform 901"/>
            <p:cNvSpPr>
              <a:spLocks/>
            </p:cNvSpPr>
            <p:nvPr>
              <p:custDataLst>
                <p:tags r:id="rId238"/>
              </p:custDataLst>
            </p:nvPr>
          </p:nvSpPr>
          <p:spPr bwMode="auto">
            <a:xfrm>
              <a:off x="4911" y="2262"/>
              <a:ext cx="29" cy="56"/>
            </a:xfrm>
            <a:custGeom>
              <a:avLst/>
              <a:gdLst>
                <a:gd name="T0" fmla="*/ 0 w 92"/>
                <a:gd name="T1" fmla="*/ 0 h 166"/>
                <a:gd name="T2" fmla="*/ 0 w 92"/>
                <a:gd name="T3" fmla="*/ 0 h 166"/>
                <a:gd name="T4" fmla="*/ 0 w 92"/>
                <a:gd name="T5" fmla="*/ 0 h 166"/>
                <a:gd name="T6" fmla="*/ 0 w 92"/>
                <a:gd name="T7" fmla="*/ 0 h 166"/>
                <a:gd name="T8" fmla="*/ 0 w 92"/>
                <a:gd name="T9" fmla="*/ 0 h 166"/>
                <a:gd name="T10" fmla="*/ 0 w 92"/>
                <a:gd name="T11" fmla="*/ 0 h 166"/>
                <a:gd name="T12" fmla="*/ 0 w 92"/>
                <a:gd name="T13" fmla="*/ 0 h 166"/>
                <a:gd name="T14" fmla="*/ 0 w 92"/>
                <a:gd name="T15" fmla="*/ 0 h 166"/>
                <a:gd name="T16" fmla="*/ 0 w 92"/>
                <a:gd name="T17" fmla="*/ 0 h 166"/>
                <a:gd name="T18" fmla="*/ 0 w 92"/>
                <a:gd name="T19" fmla="*/ 0 h 166"/>
                <a:gd name="T20" fmla="*/ 0 w 92"/>
                <a:gd name="T21" fmla="*/ 0 h 166"/>
                <a:gd name="T22" fmla="*/ 0 w 92"/>
                <a:gd name="T23" fmla="*/ 0 h 166"/>
                <a:gd name="T24" fmla="*/ 0 w 92"/>
                <a:gd name="T25" fmla="*/ 0 h 166"/>
                <a:gd name="T26" fmla="*/ 0 w 92"/>
                <a:gd name="T27" fmla="*/ 0 h 166"/>
                <a:gd name="T28" fmla="*/ 0 w 92"/>
                <a:gd name="T29" fmla="*/ 0 h 166"/>
                <a:gd name="T30" fmla="*/ 0 w 92"/>
                <a:gd name="T31" fmla="*/ 0 h 166"/>
                <a:gd name="T32" fmla="*/ 0 w 92"/>
                <a:gd name="T33" fmla="*/ 0 h 166"/>
                <a:gd name="T34" fmla="*/ 0 w 92"/>
                <a:gd name="T35" fmla="*/ 0 h 166"/>
                <a:gd name="T36" fmla="*/ 0 w 92"/>
                <a:gd name="T37" fmla="*/ 0 h 166"/>
                <a:gd name="T38" fmla="*/ 0 w 92"/>
                <a:gd name="T39" fmla="*/ 0 h 166"/>
                <a:gd name="T40" fmla="*/ 0 w 92"/>
                <a:gd name="T41" fmla="*/ 0 h 166"/>
                <a:gd name="T42" fmla="*/ 0 w 92"/>
                <a:gd name="T43" fmla="*/ 0 h 166"/>
                <a:gd name="T44" fmla="*/ 0 w 92"/>
                <a:gd name="T45" fmla="*/ 0 h 166"/>
                <a:gd name="T46" fmla="*/ 0 w 92"/>
                <a:gd name="T47" fmla="*/ 0 h 166"/>
                <a:gd name="T48" fmla="*/ 0 w 92"/>
                <a:gd name="T49" fmla="*/ 0 h 166"/>
                <a:gd name="T50" fmla="*/ 0 w 92"/>
                <a:gd name="T51" fmla="*/ 0 h 166"/>
                <a:gd name="T52" fmla="*/ 0 w 92"/>
                <a:gd name="T53" fmla="*/ 0 h 166"/>
                <a:gd name="T54" fmla="*/ 0 w 92"/>
                <a:gd name="T55" fmla="*/ 0 h 166"/>
                <a:gd name="T56" fmla="*/ 0 w 92"/>
                <a:gd name="T57" fmla="*/ 0 h 166"/>
                <a:gd name="T58" fmla="*/ 0 w 92"/>
                <a:gd name="T59" fmla="*/ 0 h 166"/>
                <a:gd name="T60" fmla="*/ 0 w 92"/>
                <a:gd name="T61" fmla="*/ 0 h 166"/>
                <a:gd name="T62" fmla="*/ 0 w 92"/>
                <a:gd name="T63" fmla="*/ 0 h 166"/>
                <a:gd name="T64" fmla="*/ 0 w 92"/>
                <a:gd name="T65" fmla="*/ 0 h 166"/>
                <a:gd name="T66" fmla="*/ 0 w 92"/>
                <a:gd name="T67" fmla="*/ 0 h 166"/>
                <a:gd name="T68" fmla="*/ 0 w 92"/>
                <a:gd name="T69" fmla="*/ 0 h 166"/>
                <a:gd name="T70" fmla="*/ 0 w 92"/>
                <a:gd name="T71" fmla="*/ 0 h 166"/>
                <a:gd name="T72" fmla="*/ 0 w 92"/>
                <a:gd name="T73" fmla="*/ 0 h 166"/>
                <a:gd name="T74" fmla="*/ 0 w 92"/>
                <a:gd name="T75" fmla="*/ 0 h 166"/>
                <a:gd name="T76" fmla="*/ 0 w 92"/>
                <a:gd name="T77" fmla="*/ 0 h 166"/>
                <a:gd name="T78" fmla="*/ 0 w 92"/>
                <a:gd name="T79" fmla="*/ 0 h 166"/>
                <a:gd name="T80" fmla="*/ 0 w 92"/>
                <a:gd name="T81" fmla="*/ 0 h 166"/>
                <a:gd name="T82" fmla="*/ 0 w 92"/>
                <a:gd name="T83" fmla="*/ 0 h 166"/>
                <a:gd name="T84" fmla="*/ 0 w 92"/>
                <a:gd name="T85" fmla="*/ 0 h 166"/>
                <a:gd name="T86" fmla="*/ 0 w 92"/>
                <a:gd name="T87" fmla="*/ 0 h 166"/>
                <a:gd name="T88" fmla="*/ 0 w 92"/>
                <a:gd name="T89" fmla="*/ 0 h 166"/>
                <a:gd name="T90" fmla="*/ 0 w 92"/>
                <a:gd name="T91" fmla="*/ 0 h 166"/>
                <a:gd name="T92" fmla="*/ 0 w 92"/>
                <a:gd name="T93" fmla="*/ 0 h 166"/>
                <a:gd name="T94" fmla="*/ 0 w 92"/>
                <a:gd name="T95" fmla="*/ 0 h 166"/>
                <a:gd name="T96" fmla="*/ 0 w 92"/>
                <a:gd name="T97" fmla="*/ 0 h 166"/>
                <a:gd name="T98" fmla="*/ 0 w 92"/>
                <a:gd name="T99" fmla="*/ 0 h 166"/>
                <a:gd name="T100" fmla="*/ 0 w 92"/>
                <a:gd name="T101" fmla="*/ 0 h 166"/>
                <a:gd name="T102" fmla="*/ 0 w 92"/>
                <a:gd name="T103" fmla="*/ 0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1" name="Freeform 902"/>
            <p:cNvSpPr>
              <a:spLocks/>
            </p:cNvSpPr>
            <p:nvPr>
              <p:custDataLst>
                <p:tags r:id="rId239"/>
              </p:custDataLst>
            </p:nvPr>
          </p:nvSpPr>
          <p:spPr bwMode="auto">
            <a:xfrm>
              <a:off x="4919" y="2353"/>
              <a:ext cx="49" cy="35"/>
            </a:xfrm>
            <a:custGeom>
              <a:avLst/>
              <a:gdLst>
                <a:gd name="T0" fmla="*/ 0 w 166"/>
                <a:gd name="T1" fmla="*/ 0 h 62"/>
                <a:gd name="T2" fmla="*/ 0 w 166"/>
                <a:gd name="T3" fmla="*/ 1 h 62"/>
                <a:gd name="T4" fmla="*/ 0 w 166"/>
                <a:gd name="T5" fmla="*/ 1 h 62"/>
                <a:gd name="T6" fmla="*/ 0 w 166"/>
                <a:gd name="T7" fmla="*/ 1 h 62"/>
                <a:gd name="T8" fmla="*/ 0 w 166"/>
                <a:gd name="T9" fmla="*/ 1 h 62"/>
                <a:gd name="T10" fmla="*/ 0 w 166"/>
                <a:gd name="T11" fmla="*/ 1 h 62"/>
                <a:gd name="T12" fmla="*/ 0 w 166"/>
                <a:gd name="T13" fmla="*/ 1 h 62"/>
                <a:gd name="T14" fmla="*/ 0 w 166"/>
                <a:gd name="T15" fmla="*/ 1 h 62"/>
                <a:gd name="T16" fmla="*/ 0 w 166"/>
                <a:gd name="T17" fmla="*/ 1 h 62"/>
                <a:gd name="T18" fmla="*/ 0 w 166"/>
                <a:gd name="T19" fmla="*/ 1 h 62"/>
                <a:gd name="T20" fmla="*/ 0 w 166"/>
                <a:gd name="T21" fmla="*/ 0 h 62"/>
                <a:gd name="T22" fmla="*/ 0 w 166"/>
                <a:gd name="T23" fmla="*/ 1 h 62"/>
                <a:gd name="T24" fmla="*/ 0 w 166"/>
                <a:gd name="T25" fmla="*/ 1 h 62"/>
                <a:gd name="T26" fmla="*/ 0 w 166"/>
                <a:gd name="T27" fmla="*/ 1 h 62"/>
                <a:gd name="T28" fmla="*/ 0 w 166"/>
                <a:gd name="T29" fmla="*/ 1 h 62"/>
                <a:gd name="T30" fmla="*/ 0 w 166"/>
                <a:gd name="T31" fmla="*/ 1 h 62"/>
                <a:gd name="T32" fmla="*/ 0 w 166"/>
                <a:gd name="T33" fmla="*/ 1 h 62"/>
                <a:gd name="T34" fmla="*/ 0 w 166"/>
                <a:gd name="T35" fmla="*/ 1 h 62"/>
                <a:gd name="T36" fmla="*/ 0 w 166"/>
                <a:gd name="T37" fmla="*/ 1 h 62"/>
                <a:gd name="T38" fmla="*/ 0 w 166"/>
                <a:gd name="T39" fmla="*/ 1 h 62"/>
                <a:gd name="T40" fmla="*/ 0 w 166"/>
                <a:gd name="T41" fmla="*/ 1 h 62"/>
                <a:gd name="T42" fmla="*/ 0 w 166"/>
                <a:gd name="T43" fmla="*/ 1 h 62"/>
                <a:gd name="T44" fmla="*/ 0 w 166"/>
                <a:gd name="T45" fmla="*/ 1 h 62"/>
                <a:gd name="T46" fmla="*/ 0 w 166"/>
                <a:gd name="T47" fmla="*/ 1 h 62"/>
                <a:gd name="T48" fmla="*/ 0 w 166"/>
                <a:gd name="T49" fmla="*/ 1 h 62"/>
                <a:gd name="T50" fmla="*/ 0 w 166"/>
                <a:gd name="T51" fmla="*/ 1 h 62"/>
                <a:gd name="T52" fmla="*/ 0 w 166"/>
                <a:gd name="T53" fmla="*/ 1 h 62"/>
                <a:gd name="T54" fmla="*/ 0 w 166"/>
                <a:gd name="T55" fmla="*/ 1 h 62"/>
                <a:gd name="T56" fmla="*/ 0 w 166"/>
                <a:gd name="T57" fmla="*/ 1 h 62"/>
                <a:gd name="T58" fmla="*/ 0 w 166"/>
                <a:gd name="T59" fmla="*/ 1 h 62"/>
                <a:gd name="T60" fmla="*/ 0 w 166"/>
                <a:gd name="T61" fmla="*/ 1 h 62"/>
                <a:gd name="T62" fmla="*/ 0 w 166"/>
                <a:gd name="T63" fmla="*/ 1 h 62"/>
                <a:gd name="T64" fmla="*/ 0 w 166"/>
                <a:gd name="T65" fmla="*/ 1 h 62"/>
                <a:gd name="T66" fmla="*/ 0 w 166"/>
                <a:gd name="T67" fmla="*/ 1 h 62"/>
                <a:gd name="T68" fmla="*/ 0 w 166"/>
                <a:gd name="T69" fmla="*/ 1 h 62"/>
                <a:gd name="T70" fmla="*/ 0 w 166"/>
                <a:gd name="T71" fmla="*/ 1 h 62"/>
                <a:gd name="T72" fmla="*/ 0 w 166"/>
                <a:gd name="T73" fmla="*/ 1 h 62"/>
                <a:gd name="T74" fmla="*/ 0 w 166"/>
                <a:gd name="T75" fmla="*/ 1 h 62"/>
                <a:gd name="T76" fmla="*/ 0 w 166"/>
                <a:gd name="T77" fmla="*/ 1 h 62"/>
                <a:gd name="T78" fmla="*/ 0 w 166"/>
                <a:gd name="T79" fmla="*/ 1 h 62"/>
                <a:gd name="T80" fmla="*/ 0 w 166"/>
                <a:gd name="T81" fmla="*/ 1 h 62"/>
                <a:gd name="T82" fmla="*/ 0 w 166"/>
                <a:gd name="T83" fmla="*/ 1 h 62"/>
                <a:gd name="T84" fmla="*/ 0 w 166"/>
                <a:gd name="T85" fmla="*/ 1 h 62"/>
                <a:gd name="T86" fmla="*/ 0 w 166"/>
                <a:gd name="T87" fmla="*/ 1 h 62"/>
                <a:gd name="T88" fmla="*/ 0 w 166"/>
                <a:gd name="T89" fmla="*/ 1 h 62"/>
                <a:gd name="T90" fmla="*/ 0 w 166"/>
                <a:gd name="T91" fmla="*/ 1 h 62"/>
                <a:gd name="T92" fmla="*/ 0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2" name="Freeform 903"/>
            <p:cNvSpPr>
              <a:spLocks/>
            </p:cNvSpPr>
            <p:nvPr>
              <p:custDataLst>
                <p:tags r:id="rId240"/>
              </p:custDataLst>
            </p:nvPr>
          </p:nvSpPr>
          <p:spPr bwMode="auto">
            <a:xfrm>
              <a:off x="4971" y="2305"/>
              <a:ext cx="59" cy="40"/>
            </a:xfrm>
            <a:custGeom>
              <a:avLst/>
              <a:gdLst>
                <a:gd name="T0" fmla="*/ 0 w 193"/>
                <a:gd name="T1" fmla="*/ 0 h 121"/>
                <a:gd name="T2" fmla="*/ 0 w 193"/>
                <a:gd name="T3" fmla="*/ 0 h 121"/>
                <a:gd name="T4" fmla="*/ 0 w 193"/>
                <a:gd name="T5" fmla="*/ 0 h 121"/>
                <a:gd name="T6" fmla="*/ 0 w 193"/>
                <a:gd name="T7" fmla="*/ 0 h 121"/>
                <a:gd name="T8" fmla="*/ 0 w 193"/>
                <a:gd name="T9" fmla="*/ 0 h 121"/>
                <a:gd name="T10" fmla="*/ 0 w 193"/>
                <a:gd name="T11" fmla="*/ 0 h 121"/>
                <a:gd name="T12" fmla="*/ 0 w 193"/>
                <a:gd name="T13" fmla="*/ 0 h 121"/>
                <a:gd name="T14" fmla="*/ 0 w 193"/>
                <a:gd name="T15" fmla="*/ 0 h 121"/>
                <a:gd name="T16" fmla="*/ 0 w 193"/>
                <a:gd name="T17" fmla="*/ 0 h 121"/>
                <a:gd name="T18" fmla="*/ 0 w 193"/>
                <a:gd name="T19" fmla="*/ 0 h 121"/>
                <a:gd name="T20" fmla="*/ 0 w 193"/>
                <a:gd name="T21" fmla="*/ 0 h 121"/>
                <a:gd name="T22" fmla="*/ 0 w 193"/>
                <a:gd name="T23" fmla="*/ 0 h 121"/>
                <a:gd name="T24" fmla="*/ 0 w 193"/>
                <a:gd name="T25" fmla="*/ 0 h 121"/>
                <a:gd name="T26" fmla="*/ 0 w 193"/>
                <a:gd name="T27" fmla="*/ 0 h 121"/>
                <a:gd name="T28" fmla="*/ 0 w 193"/>
                <a:gd name="T29" fmla="*/ 0 h 121"/>
                <a:gd name="T30" fmla="*/ 0 w 193"/>
                <a:gd name="T31" fmla="*/ 0 h 121"/>
                <a:gd name="T32" fmla="*/ 0 w 193"/>
                <a:gd name="T33" fmla="*/ 0 h 121"/>
                <a:gd name="T34" fmla="*/ 0 w 193"/>
                <a:gd name="T35" fmla="*/ 0 h 121"/>
                <a:gd name="T36" fmla="*/ 0 w 193"/>
                <a:gd name="T37" fmla="*/ 0 h 121"/>
                <a:gd name="T38" fmla="*/ 0 w 193"/>
                <a:gd name="T39" fmla="*/ 0 h 121"/>
                <a:gd name="T40" fmla="*/ 0 w 193"/>
                <a:gd name="T41" fmla="*/ 0 h 121"/>
                <a:gd name="T42" fmla="*/ 0 w 193"/>
                <a:gd name="T43" fmla="*/ 0 h 121"/>
                <a:gd name="T44" fmla="*/ 0 w 193"/>
                <a:gd name="T45" fmla="*/ 0 h 121"/>
                <a:gd name="T46" fmla="*/ 0 w 193"/>
                <a:gd name="T47" fmla="*/ 0 h 121"/>
                <a:gd name="T48" fmla="*/ 0 w 193"/>
                <a:gd name="T49" fmla="*/ 0 h 121"/>
                <a:gd name="T50" fmla="*/ 0 w 193"/>
                <a:gd name="T51" fmla="*/ 0 h 121"/>
                <a:gd name="T52" fmla="*/ 0 w 193"/>
                <a:gd name="T53" fmla="*/ 0 h 121"/>
                <a:gd name="T54" fmla="*/ 0 w 193"/>
                <a:gd name="T55" fmla="*/ 0 h 121"/>
                <a:gd name="T56" fmla="*/ 0 w 193"/>
                <a:gd name="T57" fmla="*/ 0 h 121"/>
                <a:gd name="T58" fmla="*/ 0 w 193"/>
                <a:gd name="T59" fmla="*/ 0 h 121"/>
                <a:gd name="T60" fmla="*/ 0 w 193"/>
                <a:gd name="T61" fmla="*/ 0 h 121"/>
                <a:gd name="T62" fmla="*/ 0 w 193"/>
                <a:gd name="T63" fmla="*/ 0 h 121"/>
                <a:gd name="T64" fmla="*/ 0 w 193"/>
                <a:gd name="T65" fmla="*/ 0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3" name="Freeform 904"/>
            <p:cNvSpPr>
              <a:spLocks/>
            </p:cNvSpPr>
            <p:nvPr>
              <p:custDataLst>
                <p:tags r:id="rId241"/>
              </p:custDataLst>
            </p:nvPr>
          </p:nvSpPr>
          <p:spPr bwMode="auto">
            <a:xfrm>
              <a:off x="4759" y="2266"/>
              <a:ext cx="114" cy="145"/>
            </a:xfrm>
            <a:custGeom>
              <a:avLst/>
              <a:gdLst>
                <a:gd name="T0" fmla="*/ 0 w 379"/>
                <a:gd name="T1" fmla="*/ 0 h 437"/>
                <a:gd name="T2" fmla="*/ 0 w 379"/>
                <a:gd name="T3" fmla="*/ 0 h 437"/>
                <a:gd name="T4" fmla="*/ 0 w 379"/>
                <a:gd name="T5" fmla="*/ 0 h 437"/>
                <a:gd name="T6" fmla="*/ 0 w 379"/>
                <a:gd name="T7" fmla="*/ 0 h 437"/>
                <a:gd name="T8" fmla="*/ 0 w 379"/>
                <a:gd name="T9" fmla="*/ 0 h 437"/>
                <a:gd name="T10" fmla="*/ 0 w 379"/>
                <a:gd name="T11" fmla="*/ 0 h 437"/>
                <a:gd name="T12" fmla="*/ 0 w 379"/>
                <a:gd name="T13" fmla="*/ 0 h 437"/>
                <a:gd name="T14" fmla="*/ 0 w 379"/>
                <a:gd name="T15" fmla="*/ 0 h 437"/>
                <a:gd name="T16" fmla="*/ 0 w 379"/>
                <a:gd name="T17" fmla="*/ 0 h 437"/>
                <a:gd name="T18" fmla="*/ 0 w 379"/>
                <a:gd name="T19" fmla="*/ 0 h 437"/>
                <a:gd name="T20" fmla="*/ 0 w 379"/>
                <a:gd name="T21" fmla="*/ 0 h 437"/>
                <a:gd name="T22" fmla="*/ 0 w 379"/>
                <a:gd name="T23" fmla="*/ 0 h 437"/>
                <a:gd name="T24" fmla="*/ 0 w 379"/>
                <a:gd name="T25" fmla="*/ 0 h 437"/>
                <a:gd name="T26" fmla="*/ 0 w 379"/>
                <a:gd name="T27" fmla="*/ 0 h 437"/>
                <a:gd name="T28" fmla="*/ 0 w 379"/>
                <a:gd name="T29" fmla="*/ 0 h 437"/>
                <a:gd name="T30" fmla="*/ 0 w 379"/>
                <a:gd name="T31" fmla="*/ 0 h 437"/>
                <a:gd name="T32" fmla="*/ 0 w 379"/>
                <a:gd name="T33" fmla="*/ 0 h 437"/>
                <a:gd name="T34" fmla="*/ 0 w 379"/>
                <a:gd name="T35" fmla="*/ 0 h 437"/>
                <a:gd name="T36" fmla="*/ 0 w 379"/>
                <a:gd name="T37" fmla="*/ 0 h 437"/>
                <a:gd name="T38" fmla="*/ 0 w 379"/>
                <a:gd name="T39" fmla="*/ 0 h 437"/>
                <a:gd name="T40" fmla="*/ 0 w 379"/>
                <a:gd name="T41" fmla="*/ 0 h 437"/>
                <a:gd name="T42" fmla="*/ 0 w 379"/>
                <a:gd name="T43" fmla="*/ 0 h 437"/>
                <a:gd name="T44" fmla="*/ 0 w 379"/>
                <a:gd name="T45" fmla="*/ 0 h 437"/>
                <a:gd name="T46" fmla="*/ 0 w 379"/>
                <a:gd name="T47" fmla="*/ 0 h 437"/>
                <a:gd name="T48" fmla="*/ 0 w 379"/>
                <a:gd name="T49" fmla="*/ 0 h 437"/>
                <a:gd name="T50" fmla="*/ 0 w 379"/>
                <a:gd name="T51" fmla="*/ 0 h 437"/>
                <a:gd name="T52" fmla="*/ 0 w 379"/>
                <a:gd name="T53" fmla="*/ 0 h 437"/>
                <a:gd name="T54" fmla="*/ 0 w 379"/>
                <a:gd name="T55" fmla="*/ 0 h 437"/>
                <a:gd name="T56" fmla="*/ 0 w 379"/>
                <a:gd name="T57" fmla="*/ 0 h 437"/>
                <a:gd name="T58" fmla="*/ 0 w 379"/>
                <a:gd name="T59" fmla="*/ 0 h 437"/>
                <a:gd name="T60" fmla="*/ 0 w 379"/>
                <a:gd name="T61" fmla="*/ 0 h 437"/>
                <a:gd name="T62" fmla="*/ 0 w 379"/>
                <a:gd name="T63" fmla="*/ 0 h 437"/>
                <a:gd name="T64" fmla="*/ 0 w 379"/>
                <a:gd name="T65" fmla="*/ 0 h 437"/>
                <a:gd name="T66" fmla="*/ 0 w 379"/>
                <a:gd name="T67" fmla="*/ 0 h 437"/>
                <a:gd name="T68" fmla="*/ 0 w 379"/>
                <a:gd name="T69" fmla="*/ 0 h 437"/>
                <a:gd name="T70" fmla="*/ 0 w 379"/>
                <a:gd name="T71" fmla="*/ 0 h 437"/>
                <a:gd name="T72" fmla="*/ 0 w 379"/>
                <a:gd name="T73" fmla="*/ 0 h 437"/>
                <a:gd name="T74" fmla="*/ 0 w 379"/>
                <a:gd name="T75" fmla="*/ 0 h 437"/>
                <a:gd name="T76" fmla="*/ 0 w 379"/>
                <a:gd name="T77" fmla="*/ 0 h 437"/>
                <a:gd name="T78" fmla="*/ 0 w 379"/>
                <a:gd name="T79" fmla="*/ 0 h 437"/>
                <a:gd name="T80" fmla="*/ 0 w 379"/>
                <a:gd name="T81" fmla="*/ 0 h 437"/>
                <a:gd name="T82" fmla="*/ 0 w 379"/>
                <a:gd name="T83" fmla="*/ 0 h 437"/>
                <a:gd name="T84" fmla="*/ 0 w 379"/>
                <a:gd name="T85" fmla="*/ 0 h 437"/>
                <a:gd name="T86" fmla="*/ 0 w 379"/>
                <a:gd name="T87" fmla="*/ 0 h 437"/>
                <a:gd name="T88" fmla="*/ 0 w 379"/>
                <a:gd name="T89" fmla="*/ 0 h 437"/>
                <a:gd name="T90" fmla="*/ 0 w 379"/>
                <a:gd name="T91" fmla="*/ 0 h 437"/>
                <a:gd name="T92" fmla="*/ 0 w 379"/>
                <a:gd name="T93" fmla="*/ 0 h 437"/>
                <a:gd name="T94" fmla="*/ 0 w 379"/>
                <a:gd name="T95" fmla="*/ 0 h 437"/>
                <a:gd name="T96" fmla="*/ 0 w 379"/>
                <a:gd name="T97" fmla="*/ 0 h 437"/>
                <a:gd name="T98" fmla="*/ 0 w 379"/>
                <a:gd name="T99" fmla="*/ 0 h 437"/>
                <a:gd name="T100" fmla="*/ 0 w 379"/>
                <a:gd name="T101" fmla="*/ 0 h 437"/>
                <a:gd name="T102" fmla="*/ 0 w 379"/>
                <a:gd name="T103" fmla="*/ 0 h 437"/>
                <a:gd name="T104" fmla="*/ 0 w 379"/>
                <a:gd name="T105" fmla="*/ 0 h 437"/>
                <a:gd name="T106" fmla="*/ 0 w 379"/>
                <a:gd name="T107" fmla="*/ 0 h 437"/>
                <a:gd name="T108" fmla="*/ 0 w 379"/>
                <a:gd name="T109" fmla="*/ 0 h 437"/>
                <a:gd name="T110" fmla="*/ 0 w 379"/>
                <a:gd name="T111" fmla="*/ 0 h 437"/>
                <a:gd name="T112" fmla="*/ 0 w 379"/>
                <a:gd name="T113" fmla="*/ 0 h 437"/>
                <a:gd name="T114" fmla="*/ 0 w 379"/>
                <a:gd name="T115" fmla="*/ 0 h 437"/>
                <a:gd name="T116" fmla="*/ 0 w 379"/>
                <a:gd name="T117" fmla="*/ 0 h 437"/>
                <a:gd name="T118" fmla="*/ 0 w 379"/>
                <a:gd name="T119" fmla="*/ 0 h 437"/>
                <a:gd name="T120" fmla="*/ 0 w 379"/>
                <a:gd name="T121" fmla="*/ 0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4" name="Freeform 905"/>
            <p:cNvSpPr>
              <a:spLocks/>
            </p:cNvSpPr>
            <p:nvPr>
              <p:custDataLst>
                <p:tags r:id="rId242"/>
              </p:custDataLst>
            </p:nvPr>
          </p:nvSpPr>
          <p:spPr bwMode="auto">
            <a:xfrm>
              <a:off x="4531" y="2418"/>
              <a:ext cx="171" cy="60"/>
            </a:xfrm>
            <a:custGeom>
              <a:avLst/>
              <a:gdLst>
                <a:gd name="T0" fmla="*/ 0 w 578"/>
                <a:gd name="T1" fmla="*/ 0 h 184"/>
                <a:gd name="T2" fmla="*/ 0 w 578"/>
                <a:gd name="T3" fmla="*/ 0 h 184"/>
                <a:gd name="T4" fmla="*/ 0 w 578"/>
                <a:gd name="T5" fmla="*/ 0 h 184"/>
                <a:gd name="T6" fmla="*/ 0 w 578"/>
                <a:gd name="T7" fmla="*/ 0 h 184"/>
                <a:gd name="T8" fmla="*/ 0 w 578"/>
                <a:gd name="T9" fmla="*/ 0 h 184"/>
                <a:gd name="T10" fmla="*/ 0 w 578"/>
                <a:gd name="T11" fmla="*/ 0 h 184"/>
                <a:gd name="T12" fmla="*/ 0 w 578"/>
                <a:gd name="T13" fmla="*/ 0 h 184"/>
                <a:gd name="T14" fmla="*/ 0 w 578"/>
                <a:gd name="T15" fmla="*/ 0 h 184"/>
                <a:gd name="T16" fmla="*/ 0 w 578"/>
                <a:gd name="T17" fmla="*/ 0 h 184"/>
                <a:gd name="T18" fmla="*/ 0 w 578"/>
                <a:gd name="T19" fmla="*/ 0 h 184"/>
                <a:gd name="T20" fmla="*/ 0 w 578"/>
                <a:gd name="T21" fmla="*/ 0 h 184"/>
                <a:gd name="T22" fmla="*/ 0 w 578"/>
                <a:gd name="T23" fmla="*/ 0 h 184"/>
                <a:gd name="T24" fmla="*/ 0 w 578"/>
                <a:gd name="T25" fmla="*/ 0 h 184"/>
                <a:gd name="T26" fmla="*/ 0 w 578"/>
                <a:gd name="T27" fmla="*/ 0 h 184"/>
                <a:gd name="T28" fmla="*/ 0 w 578"/>
                <a:gd name="T29" fmla="*/ 0 h 184"/>
                <a:gd name="T30" fmla="*/ 0 w 578"/>
                <a:gd name="T31" fmla="*/ 0 h 184"/>
                <a:gd name="T32" fmla="*/ 0 w 578"/>
                <a:gd name="T33" fmla="*/ 0 h 184"/>
                <a:gd name="T34" fmla="*/ 0 w 578"/>
                <a:gd name="T35" fmla="*/ 0 h 184"/>
                <a:gd name="T36" fmla="*/ 0 w 578"/>
                <a:gd name="T37" fmla="*/ 0 h 184"/>
                <a:gd name="T38" fmla="*/ 0 w 578"/>
                <a:gd name="T39" fmla="*/ 0 h 184"/>
                <a:gd name="T40" fmla="*/ 0 w 578"/>
                <a:gd name="T41" fmla="*/ 0 h 184"/>
                <a:gd name="T42" fmla="*/ 0 w 578"/>
                <a:gd name="T43" fmla="*/ 0 h 184"/>
                <a:gd name="T44" fmla="*/ 0 w 578"/>
                <a:gd name="T45" fmla="*/ 0 h 184"/>
                <a:gd name="T46" fmla="*/ 0 w 578"/>
                <a:gd name="T47" fmla="*/ 0 h 184"/>
                <a:gd name="T48" fmla="*/ 0 w 578"/>
                <a:gd name="T49" fmla="*/ 0 h 184"/>
                <a:gd name="T50" fmla="*/ 0 w 578"/>
                <a:gd name="T51" fmla="*/ 0 h 184"/>
                <a:gd name="T52" fmla="*/ 0 w 578"/>
                <a:gd name="T53" fmla="*/ 0 h 184"/>
                <a:gd name="T54" fmla="*/ 0 w 578"/>
                <a:gd name="T55" fmla="*/ 0 h 184"/>
                <a:gd name="T56" fmla="*/ 0 w 578"/>
                <a:gd name="T57" fmla="*/ 0 h 184"/>
                <a:gd name="T58" fmla="*/ 0 w 578"/>
                <a:gd name="T59" fmla="*/ 0 h 184"/>
                <a:gd name="T60" fmla="*/ 0 w 578"/>
                <a:gd name="T61" fmla="*/ 0 h 184"/>
                <a:gd name="T62" fmla="*/ 0 w 578"/>
                <a:gd name="T63" fmla="*/ 0 h 184"/>
                <a:gd name="T64" fmla="*/ 0 w 578"/>
                <a:gd name="T65" fmla="*/ 0 h 184"/>
                <a:gd name="T66" fmla="*/ 0 w 578"/>
                <a:gd name="T67" fmla="*/ 0 h 184"/>
                <a:gd name="T68" fmla="*/ 0 w 578"/>
                <a:gd name="T69" fmla="*/ 0 h 184"/>
                <a:gd name="T70" fmla="*/ 0 w 578"/>
                <a:gd name="T71" fmla="*/ 0 h 184"/>
                <a:gd name="T72" fmla="*/ 0 w 578"/>
                <a:gd name="T73" fmla="*/ 0 h 184"/>
                <a:gd name="T74" fmla="*/ 0 w 578"/>
                <a:gd name="T75" fmla="*/ 0 h 184"/>
                <a:gd name="T76" fmla="*/ 0 w 578"/>
                <a:gd name="T77" fmla="*/ 0 h 184"/>
                <a:gd name="T78" fmla="*/ 0 w 578"/>
                <a:gd name="T79" fmla="*/ 0 h 184"/>
                <a:gd name="T80" fmla="*/ 0 w 578"/>
                <a:gd name="T81" fmla="*/ 0 h 184"/>
                <a:gd name="T82" fmla="*/ 0 w 578"/>
                <a:gd name="T83" fmla="*/ 0 h 184"/>
                <a:gd name="T84" fmla="*/ 0 w 578"/>
                <a:gd name="T85" fmla="*/ 0 h 184"/>
                <a:gd name="T86" fmla="*/ 0 w 578"/>
                <a:gd name="T87" fmla="*/ 0 h 184"/>
                <a:gd name="T88" fmla="*/ 0 w 578"/>
                <a:gd name="T89" fmla="*/ 0 h 184"/>
                <a:gd name="T90" fmla="*/ 0 w 578"/>
                <a:gd name="T91" fmla="*/ 0 h 184"/>
                <a:gd name="T92" fmla="*/ 0 w 578"/>
                <a:gd name="T93" fmla="*/ 0 h 184"/>
                <a:gd name="T94" fmla="*/ 0 w 578"/>
                <a:gd name="T95" fmla="*/ 0 h 184"/>
                <a:gd name="T96" fmla="*/ 0 w 578"/>
                <a:gd name="T97" fmla="*/ 0 h 184"/>
                <a:gd name="T98" fmla="*/ 0 w 578"/>
                <a:gd name="T99" fmla="*/ 0 h 184"/>
                <a:gd name="T100" fmla="*/ 0 w 578"/>
                <a:gd name="T101" fmla="*/ 0 h 184"/>
                <a:gd name="T102" fmla="*/ 0 w 578"/>
                <a:gd name="T103" fmla="*/ 0 h 184"/>
                <a:gd name="T104" fmla="*/ 0 w 578"/>
                <a:gd name="T105" fmla="*/ 0 h 184"/>
                <a:gd name="T106" fmla="*/ 0 w 578"/>
                <a:gd name="T107" fmla="*/ 0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5" name="Freeform 906"/>
            <p:cNvSpPr>
              <a:spLocks/>
            </p:cNvSpPr>
            <p:nvPr>
              <p:custDataLst>
                <p:tags r:id="rId243"/>
              </p:custDataLst>
            </p:nvPr>
          </p:nvSpPr>
          <p:spPr bwMode="auto">
            <a:xfrm>
              <a:off x="4995" y="2328"/>
              <a:ext cx="147" cy="159"/>
            </a:xfrm>
            <a:custGeom>
              <a:avLst/>
              <a:gdLst>
                <a:gd name="T0" fmla="*/ 0 w 491"/>
                <a:gd name="T1" fmla="*/ 0 h 481"/>
                <a:gd name="T2" fmla="*/ 0 w 491"/>
                <a:gd name="T3" fmla="*/ 0 h 481"/>
                <a:gd name="T4" fmla="*/ 0 w 491"/>
                <a:gd name="T5" fmla="*/ 0 h 481"/>
                <a:gd name="T6" fmla="*/ 0 w 491"/>
                <a:gd name="T7" fmla="*/ 0 h 481"/>
                <a:gd name="T8" fmla="*/ 0 w 491"/>
                <a:gd name="T9" fmla="*/ 0 h 481"/>
                <a:gd name="T10" fmla="*/ 0 w 491"/>
                <a:gd name="T11" fmla="*/ 0 h 481"/>
                <a:gd name="T12" fmla="*/ 0 w 491"/>
                <a:gd name="T13" fmla="*/ 0 h 481"/>
                <a:gd name="T14" fmla="*/ 0 w 491"/>
                <a:gd name="T15" fmla="*/ 0 h 481"/>
                <a:gd name="T16" fmla="*/ 0 w 491"/>
                <a:gd name="T17" fmla="*/ 0 h 481"/>
                <a:gd name="T18" fmla="*/ 0 w 491"/>
                <a:gd name="T19" fmla="*/ 0 h 481"/>
                <a:gd name="T20" fmla="*/ 0 w 491"/>
                <a:gd name="T21" fmla="*/ 0 h 481"/>
                <a:gd name="T22" fmla="*/ 0 w 491"/>
                <a:gd name="T23" fmla="*/ 0 h 481"/>
                <a:gd name="T24" fmla="*/ 0 w 491"/>
                <a:gd name="T25" fmla="*/ 0 h 481"/>
                <a:gd name="T26" fmla="*/ 0 w 491"/>
                <a:gd name="T27" fmla="*/ 0 h 481"/>
                <a:gd name="T28" fmla="*/ 0 w 491"/>
                <a:gd name="T29" fmla="*/ 0 h 481"/>
                <a:gd name="T30" fmla="*/ 0 w 491"/>
                <a:gd name="T31" fmla="*/ 0 h 481"/>
                <a:gd name="T32" fmla="*/ 0 w 491"/>
                <a:gd name="T33" fmla="*/ 0 h 481"/>
                <a:gd name="T34" fmla="*/ 0 w 491"/>
                <a:gd name="T35" fmla="*/ 0 h 481"/>
                <a:gd name="T36" fmla="*/ 0 w 491"/>
                <a:gd name="T37" fmla="*/ 0 h 481"/>
                <a:gd name="T38" fmla="*/ 0 w 491"/>
                <a:gd name="T39" fmla="*/ 0 h 481"/>
                <a:gd name="T40" fmla="*/ 0 w 491"/>
                <a:gd name="T41" fmla="*/ 0 h 481"/>
                <a:gd name="T42" fmla="*/ 0 w 491"/>
                <a:gd name="T43" fmla="*/ 0 h 481"/>
                <a:gd name="T44" fmla="*/ 0 w 491"/>
                <a:gd name="T45" fmla="*/ 0 h 481"/>
                <a:gd name="T46" fmla="*/ 0 w 491"/>
                <a:gd name="T47" fmla="*/ 0 h 481"/>
                <a:gd name="T48" fmla="*/ 0 w 491"/>
                <a:gd name="T49" fmla="*/ 0 h 481"/>
                <a:gd name="T50" fmla="*/ 0 w 491"/>
                <a:gd name="T51" fmla="*/ 0 h 481"/>
                <a:gd name="T52" fmla="*/ 0 w 491"/>
                <a:gd name="T53" fmla="*/ 0 h 481"/>
                <a:gd name="T54" fmla="*/ 0 w 491"/>
                <a:gd name="T55" fmla="*/ 0 h 481"/>
                <a:gd name="T56" fmla="*/ 0 w 491"/>
                <a:gd name="T57" fmla="*/ 0 h 481"/>
                <a:gd name="T58" fmla="*/ 0 w 491"/>
                <a:gd name="T59" fmla="*/ 0 h 481"/>
                <a:gd name="T60" fmla="*/ 0 w 491"/>
                <a:gd name="T61" fmla="*/ 0 h 481"/>
                <a:gd name="T62" fmla="*/ 0 w 491"/>
                <a:gd name="T63" fmla="*/ 0 h 481"/>
                <a:gd name="T64" fmla="*/ 0 w 491"/>
                <a:gd name="T65" fmla="*/ 0 h 481"/>
                <a:gd name="T66" fmla="*/ 0 w 491"/>
                <a:gd name="T67" fmla="*/ 0 h 481"/>
                <a:gd name="T68" fmla="*/ 0 w 491"/>
                <a:gd name="T69" fmla="*/ 0 h 481"/>
                <a:gd name="T70" fmla="*/ 0 w 491"/>
                <a:gd name="T71" fmla="*/ 0 h 481"/>
                <a:gd name="T72" fmla="*/ 0 w 491"/>
                <a:gd name="T73" fmla="*/ 0 h 481"/>
                <a:gd name="T74" fmla="*/ 0 w 491"/>
                <a:gd name="T75" fmla="*/ 0 h 481"/>
                <a:gd name="T76" fmla="*/ 0 w 491"/>
                <a:gd name="T77" fmla="*/ 0 h 481"/>
                <a:gd name="T78" fmla="*/ 0 w 491"/>
                <a:gd name="T79" fmla="*/ 0 h 481"/>
                <a:gd name="T80" fmla="*/ 0 w 491"/>
                <a:gd name="T81" fmla="*/ 0 h 481"/>
                <a:gd name="T82" fmla="*/ 0 w 491"/>
                <a:gd name="T83" fmla="*/ 0 h 481"/>
                <a:gd name="T84" fmla="*/ 0 w 491"/>
                <a:gd name="T85" fmla="*/ 0 h 481"/>
                <a:gd name="T86" fmla="*/ 0 w 491"/>
                <a:gd name="T87" fmla="*/ 0 h 481"/>
                <a:gd name="T88" fmla="*/ 0 w 491"/>
                <a:gd name="T89" fmla="*/ 0 h 481"/>
                <a:gd name="T90" fmla="*/ 0 w 491"/>
                <a:gd name="T91" fmla="*/ 0 h 481"/>
                <a:gd name="T92" fmla="*/ 0 w 491"/>
                <a:gd name="T93" fmla="*/ 0 h 481"/>
                <a:gd name="T94" fmla="*/ 0 w 491"/>
                <a:gd name="T95" fmla="*/ 0 h 481"/>
                <a:gd name="T96" fmla="*/ 0 w 491"/>
                <a:gd name="T97" fmla="*/ 0 h 481"/>
                <a:gd name="T98" fmla="*/ 0 w 491"/>
                <a:gd name="T99" fmla="*/ 0 h 481"/>
                <a:gd name="T100" fmla="*/ 0 w 491"/>
                <a:gd name="T101" fmla="*/ 0 h 481"/>
                <a:gd name="T102" fmla="*/ 0 w 491"/>
                <a:gd name="T103" fmla="*/ 0 h 481"/>
                <a:gd name="T104" fmla="*/ 0 w 491"/>
                <a:gd name="T105" fmla="*/ 0 h 481"/>
                <a:gd name="T106" fmla="*/ 0 w 491"/>
                <a:gd name="T107" fmla="*/ 0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6" name="Freeform 907"/>
            <p:cNvSpPr>
              <a:spLocks/>
            </p:cNvSpPr>
            <p:nvPr>
              <p:custDataLst>
                <p:tags r:id="rId244"/>
              </p:custDataLst>
            </p:nvPr>
          </p:nvSpPr>
          <p:spPr bwMode="auto">
            <a:xfrm>
              <a:off x="3993" y="1592"/>
              <a:ext cx="37" cy="38"/>
            </a:xfrm>
            <a:custGeom>
              <a:avLst/>
              <a:gdLst>
                <a:gd name="T0" fmla="*/ 0 w 133"/>
                <a:gd name="T1" fmla="*/ 0 h 117"/>
                <a:gd name="T2" fmla="*/ 0 w 133"/>
                <a:gd name="T3" fmla="*/ 0 h 117"/>
                <a:gd name="T4" fmla="*/ 0 w 133"/>
                <a:gd name="T5" fmla="*/ 0 h 117"/>
                <a:gd name="T6" fmla="*/ 0 w 133"/>
                <a:gd name="T7" fmla="*/ 0 h 117"/>
                <a:gd name="T8" fmla="*/ 0 w 133"/>
                <a:gd name="T9" fmla="*/ 0 h 117"/>
                <a:gd name="T10" fmla="*/ 0 w 133"/>
                <a:gd name="T11" fmla="*/ 0 h 117"/>
                <a:gd name="T12" fmla="*/ 0 w 133"/>
                <a:gd name="T13" fmla="*/ 0 h 117"/>
                <a:gd name="T14" fmla="*/ 0 w 133"/>
                <a:gd name="T15" fmla="*/ 0 h 117"/>
                <a:gd name="T16" fmla="*/ 0 w 133"/>
                <a:gd name="T17" fmla="*/ 0 h 117"/>
                <a:gd name="T18" fmla="*/ 0 w 133"/>
                <a:gd name="T19" fmla="*/ 0 h 117"/>
                <a:gd name="T20" fmla="*/ 0 w 133"/>
                <a:gd name="T21" fmla="*/ 0 h 117"/>
                <a:gd name="T22" fmla="*/ 0 w 133"/>
                <a:gd name="T23" fmla="*/ 0 h 117"/>
                <a:gd name="T24" fmla="*/ 0 w 133"/>
                <a:gd name="T25" fmla="*/ 0 h 117"/>
                <a:gd name="T26" fmla="*/ 0 w 133"/>
                <a:gd name="T27" fmla="*/ 0 h 117"/>
                <a:gd name="T28" fmla="*/ 0 w 133"/>
                <a:gd name="T29" fmla="*/ 0 h 117"/>
                <a:gd name="T30" fmla="*/ 0 w 133"/>
                <a:gd name="T31" fmla="*/ 0 h 117"/>
                <a:gd name="T32" fmla="*/ 0 w 133"/>
                <a:gd name="T33" fmla="*/ 0 h 117"/>
                <a:gd name="T34" fmla="*/ 0 w 133"/>
                <a:gd name="T35" fmla="*/ 0 h 117"/>
                <a:gd name="T36" fmla="*/ 0 w 133"/>
                <a:gd name="T37" fmla="*/ 0 h 117"/>
                <a:gd name="T38" fmla="*/ 0 w 133"/>
                <a:gd name="T39" fmla="*/ 0 h 117"/>
                <a:gd name="T40" fmla="*/ 0 w 133"/>
                <a:gd name="T41" fmla="*/ 0 h 117"/>
                <a:gd name="T42" fmla="*/ 0 w 133"/>
                <a:gd name="T43" fmla="*/ 0 h 117"/>
                <a:gd name="T44" fmla="*/ 0 w 133"/>
                <a:gd name="T45" fmla="*/ 0 h 117"/>
                <a:gd name="T46" fmla="*/ 0 w 133"/>
                <a:gd name="T47" fmla="*/ 0 h 117"/>
                <a:gd name="T48" fmla="*/ 0 w 133"/>
                <a:gd name="T49" fmla="*/ 0 h 117"/>
                <a:gd name="T50" fmla="*/ 0 w 133"/>
                <a:gd name="T51" fmla="*/ 0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7" name="Freeform 908"/>
            <p:cNvSpPr>
              <a:spLocks/>
            </p:cNvSpPr>
            <p:nvPr>
              <p:custDataLst>
                <p:tags r:id="rId245"/>
              </p:custDataLst>
            </p:nvPr>
          </p:nvSpPr>
          <p:spPr bwMode="auto">
            <a:xfrm>
              <a:off x="2940" y="1217"/>
              <a:ext cx="151" cy="112"/>
            </a:xfrm>
            <a:custGeom>
              <a:avLst/>
              <a:gdLst>
                <a:gd name="T0" fmla="*/ 0 w 505"/>
                <a:gd name="T1" fmla="*/ 0 h 339"/>
                <a:gd name="T2" fmla="*/ 0 w 505"/>
                <a:gd name="T3" fmla="*/ 0 h 339"/>
                <a:gd name="T4" fmla="*/ 0 w 505"/>
                <a:gd name="T5" fmla="*/ 0 h 339"/>
                <a:gd name="T6" fmla="*/ 0 w 505"/>
                <a:gd name="T7" fmla="*/ 0 h 339"/>
                <a:gd name="T8" fmla="*/ 0 w 505"/>
                <a:gd name="T9" fmla="*/ 0 h 339"/>
                <a:gd name="T10" fmla="*/ 0 w 505"/>
                <a:gd name="T11" fmla="*/ 0 h 339"/>
                <a:gd name="T12" fmla="*/ 0 w 505"/>
                <a:gd name="T13" fmla="*/ 0 h 339"/>
                <a:gd name="T14" fmla="*/ 0 w 505"/>
                <a:gd name="T15" fmla="*/ 0 h 339"/>
                <a:gd name="T16" fmla="*/ 0 w 505"/>
                <a:gd name="T17" fmla="*/ 0 h 339"/>
                <a:gd name="T18" fmla="*/ 0 w 505"/>
                <a:gd name="T19" fmla="*/ 0 h 339"/>
                <a:gd name="T20" fmla="*/ 0 w 505"/>
                <a:gd name="T21" fmla="*/ 0 h 339"/>
                <a:gd name="T22" fmla="*/ 0 w 505"/>
                <a:gd name="T23" fmla="*/ 0 h 339"/>
                <a:gd name="T24" fmla="*/ 0 w 505"/>
                <a:gd name="T25" fmla="*/ 0 h 339"/>
                <a:gd name="T26" fmla="*/ 0 w 505"/>
                <a:gd name="T27" fmla="*/ 0 h 339"/>
                <a:gd name="T28" fmla="*/ 0 w 505"/>
                <a:gd name="T29" fmla="*/ 0 h 339"/>
                <a:gd name="T30" fmla="*/ 0 w 505"/>
                <a:gd name="T31" fmla="*/ 0 h 339"/>
                <a:gd name="T32" fmla="*/ 0 w 505"/>
                <a:gd name="T33" fmla="*/ 0 h 339"/>
                <a:gd name="T34" fmla="*/ 0 w 505"/>
                <a:gd name="T35" fmla="*/ 0 h 339"/>
                <a:gd name="T36" fmla="*/ 0 w 505"/>
                <a:gd name="T37" fmla="*/ 0 h 339"/>
                <a:gd name="T38" fmla="*/ 0 w 505"/>
                <a:gd name="T39" fmla="*/ 0 h 339"/>
                <a:gd name="T40" fmla="*/ 0 w 505"/>
                <a:gd name="T41" fmla="*/ 0 h 339"/>
                <a:gd name="T42" fmla="*/ 0 w 505"/>
                <a:gd name="T43" fmla="*/ 0 h 339"/>
                <a:gd name="T44" fmla="*/ 0 w 505"/>
                <a:gd name="T45" fmla="*/ 0 h 339"/>
                <a:gd name="T46" fmla="*/ 0 w 505"/>
                <a:gd name="T47" fmla="*/ 0 h 339"/>
                <a:gd name="T48" fmla="*/ 0 w 505"/>
                <a:gd name="T49" fmla="*/ 0 h 339"/>
                <a:gd name="T50" fmla="*/ 0 w 505"/>
                <a:gd name="T51" fmla="*/ 0 h 339"/>
                <a:gd name="T52" fmla="*/ 0 w 505"/>
                <a:gd name="T53" fmla="*/ 0 h 339"/>
                <a:gd name="T54" fmla="*/ 0 w 505"/>
                <a:gd name="T55" fmla="*/ 0 h 339"/>
                <a:gd name="T56" fmla="*/ 0 w 505"/>
                <a:gd name="T57" fmla="*/ 0 h 339"/>
                <a:gd name="T58" fmla="*/ 0 w 505"/>
                <a:gd name="T59" fmla="*/ 0 h 339"/>
                <a:gd name="T60" fmla="*/ 0 w 505"/>
                <a:gd name="T61" fmla="*/ 0 h 339"/>
                <a:gd name="T62" fmla="*/ 0 w 505"/>
                <a:gd name="T63" fmla="*/ 0 h 339"/>
                <a:gd name="T64" fmla="*/ 0 w 505"/>
                <a:gd name="T65" fmla="*/ 0 h 339"/>
                <a:gd name="T66" fmla="*/ 0 w 505"/>
                <a:gd name="T67" fmla="*/ 0 h 339"/>
                <a:gd name="T68" fmla="*/ 0 w 505"/>
                <a:gd name="T69" fmla="*/ 0 h 339"/>
                <a:gd name="T70" fmla="*/ 0 w 505"/>
                <a:gd name="T71" fmla="*/ 0 h 339"/>
                <a:gd name="T72" fmla="*/ 0 w 505"/>
                <a:gd name="T73" fmla="*/ 0 h 339"/>
                <a:gd name="T74" fmla="*/ 0 w 505"/>
                <a:gd name="T75" fmla="*/ 0 h 339"/>
                <a:gd name="T76" fmla="*/ 0 w 505"/>
                <a:gd name="T77" fmla="*/ 0 h 339"/>
                <a:gd name="T78" fmla="*/ 0 w 505"/>
                <a:gd name="T79" fmla="*/ 0 h 339"/>
                <a:gd name="T80" fmla="*/ 0 w 505"/>
                <a:gd name="T81" fmla="*/ 0 h 339"/>
                <a:gd name="T82" fmla="*/ 0 w 505"/>
                <a:gd name="T83" fmla="*/ 0 h 339"/>
                <a:gd name="T84" fmla="*/ 0 w 505"/>
                <a:gd name="T85" fmla="*/ 0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8" name="Freeform 909"/>
            <p:cNvSpPr>
              <a:spLocks/>
            </p:cNvSpPr>
            <p:nvPr>
              <p:custDataLst>
                <p:tags r:id="rId246"/>
              </p:custDataLst>
            </p:nvPr>
          </p:nvSpPr>
          <p:spPr bwMode="auto">
            <a:xfrm>
              <a:off x="2984" y="1346"/>
              <a:ext cx="99" cy="45"/>
            </a:xfrm>
            <a:custGeom>
              <a:avLst/>
              <a:gdLst>
                <a:gd name="T0" fmla="*/ 0 w 338"/>
                <a:gd name="T1" fmla="*/ 0 h 141"/>
                <a:gd name="T2" fmla="*/ 0 w 338"/>
                <a:gd name="T3" fmla="*/ 0 h 141"/>
                <a:gd name="T4" fmla="*/ 0 w 338"/>
                <a:gd name="T5" fmla="*/ 0 h 141"/>
                <a:gd name="T6" fmla="*/ 0 w 338"/>
                <a:gd name="T7" fmla="*/ 0 h 141"/>
                <a:gd name="T8" fmla="*/ 0 w 338"/>
                <a:gd name="T9" fmla="*/ 0 h 141"/>
                <a:gd name="T10" fmla="*/ 0 w 338"/>
                <a:gd name="T11" fmla="*/ 0 h 141"/>
                <a:gd name="T12" fmla="*/ 0 w 338"/>
                <a:gd name="T13" fmla="*/ 0 h 141"/>
                <a:gd name="T14" fmla="*/ 0 w 338"/>
                <a:gd name="T15" fmla="*/ 0 h 141"/>
                <a:gd name="T16" fmla="*/ 0 w 338"/>
                <a:gd name="T17" fmla="*/ 0 h 141"/>
                <a:gd name="T18" fmla="*/ 0 w 338"/>
                <a:gd name="T19" fmla="*/ 0 h 141"/>
                <a:gd name="T20" fmla="*/ 0 w 338"/>
                <a:gd name="T21" fmla="*/ 0 h 141"/>
                <a:gd name="T22" fmla="*/ 0 w 338"/>
                <a:gd name="T23" fmla="*/ 0 h 141"/>
                <a:gd name="T24" fmla="*/ 0 w 338"/>
                <a:gd name="T25" fmla="*/ 0 h 141"/>
                <a:gd name="T26" fmla="*/ 0 w 338"/>
                <a:gd name="T27" fmla="*/ 0 h 141"/>
                <a:gd name="T28" fmla="*/ 0 w 338"/>
                <a:gd name="T29" fmla="*/ 0 h 141"/>
                <a:gd name="T30" fmla="*/ 0 w 338"/>
                <a:gd name="T31" fmla="*/ 0 h 141"/>
                <a:gd name="T32" fmla="*/ 0 w 338"/>
                <a:gd name="T33" fmla="*/ 0 h 141"/>
                <a:gd name="T34" fmla="*/ 0 w 338"/>
                <a:gd name="T35" fmla="*/ 0 h 141"/>
                <a:gd name="T36" fmla="*/ 0 w 338"/>
                <a:gd name="T37" fmla="*/ 0 h 141"/>
                <a:gd name="T38" fmla="*/ 0 w 338"/>
                <a:gd name="T39" fmla="*/ 0 h 141"/>
                <a:gd name="T40" fmla="*/ 0 w 338"/>
                <a:gd name="T41" fmla="*/ 0 h 141"/>
                <a:gd name="T42" fmla="*/ 0 w 338"/>
                <a:gd name="T43" fmla="*/ 0 h 141"/>
                <a:gd name="T44" fmla="*/ 0 w 338"/>
                <a:gd name="T45" fmla="*/ 0 h 141"/>
                <a:gd name="T46" fmla="*/ 0 w 338"/>
                <a:gd name="T47" fmla="*/ 0 h 141"/>
                <a:gd name="T48" fmla="*/ 0 w 338"/>
                <a:gd name="T49" fmla="*/ 0 h 141"/>
                <a:gd name="T50" fmla="*/ 0 w 338"/>
                <a:gd name="T51" fmla="*/ 0 h 141"/>
                <a:gd name="T52" fmla="*/ 0 w 338"/>
                <a:gd name="T53" fmla="*/ 0 h 141"/>
                <a:gd name="T54" fmla="*/ 0 w 338"/>
                <a:gd name="T55" fmla="*/ 0 h 141"/>
                <a:gd name="T56" fmla="*/ 0 w 338"/>
                <a:gd name="T57" fmla="*/ 0 h 141"/>
                <a:gd name="T58" fmla="*/ 0 w 338"/>
                <a:gd name="T59" fmla="*/ 0 h 141"/>
                <a:gd name="T60" fmla="*/ 0 w 338"/>
                <a:gd name="T61" fmla="*/ 0 h 141"/>
                <a:gd name="T62" fmla="*/ 0 w 338"/>
                <a:gd name="T63" fmla="*/ 0 h 141"/>
                <a:gd name="T64" fmla="*/ 0 w 338"/>
                <a:gd name="T65" fmla="*/ 0 h 141"/>
                <a:gd name="T66" fmla="*/ 0 w 338"/>
                <a:gd name="T67" fmla="*/ 0 h 141"/>
                <a:gd name="T68" fmla="*/ 0 w 338"/>
                <a:gd name="T69" fmla="*/ 0 h 141"/>
                <a:gd name="T70" fmla="*/ 0 w 338"/>
                <a:gd name="T71" fmla="*/ 0 h 141"/>
                <a:gd name="T72" fmla="*/ 0 w 338"/>
                <a:gd name="T73" fmla="*/ 0 h 141"/>
                <a:gd name="T74" fmla="*/ 0 w 338"/>
                <a:gd name="T75" fmla="*/ 0 h 141"/>
                <a:gd name="T76" fmla="*/ 0 w 338"/>
                <a:gd name="T77" fmla="*/ 0 h 141"/>
                <a:gd name="T78" fmla="*/ 0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9" name="Freeform 910"/>
            <p:cNvSpPr>
              <a:spLocks/>
            </p:cNvSpPr>
            <p:nvPr>
              <p:custDataLst>
                <p:tags r:id="rId247"/>
              </p:custDataLst>
            </p:nvPr>
          </p:nvSpPr>
          <p:spPr bwMode="auto">
            <a:xfrm>
              <a:off x="3052" y="1129"/>
              <a:ext cx="76" cy="41"/>
            </a:xfrm>
            <a:custGeom>
              <a:avLst/>
              <a:gdLst>
                <a:gd name="T0" fmla="*/ 0 w 259"/>
                <a:gd name="T1" fmla="*/ 0 h 129"/>
                <a:gd name="T2" fmla="*/ 0 w 259"/>
                <a:gd name="T3" fmla="*/ 0 h 129"/>
                <a:gd name="T4" fmla="*/ 0 w 259"/>
                <a:gd name="T5" fmla="*/ 0 h 129"/>
                <a:gd name="T6" fmla="*/ 0 w 259"/>
                <a:gd name="T7" fmla="*/ 0 h 129"/>
                <a:gd name="T8" fmla="*/ 0 w 259"/>
                <a:gd name="T9" fmla="*/ 0 h 129"/>
                <a:gd name="T10" fmla="*/ 0 w 259"/>
                <a:gd name="T11" fmla="*/ 0 h 129"/>
                <a:gd name="T12" fmla="*/ 0 w 259"/>
                <a:gd name="T13" fmla="*/ 0 h 129"/>
                <a:gd name="T14" fmla="*/ 0 w 259"/>
                <a:gd name="T15" fmla="*/ 0 h 129"/>
                <a:gd name="T16" fmla="*/ 0 w 259"/>
                <a:gd name="T17" fmla="*/ 0 h 129"/>
                <a:gd name="T18" fmla="*/ 0 w 259"/>
                <a:gd name="T19" fmla="*/ 0 h 129"/>
                <a:gd name="T20" fmla="*/ 0 w 259"/>
                <a:gd name="T21" fmla="*/ 0 h 129"/>
                <a:gd name="T22" fmla="*/ 0 w 259"/>
                <a:gd name="T23" fmla="*/ 0 h 129"/>
                <a:gd name="T24" fmla="*/ 0 w 259"/>
                <a:gd name="T25" fmla="*/ 0 h 129"/>
                <a:gd name="T26" fmla="*/ 0 w 259"/>
                <a:gd name="T27" fmla="*/ 0 h 129"/>
                <a:gd name="T28" fmla="*/ 0 w 259"/>
                <a:gd name="T29" fmla="*/ 0 h 129"/>
                <a:gd name="T30" fmla="*/ 0 w 259"/>
                <a:gd name="T31" fmla="*/ 0 h 129"/>
                <a:gd name="T32" fmla="*/ 0 w 259"/>
                <a:gd name="T33" fmla="*/ 0 h 129"/>
                <a:gd name="T34" fmla="*/ 0 w 259"/>
                <a:gd name="T35" fmla="*/ 0 h 129"/>
                <a:gd name="T36" fmla="*/ 0 w 259"/>
                <a:gd name="T37" fmla="*/ 0 h 129"/>
                <a:gd name="T38" fmla="*/ 0 w 259"/>
                <a:gd name="T39" fmla="*/ 0 h 129"/>
                <a:gd name="T40" fmla="*/ 0 w 259"/>
                <a:gd name="T41" fmla="*/ 0 h 129"/>
                <a:gd name="T42" fmla="*/ 0 w 259"/>
                <a:gd name="T43" fmla="*/ 0 h 129"/>
                <a:gd name="T44" fmla="*/ 0 w 259"/>
                <a:gd name="T45" fmla="*/ 0 h 129"/>
                <a:gd name="T46" fmla="*/ 0 w 259"/>
                <a:gd name="T47" fmla="*/ 0 h 129"/>
                <a:gd name="T48" fmla="*/ 0 w 259"/>
                <a:gd name="T49" fmla="*/ 0 h 129"/>
                <a:gd name="T50" fmla="*/ 0 w 259"/>
                <a:gd name="T51" fmla="*/ 0 h 129"/>
                <a:gd name="T52" fmla="*/ 0 w 259"/>
                <a:gd name="T53" fmla="*/ 0 h 129"/>
                <a:gd name="T54" fmla="*/ 0 w 259"/>
                <a:gd name="T55" fmla="*/ 0 h 129"/>
                <a:gd name="T56" fmla="*/ 0 w 259"/>
                <a:gd name="T57" fmla="*/ 0 h 129"/>
                <a:gd name="T58" fmla="*/ 0 w 259"/>
                <a:gd name="T59" fmla="*/ 0 h 129"/>
                <a:gd name="T60" fmla="*/ 0 w 259"/>
                <a:gd name="T61" fmla="*/ 0 h 129"/>
                <a:gd name="T62" fmla="*/ 0 w 259"/>
                <a:gd name="T63" fmla="*/ 0 h 129"/>
                <a:gd name="T64" fmla="*/ 0 w 259"/>
                <a:gd name="T65" fmla="*/ 0 h 129"/>
                <a:gd name="T66" fmla="*/ 0 w 259"/>
                <a:gd name="T67" fmla="*/ 0 h 129"/>
                <a:gd name="T68" fmla="*/ 0 w 259"/>
                <a:gd name="T69" fmla="*/ 0 h 129"/>
                <a:gd name="T70" fmla="*/ 0 w 259"/>
                <a:gd name="T71" fmla="*/ 0 h 129"/>
                <a:gd name="T72" fmla="*/ 0 w 259"/>
                <a:gd name="T73" fmla="*/ 0 h 129"/>
                <a:gd name="T74" fmla="*/ 0 w 259"/>
                <a:gd name="T75" fmla="*/ 0 h 129"/>
                <a:gd name="T76" fmla="*/ 0 w 259"/>
                <a:gd name="T77" fmla="*/ 0 h 129"/>
                <a:gd name="T78" fmla="*/ 0 w 259"/>
                <a:gd name="T79" fmla="*/ 0 h 129"/>
                <a:gd name="T80" fmla="*/ 0 w 259"/>
                <a:gd name="T81" fmla="*/ 0 h 129"/>
                <a:gd name="T82" fmla="*/ 0 w 259"/>
                <a:gd name="T83" fmla="*/ 0 h 129"/>
                <a:gd name="T84" fmla="*/ 0 w 259"/>
                <a:gd name="T85" fmla="*/ 0 h 129"/>
                <a:gd name="T86" fmla="*/ 0 w 259"/>
                <a:gd name="T87" fmla="*/ 0 h 129"/>
                <a:gd name="T88" fmla="*/ 0 w 259"/>
                <a:gd name="T89" fmla="*/ 0 h 129"/>
                <a:gd name="T90" fmla="*/ 0 w 259"/>
                <a:gd name="T91" fmla="*/ 0 h 129"/>
                <a:gd name="T92" fmla="*/ 0 w 259"/>
                <a:gd name="T93" fmla="*/ 0 h 129"/>
                <a:gd name="T94" fmla="*/ 0 w 259"/>
                <a:gd name="T95" fmla="*/ 0 h 129"/>
                <a:gd name="T96" fmla="*/ 0 w 259"/>
                <a:gd name="T97" fmla="*/ 0 h 129"/>
                <a:gd name="T98" fmla="*/ 0 w 259"/>
                <a:gd name="T99" fmla="*/ 0 h 129"/>
                <a:gd name="T100" fmla="*/ 0 w 259"/>
                <a:gd name="T101" fmla="*/ 0 h 129"/>
                <a:gd name="T102" fmla="*/ 0 w 259"/>
                <a:gd name="T103" fmla="*/ 0 h 129"/>
                <a:gd name="T104" fmla="*/ 0 w 259"/>
                <a:gd name="T105" fmla="*/ 0 h 129"/>
                <a:gd name="T106" fmla="*/ 0 w 259"/>
                <a:gd name="T107" fmla="*/ 0 h 129"/>
                <a:gd name="T108" fmla="*/ 0 w 259"/>
                <a:gd name="T109" fmla="*/ 0 h 129"/>
                <a:gd name="T110" fmla="*/ 0 w 259"/>
                <a:gd name="T111" fmla="*/ 0 h 129"/>
                <a:gd name="T112" fmla="*/ 0 w 259"/>
                <a:gd name="T113" fmla="*/ 0 h 129"/>
                <a:gd name="T114" fmla="*/ 0 w 259"/>
                <a:gd name="T115" fmla="*/ 0 h 129"/>
                <a:gd name="T116" fmla="*/ 0 w 259"/>
                <a:gd name="T117" fmla="*/ 0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0" name="Freeform 911"/>
            <p:cNvSpPr>
              <a:spLocks/>
            </p:cNvSpPr>
            <p:nvPr>
              <p:custDataLst>
                <p:tags r:id="rId248"/>
              </p:custDataLst>
            </p:nvPr>
          </p:nvSpPr>
          <p:spPr bwMode="auto">
            <a:xfrm>
              <a:off x="3060" y="1348"/>
              <a:ext cx="123" cy="90"/>
            </a:xfrm>
            <a:custGeom>
              <a:avLst/>
              <a:gdLst>
                <a:gd name="T0" fmla="*/ 0 w 425"/>
                <a:gd name="T1" fmla="*/ 0 h 272"/>
                <a:gd name="T2" fmla="*/ 0 w 425"/>
                <a:gd name="T3" fmla="*/ 0 h 272"/>
                <a:gd name="T4" fmla="*/ 0 w 425"/>
                <a:gd name="T5" fmla="*/ 0 h 272"/>
                <a:gd name="T6" fmla="*/ 0 w 425"/>
                <a:gd name="T7" fmla="*/ 0 h 272"/>
                <a:gd name="T8" fmla="*/ 0 w 425"/>
                <a:gd name="T9" fmla="*/ 0 h 272"/>
                <a:gd name="T10" fmla="*/ 0 w 425"/>
                <a:gd name="T11" fmla="*/ 0 h 272"/>
                <a:gd name="T12" fmla="*/ 0 w 425"/>
                <a:gd name="T13" fmla="*/ 0 h 272"/>
                <a:gd name="T14" fmla="*/ 0 w 425"/>
                <a:gd name="T15" fmla="*/ 0 h 272"/>
                <a:gd name="T16" fmla="*/ 0 w 425"/>
                <a:gd name="T17" fmla="*/ 0 h 272"/>
                <a:gd name="T18" fmla="*/ 0 w 425"/>
                <a:gd name="T19" fmla="*/ 0 h 272"/>
                <a:gd name="T20" fmla="*/ 0 w 425"/>
                <a:gd name="T21" fmla="*/ 0 h 272"/>
                <a:gd name="T22" fmla="*/ 0 w 425"/>
                <a:gd name="T23" fmla="*/ 0 h 272"/>
                <a:gd name="T24" fmla="*/ 0 w 425"/>
                <a:gd name="T25" fmla="*/ 0 h 272"/>
                <a:gd name="T26" fmla="*/ 0 w 425"/>
                <a:gd name="T27" fmla="*/ 0 h 272"/>
                <a:gd name="T28" fmla="*/ 0 w 425"/>
                <a:gd name="T29" fmla="*/ 0 h 272"/>
                <a:gd name="T30" fmla="*/ 0 w 425"/>
                <a:gd name="T31" fmla="*/ 0 h 272"/>
                <a:gd name="T32" fmla="*/ 0 w 425"/>
                <a:gd name="T33" fmla="*/ 0 h 272"/>
                <a:gd name="T34" fmla="*/ 0 w 425"/>
                <a:gd name="T35" fmla="*/ 0 h 272"/>
                <a:gd name="T36" fmla="*/ 0 w 425"/>
                <a:gd name="T37" fmla="*/ 0 h 272"/>
                <a:gd name="T38" fmla="*/ 0 w 425"/>
                <a:gd name="T39" fmla="*/ 0 h 272"/>
                <a:gd name="T40" fmla="*/ 0 w 425"/>
                <a:gd name="T41" fmla="*/ 0 h 272"/>
                <a:gd name="T42" fmla="*/ 0 w 425"/>
                <a:gd name="T43" fmla="*/ 0 h 272"/>
                <a:gd name="T44" fmla="*/ 0 w 425"/>
                <a:gd name="T45" fmla="*/ 0 h 272"/>
                <a:gd name="T46" fmla="*/ 0 w 425"/>
                <a:gd name="T47" fmla="*/ 0 h 272"/>
                <a:gd name="T48" fmla="*/ 0 w 425"/>
                <a:gd name="T49" fmla="*/ 0 h 272"/>
                <a:gd name="T50" fmla="*/ 0 w 425"/>
                <a:gd name="T51" fmla="*/ 0 h 272"/>
                <a:gd name="T52" fmla="*/ 0 w 425"/>
                <a:gd name="T53" fmla="*/ 0 h 272"/>
                <a:gd name="T54" fmla="*/ 0 w 425"/>
                <a:gd name="T55" fmla="*/ 0 h 272"/>
                <a:gd name="T56" fmla="*/ 0 w 425"/>
                <a:gd name="T57" fmla="*/ 0 h 272"/>
                <a:gd name="T58" fmla="*/ 0 w 425"/>
                <a:gd name="T59" fmla="*/ 0 h 272"/>
                <a:gd name="T60" fmla="*/ 0 w 425"/>
                <a:gd name="T61" fmla="*/ 0 h 272"/>
                <a:gd name="T62" fmla="*/ 0 w 425"/>
                <a:gd name="T63" fmla="*/ 0 h 272"/>
                <a:gd name="T64" fmla="*/ 0 w 425"/>
                <a:gd name="T65" fmla="*/ 0 h 272"/>
                <a:gd name="T66" fmla="*/ 0 w 425"/>
                <a:gd name="T67" fmla="*/ 0 h 272"/>
                <a:gd name="T68" fmla="*/ 0 w 425"/>
                <a:gd name="T69" fmla="*/ 0 h 272"/>
                <a:gd name="T70" fmla="*/ 0 w 425"/>
                <a:gd name="T71" fmla="*/ 0 h 272"/>
                <a:gd name="T72" fmla="*/ 0 w 425"/>
                <a:gd name="T73" fmla="*/ 0 h 272"/>
                <a:gd name="T74" fmla="*/ 0 w 425"/>
                <a:gd name="T75" fmla="*/ 0 h 272"/>
                <a:gd name="T76" fmla="*/ 0 w 425"/>
                <a:gd name="T77" fmla="*/ 0 h 272"/>
                <a:gd name="T78" fmla="*/ 0 w 425"/>
                <a:gd name="T79" fmla="*/ 0 h 272"/>
                <a:gd name="T80" fmla="*/ 0 w 425"/>
                <a:gd name="T81" fmla="*/ 0 h 272"/>
                <a:gd name="T82" fmla="*/ 0 w 425"/>
                <a:gd name="T83" fmla="*/ 0 h 272"/>
                <a:gd name="T84" fmla="*/ 0 w 425"/>
                <a:gd name="T85" fmla="*/ 0 h 272"/>
                <a:gd name="T86" fmla="*/ 0 w 425"/>
                <a:gd name="T87" fmla="*/ 0 h 272"/>
                <a:gd name="T88" fmla="*/ 0 w 425"/>
                <a:gd name="T89" fmla="*/ 0 h 272"/>
                <a:gd name="T90" fmla="*/ 0 w 425"/>
                <a:gd name="T91" fmla="*/ 0 h 272"/>
                <a:gd name="T92" fmla="*/ 0 w 425"/>
                <a:gd name="T93" fmla="*/ 0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1" name="Freeform 912"/>
            <p:cNvSpPr>
              <a:spLocks/>
            </p:cNvSpPr>
            <p:nvPr>
              <p:custDataLst>
                <p:tags r:id="rId249"/>
              </p:custDataLst>
            </p:nvPr>
          </p:nvSpPr>
          <p:spPr bwMode="auto">
            <a:xfrm>
              <a:off x="1695" y="2002"/>
              <a:ext cx="10" cy="35"/>
            </a:xfrm>
            <a:custGeom>
              <a:avLst/>
              <a:gdLst>
                <a:gd name="T0" fmla="*/ 0 w 33"/>
                <a:gd name="T1" fmla="*/ 68 h 31"/>
                <a:gd name="T2" fmla="*/ 0 w 33"/>
                <a:gd name="T3" fmla="*/ 209 h 31"/>
                <a:gd name="T4" fmla="*/ 0 w 33"/>
                <a:gd name="T5" fmla="*/ 236 h 31"/>
                <a:gd name="T6" fmla="*/ 0 w 33"/>
                <a:gd name="T7" fmla="*/ 289 h 31"/>
                <a:gd name="T8" fmla="*/ 0 w 33"/>
                <a:gd name="T9" fmla="*/ 300 h 31"/>
                <a:gd name="T10" fmla="*/ 0 w 33"/>
                <a:gd name="T11" fmla="*/ 330 h 31"/>
                <a:gd name="T12" fmla="*/ 0 w 33"/>
                <a:gd name="T13" fmla="*/ 339 h 31"/>
                <a:gd name="T14" fmla="*/ 0 w 33"/>
                <a:gd name="T15" fmla="*/ 353 h 31"/>
                <a:gd name="T16" fmla="*/ 0 w 33"/>
                <a:gd name="T17" fmla="*/ 0 h 31"/>
                <a:gd name="T18" fmla="*/ 0 w 33"/>
                <a:gd name="T19" fmla="*/ 0 h 31"/>
                <a:gd name="T20" fmla="*/ 0 w 33"/>
                <a:gd name="T21" fmla="*/ 68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2" name="Freeform 913"/>
            <p:cNvSpPr>
              <a:spLocks/>
            </p:cNvSpPr>
            <p:nvPr>
              <p:custDataLst>
                <p:tags r:id="rId250"/>
              </p:custDataLst>
            </p:nvPr>
          </p:nvSpPr>
          <p:spPr bwMode="auto">
            <a:xfrm>
              <a:off x="3132" y="1343"/>
              <a:ext cx="58" cy="50"/>
            </a:xfrm>
            <a:custGeom>
              <a:avLst/>
              <a:gdLst>
                <a:gd name="T0" fmla="*/ 0 w 192"/>
                <a:gd name="T1" fmla="*/ 0 h 154"/>
                <a:gd name="T2" fmla="*/ 0 w 192"/>
                <a:gd name="T3" fmla="*/ 0 h 154"/>
                <a:gd name="T4" fmla="*/ 0 w 192"/>
                <a:gd name="T5" fmla="*/ 0 h 154"/>
                <a:gd name="T6" fmla="*/ 0 w 192"/>
                <a:gd name="T7" fmla="*/ 0 h 154"/>
                <a:gd name="T8" fmla="*/ 0 w 192"/>
                <a:gd name="T9" fmla="*/ 0 h 154"/>
                <a:gd name="T10" fmla="*/ 0 w 192"/>
                <a:gd name="T11" fmla="*/ 0 h 154"/>
                <a:gd name="T12" fmla="*/ 0 w 192"/>
                <a:gd name="T13" fmla="*/ 0 h 154"/>
                <a:gd name="T14" fmla="*/ 0 w 192"/>
                <a:gd name="T15" fmla="*/ 0 h 154"/>
                <a:gd name="T16" fmla="*/ 0 w 192"/>
                <a:gd name="T17" fmla="*/ 0 h 154"/>
                <a:gd name="T18" fmla="*/ 0 w 192"/>
                <a:gd name="T19" fmla="*/ 0 h 154"/>
                <a:gd name="T20" fmla="*/ 0 w 192"/>
                <a:gd name="T21" fmla="*/ 0 h 154"/>
                <a:gd name="T22" fmla="*/ 0 w 192"/>
                <a:gd name="T23" fmla="*/ 0 h 154"/>
                <a:gd name="T24" fmla="*/ 0 w 192"/>
                <a:gd name="T25" fmla="*/ 0 h 154"/>
                <a:gd name="T26" fmla="*/ 0 w 192"/>
                <a:gd name="T27" fmla="*/ 0 h 154"/>
                <a:gd name="T28" fmla="*/ 0 w 192"/>
                <a:gd name="T29" fmla="*/ 0 h 154"/>
                <a:gd name="T30" fmla="*/ 0 w 192"/>
                <a:gd name="T31" fmla="*/ 0 h 154"/>
                <a:gd name="T32" fmla="*/ 0 w 192"/>
                <a:gd name="T33" fmla="*/ 0 h 154"/>
                <a:gd name="T34" fmla="*/ 0 w 192"/>
                <a:gd name="T35" fmla="*/ 0 h 154"/>
                <a:gd name="T36" fmla="*/ 0 w 192"/>
                <a:gd name="T37" fmla="*/ 0 h 154"/>
                <a:gd name="T38" fmla="*/ 0 w 192"/>
                <a:gd name="T39" fmla="*/ 0 h 154"/>
                <a:gd name="T40" fmla="*/ 0 w 192"/>
                <a:gd name="T41" fmla="*/ 0 h 154"/>
                <a:gd name="T42" fmla="*/ 0 w 192"/>
                <a:gd name="T43" fmla="*/ 0 h 154"/>
                <a:gd name="T44" fmla="*/ 0 w 192"/>
                <a:gd name="T45" fmla="*/ 0 h 154"/>
                <a:gd name="T46" fmla="*/ 0 w 192"/>
                <a:gd name="T47" fmla="*/ 0 h 154"/>
                <a:gd name="T48" fmla="*/ 0 w 192"/>
                <a:gd name="T49" fmla="*/ 0 h 154"/>
                <a:gd name="T50" fmla="*/ 0 w 192"/>
                <a:gd name="T51" fmla="*/ 0 h 154"/>
                <a:gd name="T52" fmla="*/ 0 w 192"/>
                <a:gd name="T53" fmla="*/ 0 h 154"/>
                <a:gd name="T54" fmla="*/ 0 w 192"/>
                <a:gd name="T55" fmla="*/ 0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3" name="Freeform 914"/>
            <p:cNvSpPr>
              <a:spLocks/>
            </p:cNvSpPr>
            <p:nvPr>
              <p:custDataLst>
                <p:tags r:id="rId251"/>
              </p:custDataLst>
            </p:nvPr>
          </p:nvSpPr>
          <p:spPr bwMode="auto">
            <a:xfrm>
              <a:off x="3076" y="1269"/>
              <a:ext cx="260" cy="156"/>
            </a:xfrm>
            <a:custGeom>
              <a:avLst/>
              <a:gdLst>
                <a:gd name="T0" fmla="*/ 0 w 877"/>
                <a:gd name="T1" fmla="*/ 0 h 469"/>
                <a:gd name="T2" fmla="*/ 0 w 877"/>
                <a:gd name="T3" fmla="*/ 0 h 469"/>
                <a:gd name="T4" fmla="*/ 0 w 877"/>
                <a:gd name="T5" fmla="*/ 0 h 469"/>
                <a:gd name="T6" fmla="*/ 0 w 877"/>
                <a:gd name="T7" fmla="*/ 0 h 469"/>
                <a:gd name="T8" fmla="*/ 0 w 877"/>
                <a:gd name="T9" fmla="*/ 0 h 469"/>
                <a:gd name="T10" fmla="*/ 0 w 877"/>
                <a:gd name="T11" fmla="*/ 0 h 469"/>
                <a:gd name="T12" fmla="*/ 0 w 877"/>
                <a:gd name="T13" fmla="*/ 0 h 469"/>
                <a:gd name="T14" fmla="*/ 0 w 877"/>
                <a:gd name="T15" fmla="*/ 0 h 469"/>
                <a:gd name="T16" fmla="*/ 0 w 877"/>
                <a:gd name="T17" fmla="*/ 0 h 469"/>
                <a:gd name="T18" fmla="*/ 0 w 877"/>
                <a:gd name="T19" fmla="*/ 0 h 469"/>
                <a:gd name="T20" fmla="*/ 0 w 877"/>
                <a:gd name="T21" fmla="*/ 0 h 469"/>
                <a:gd name="T22" fmla="*/ 0 w 877"/>
                <a:gd name="T23" fmla="*/ 0 h 469"/>
                <a:gd name="T24" fmla="*/ 0 w 877"/>
                <a:gd name="T25" fmla="*/ 0 h 469"/>
                <a:gd name="T26" fmla="*/ 0 w 877"/>
                <a:gd name="T27" fmla="*/ 0 h 469"/>
                <a:gd name="T28" fmla="*/ 0 w 877"/>
                <a:gd name="T29" fmla="*/ 0 h 469"/>
                <a:gd name="T30" fmla="*/ 0 w 877"/>
                <a:gd name="T31" fmla="*/ 0 h 469"/>
                <a:gd name="T32" fmla="*/ 0 w 877"/>
                <a:gd name="T33" fmla="*/ 0 h 469"/>
                <a:gd name="T34" fmla="*/ 0 w 877"/>
                <a:gd name="T35" fmla="*/ 0 h 469"/>
                <a:gd name="T36" fmla="*/ 0 w 877"/>
                <a:gd name="T37" fmla="*/ 0 h 469"/>
                <a:gd name="T38" fmla="*/ 0 w 877"/>
                <a:gd name="T39" fmla="*/ 0 h 469"/>
                <a:gd name="T40" fmla="*/ 0 w 877"/>
                <a:gd name="T41" fmla="*/ 0 h 469"/>
                <a:gd name="T42" fmla="*/ 0 w 877"/>
                <a:gd name="T43" fmla="*/ 0 h 469"/>
                <a:gd name="T44" fmla="*/ 0 w 877"/>
                <a:gd name="T45" fmla="*/ 0 h 469"/>
                <a:gd name="T46" fmla="*/ 0 w 877"/>
                <a:gd name="T47" fmla="*/ 0 h 469"/>
                <a:gd name="T48" fmla="*/ 0 w 877"/>
                <a:gd name="T49" fmla="*/ 0 h 469"/>
                <a:gd name="T50" fmla="*/ 0 w 877"/>
                <a:gd name="T51" fmla="*/ 0 h 469"/>
                <a:gd name="T52" fmla="*/ 0 w 877"/>
                <a:gd name="T53" fmla="*/ 0 h 469"/>
                <a:gd name="T54" fmla="*/ 0 w 877"/>
                <a:gd name="T55" fmla="*/ 0 h 469"/>
                <a:gd name="T56" fmla="*/ 0 w 877"/>
                <a:gd name="T57" fmla="*/ 0 h 469"/>
                <a:gd name="T58" fmla="*/ 0 w 877"/>
                <a:gd name="T59" fmla="*/ 0 h 469"/>
                <a:gd name="T60" fmla="*/ 0 w 877"/>
                <a:gd name="T61" fmla="*/ 0 h 469"/>
                <a:gd name="T62" fmla="*/ 0 w 877"/>
                <a:gd name="T63" fmla="*/ 0 h 469"/>
                <a:gd name="T64" fmla="*/ 0 w 877"/>
                <a:gd name="T65" fmla="*/ 0 h 469"/>
                <a:gd name="T66" fmla="*/ 0 w 877"/>
                <a:gd name="T67" fmla="*/ 0 h 469"/>
                <a:gd name="T68" fmla="*/ 0 w 877"/>
                <a:gd name="T69" fmla="*/ 0 h 469"/>
                <a:gd name="T70" fmla="*/ 0 w 877"/>
                <a:gd name="T71" fmla="*/ 0 h 469"/>
                <a:gd name="T72" fmla="*/ 0 w 877"/>
                <a:gd name="T73" fmla="*/ 0 h 469"/>
                <a:gd name="T74" fmla="*/ 0 w 877"/>
                <a:gd name="T75" fmla="*/ 0 h 469"/>
                <a:gd name="T76" fmla="*/ 0 w 877"/>
                <a:gd name="T77" fmla="*/ 0 h 469"/>
                <a:gd name="T78" fmla="*/ 0 w 877"/>
                <a:gd name="T79" fmla="*/ 0 h 469"/>
                <a:gd name="T80" fmla="*/ 0 w 877"/>
                <a:gd name="T81" fmla="*/ 0 h 469"/>
                <a:gd name="T82" fmla="*/ 0 w 877"/>
                <a:gd name="T83" fmla="*/ 0 h 469"/>
                <a:gd name="T84" fmla="*/ 0 w 877"/>
                <a:gd name="T85" fmla="*/ 0 h 469"/>
                <a:gd name="T86" fmla="*/ 0 w 877"/>
                <a:gd name="T87" fmla="*/ 0 h 469"/>
                <a:gd name="T88" fmla="*/ 0 w 877"/>
                <a:gd name="T89" fmla="*/ 0 h 469"/>
                <a:gd name="T90" fmla="*/ 0 w 877"/>
                <a:gd name="T91" fmla="*/ 0 h 469"/>
                <a:gd name="T92" fmla="*/ 0 w 877"/>
                <a:gd name="T93" fmla="*/ 0 h 469"/>
                <a:gd name="T94" fmla="*/ 0 w 877"/>
                <a:gd name="T95" fmla="*/ 0 h 469"/>
                <a:gd name="T96" fmla="*/ 0 w 877"/>
                <a:gd name="T97" fmla="*/ 0 h 469"/>
                <a:gd name="T98" fmla="*/ 0 w 877"/>
                <a:gd name="T99" fmla="*/ 0 h 469"/>
                <a:gd name="T100" fmla="*/ 0 w 877"/>
                <a:gd name="T101" fmla="*/ 0 h 469"/>
                <a:gd name="T102" fmla="*/ 0 w 877"/>
                <a:gd name="T103" fmla="*/ 0 h 469"/>
                <a:gd name="T104" fmla="*/ 0 w 877"/>
                <a:gd name="T105" fmla="*/ 0 h 469"/>
                <a:gd name="T106" fmla="*/ 0 w 877"/>
                <a:gd name="T107" fmla="*/ 0 h 469"/>
                <a:gd name="T108" fmla="*/ 0 w 877"/>
                <a:gd name="T109" fmla="*/ 0 h 469"/>
                <a:gd name="T110" fmla="*/ 0 w 877"/>
                <a:gd name="T111" fmla="*/ 0 h 469"/>
                <a:gd name="T112" fmla="*/ 0 w 877"/>
                <a:gd name="T113" fmla="*/ 0 h 469"/>
                <a:gd name="T114" fmla="*/ 0 w 877"/>
                <a:gd name="T115" fmla="*/ 0 h 469"/>
                <a:gd name="T116" fmla="*/ 0 w 877"/>
                <a:gd name="T117" fmla="*/ 0 h 469"/>
                <a:gd name="T118" fmla="*/ 0 w 877"/>
                <a:gd name="T119" fmla="*/ 0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4" name="Freeform 915"/>
            <p:cNvSpPr>
              <a:spLocks/>
            </p:cNvSpPr>
            <p:nvPr>
              <p:custDataLst>
                <p:tags r:id="rId252"/>
              </p:custDataLst>
            </p:nvPr>
          </p:nvSpPr>
          <p:spPr bwMode="auto">
            <a:xfrm>
              <a:off x="3424" y="1485"/>
              <a:ext cx="33" cy="40"/>
            </a:xfrm>
            <a:custGeom>
              <a:avLst/>
              <a:gdLst>
                <a:gd name="T0" fmla="*/ 0 w 107"/>
                <a:gd name="T1" fmla="*/ 0 h 123"/>
                <a:gd name="T2" fmla="*/ 0 w 107"/>
                <a:gd name="T3" fmla="*/ 0 h 123"/>
                <a:gd name="T4" fmla="*/ 0 w 107"/>
                <a:gd name="T5" fmla="*/ 0 h 123"/>
                <a:gd name="T6" fmla="*/ 0 w 107"/>
                <a:gd name="T7" fmla="*/ 0 h 123"/>
                <a:gd name="T8" fmla="*/ 0 w 107"/>
                <a:gd name="T9" fmla="*/ 0 h 123"/>
                <a:gd name="T10" fmla="*/ 0 w 107"/>
                <a:gd name="T11" fmla="*/ 0 h 123"/>
                <a:gd name="T12" fmla="*/ 0 w 107"/>
                <a:gd name="T13" fmla="*/ 0 h 123"/>
                <a:gd name="T14" fmla="*/ 0 w 107"/>
                <a:gd name="T15" fmla="*/ 0 h 123"/>
                <a:gd name="T16" fmla="*/ 0 w 107"/>
                <a:gd name="T17" fmla="*/ 0 h 123"/>
                <a:gd name="T18" fmla="*/ 0 w 107"/>
                <a:gd name="T19" fmla="*/ 0 h 123"/>
                <a:gd name="T20" fmla="*/ 0 w 107"/>
                <a:gd name="T21" fmla="*/ 0 h 123"/>
                <a:gd name="T22" fmla="*/ 0 w 107"/>
                <a:gd name="T23" fmla="*/ 0 h 123"/>
                <a:gd name="T24" fmla="*/ 0 w 107"/>
                <a:gd name="T25" fmla="*/ 0 h 123"/>
                <a:gd name="T26" fmla="*/ 0 w 107"/>
                <a:gd name="T27" fmla="*/ 0 h 123"/>
                <a:gd name="T28" fmla="*/ 0 w 107"/>
                <a:gd name="T29" fmla="*/ 0 h 123"/>
                <a:gd name="T30" fmla="*/ 0 w 107"/>
                <a:gd name="T31" fmla="*/ 0 h 123"/>
                <a:gd name="T32" fmla="*/ 0 w 107"/>
                <a:gd name="T33" fmla="*/ 0 h 123"/>
                <a:gd name="T34" fmla="*/ 0 w 107"/>
                <a:gd name="T35" fmla="*/ 0 h 123"/>
                <a:gd name="T36" fmla="*/ 0 w 107"/>
                <a:gd name="T37" fmla="*/ 0 h 123"/>
                <a:gd name="T38" fmla="*/ 0 w 107"/>
                <a:gd name="T39" fmla="*/ 0 h 123"/>
                <a:gd name="T40" fmla="*/ 0 w 107"/>
                <a:gd name="T41" fmla="*/ 0 h 123"/>
                <a:gd name="T42" fmla="*/ 0 w 107"/>
                <a:gd name="T43" fmla="*/ 0 h 123"/>
                <a:gd name="T44" fmla="*/ 0 w 107"/>
                <a:gd name="T45" fmla="*/ 0 h 123"/>
                <a:gd name="T46" fmla="*/ 0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5" name="Freeform 916"/>
            <p:cNvSpPr>
              <a:spLocks/>
            </p:cNvSpPr>
            <p:nvPr>
              <p:custDataLst>
                <p:tags r:id="rId253"/>
              </p:custDataLst>
            </p:nvPr>
          </p:nvSpPr>
          <p:spPr bwMode="auto">
            <a:xfrm>
              <a:off x="3795" y="1494"/>
              <a:ext cx="142" cy="77"/>
            </a:xfrm>
            <a:custGeom>
              <a:avLst/>
              <a:gdLst>
                <a:gd name="T0" fmla="*/ 0 w 471"/>
                <a:gd name="T1" fmla="*/ 0 h 234"/>
                <a:gd name="T2" fmla="*/ 0 w 471"/>
                <a:gd name="T3" fmla="*/ 0 h 234"/>
                <a:gd name="T4" fmla="*/ 0 w 471"/>
                <a:gd name="T5" fmla="*/ 0 h 234"/>
                <a:gd name="T6" fmla="*/ 0 w 471"/>
                <a:gd name="T7" fmla="*/ 0 h 234"/>
                <a:gd name="T8" fmla="*/ 0 w 471"/>
                <a:gd name="T9" fmla="*/ 0 h 234"/>
                <a:gd name="T10" fmla="*/ 0 w 471"/>
                <a:gd name="T11" fmla="*/ 0 h 234"/>
                <a:gd name="T12" fmla="*/ 0 w 471"/>
                <a:gd name="T13" fmla="*/ 0 h 234"/>
                <a:gd name="T14" fmla="*/ 0 w 471"/>
                <a:gd name="T15" fmla="*/ 0 h 234"/>
                <a:gd name="T16" fmla="*/ 0 w 471"/>
                <a:gd name="T17" fmla="*/ 0 h 234"/>
                <a:gd name="T18" fmla="*/ 0 w 471"/>
                <a:gd name="T19" fmla="*/ 0 h 234"/>
                <a:gd name="T20" fmla="*/ 0 w 471"/>
                <a:gd name="T21" fmla="*/ 0 h 234"/>
                <a:gd name="T22" fmla="*/ 0 w 471"/>
                <a:gd name="T23" fmla="*/ 0 h 234"/>
                <a:gd name="T24" fmla="*/ 0 w 471"/>
                <a:gd name="T25" fmla="*/ 0 h 234"/>
                <a:gd name="T26" fmla="*/ 0 w 471"/>
                <a:gd name="T27" fmla="*/ 0 h 234"/>
                <a:gd name="T28" fmla="*/ 0 w 471"/>
                <a:gd name="T29" fmla="*/ 0 h 234"/>
                <a:gd name="T30" fmla="*/ 0 w 471"/>
                <a:gd name="T31" fmla="*/ 0 h 234"/>
                <a:gd name="T32" fmla="*/ 0 w 471"/>
                <a:gd name="T33" fmla="*/ 0 h 234"/>
                <a:gd name="T34" fmla="*/ 0 w 471"/>
                <a:gd name="T35" fmla="*/ 0 h 234"/>
                <a:gd name="T36" fmla="*/ 0 w 471"/>
                <a:gd name="T37" fmla="*/ 0 h 234"/>
                <a:gd name="T38" fmla="*/ 0 w 471"/>
                <a:gd name="T39" fmla="*/ 0 h 234"/>
                <a:gd name="T40" fmla="*/ 0 w 471"/>
                <a:gd name="T41" fmla="*/ 0 h 234"/>
                <a:gd name="T42" fmla="*/ 0 w 471"/>
                <a:gd name="T43" fmla="*/ 0 h 234"/>
                <a:gd name="T44" fmla="*/ 0 w 471"/>
                <a:gd name="T45" fmla="*/ 0 h 234"/>
                <a:gd name="T46" fmla="*/ 0 w 471"/>
                <a:gd name="T47" fmla="*/ 0 h 234"/>
                <a:gd name="T48" fmla="*/ 0 w 471"/>
                <a:gd name="T49" fmla="*/ 0 h 234"/>
                <a:gd name="T50" fmla="*/ 0 w 471"/>
                <a:gd name="T51" fmla="*/ 0 h 234"/>
                <a:gd name="T52" fmla="*/ 0 w 471"/>
                <a:gd name="T53" fmla="*/ 0 h 234"/>
                <a:gd name="T54" fmla="*/ 0 w 471"/>
                <a:gd name="T55" fmla="*/ 0 h 234"/>
                <a:gd name="T56" fmla="*/ 0 w 471"/>
                <a:gd name="T57" fmla="*/ 0 h 234"/>
                <a:gd name="T58" fmla="*/ 0 w 471"/>
                <a:gd name="T59" fmla="*/ 0 h 234"/>
                <a:gd name="T60" fmla="*/ 0 w 471"/>
                <a:gd name="T61" fmla="*/ 0 h 234"/>
                <a:gd name="T62" fmla="*/ 0 w 471"/>
                <a:gd name="T63" fmla="*/ 0 h 234"/>
                <a:gd name="T64" fmla="*/ 0 w 471"/>
                <a:gd name="T65" fmla="*/ 0 h 234"/>
                <a:gd name="T66" fmla="*/ 0 w 471"/>
                <a:gd name="T67" fmla="*/ 0 h 234"/>
                <a:gd name="T68" fmla="*/ 0 w 471"/>
                <a:gd name="T69" fmla="*/ 0 h 234"/>
                <a:gd name="T70" fmla="*/ 0 w 471"/>
                <a:gd name="T71" fmla="*/ 0 h 234"/>
                <a:gd name="T72" fmla="*/ 0 w 471"/>
                <a:gd name="T73" fmla="*/ 0 h 234"/>
                <a:gd name="T74" fmla="*/ 0 w 471"/>
                <a:gd name="T75" fmla="*/ 0 h 234"/>
                <a:gd name="T76" fmla="*/ 0 w 471"/>
                <a:gd name="T77" fmla="*/ 0 h 234"/>
                <a:gd name="T78" fmla="*/ 0 w 471"/>
                <a:gd name="T79" fmla="*/ 0 h 234"/>
                <a:gd name="T80" fmla="*/ 0 w 471"/>
                <a:gd name="T81" fmla="*/ 0 h 234"/>
                <a:gd name="T82" fmla="*/ 0 w 471"/>
                <a:gd name="T83" fmla="*/ 0 h 234"/>
                <a:gd name="T84" fmla="*/ 0 w 471"/>
                <a:gd name="T85" fmla="*/ 0 h 234"/>
                <a:gd name="T86" fmla="*/ 0 w 471"/>
                <a:gd name="T87" fmla="*/ 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6" name="Freeform 917"/>
            <p:cNvSpPr>
              <a:spLocks/>
            </p:cNvSpPr>
            <p:nvPr>
              <p:custDataLst>
                <p:tags r:id="rId254"/>
              </p:custDataLst>
            </p:nvPr>
          </p:nvSpPr>
          <p:spPr bwMode="auto">
            <a:xfrm>
              <a:off x="3829" y="1449"/>
              <a:ext cx="153" cy="79"/>
            </a:xfrm>
            <a:custGeom>
              <a:avLst/>
              <a:gdLst>
                <a:gd name="T0" fmla="*/ 0 w 525"/>
                <a:gd name="T1" fmla="*/ 0 h 241"/>
                <a:gd name="T2" fmla="*/ 0 w 525"/>
                <a:gd name="T3" fmla="*/ 0 h 241"/>
                <a:gd name="T4" fmla="*/ 0 w 525"/>
                <a:gd name="T5" fmla="*/ 0 h 241"/>
                <a:gd name="T6" fmla="*/ 0 w 525"/>
                <a:gd name="T7" fmla="*/ 0 h 241"/>
                <a:gd name="T8" fmla="*/ 0 w 525"/>
                <a:gd name="T9" fmla="*/ 0 h 241"/>
                <a:gd name="T10" fmla="*/ 0 w 525"/>
                <a:gd name="T11" fmla="*/ 0 h 241"/>
                <a:gd name="T12" fmla="*/ 0 w 525"/>
                <a:gd name="T13" fmla="*/ 0 h 241"/>
                <a:gd name="T14" fmla="*/ 0 w 525"/>
                <a:gd name="T15" fmla="*/ 0 h 241"/>
                <a:gd name="T16" fmla="*/ 0 w 525"/>
                <a:gd name="T17" fmla="*/ 0 h 241"/>
                <a:gd name="T18" fmla="*/ 0 w 525"/>
                <a:gd name="T19" fmla="*/ 0 h 241"/>
                <a:gd name="T20" fmla="*/ 0 w 525"/>
                <a:gd name="T21" fmla="*/ 0 h 241"/>
                <a:gd name="T22" fmla="*/ 0 w 525"/>
                <a:gd name="T23" fmla="*/ 0 h 241"/>
                <a:gd name="T24" fmla="*/ 0 w 525"/>
                <a:gd name="T25" fmla="*/ 0 h 241"/>
                <a:gd name="T26" fmla="*/ 0 w 525"/>
                <a:gd name="T27" fmla="*/ 0 h 241"/>
                <a:gd name="T28" fmla="*/ 0 w 525"/>
                <a:gd name="T29" fmla="*/ 0 h 241"/>
                <a:gd name="T30" fmla="*/ 0 w 525"/>
                <a:gd name="T31" fmla="*/ 0 h 241"/>
                <a:gd name="T32" fmla="*/ 0 w 525"/>
                <a:gd name="T33" fmla="*/ 0 h 241"/>
                <a:gd name="T34" fmla="*/ 0 w 525"/>
                <a:gd name="T35" fmla="*/ 0 h 241"/>
                <a:gd name="T36" fmla="*/ 0 w 525"/>
                <a:gd name="T37" fmla="*/ 0 h 241"/>
                <a:gd name="T38" fmla="*/ 0 w 525"/>
                <a:gd name="T39" fmla="*/ 0 h 241"/>
                <a:gd name="T40" fmla="*/ 0 w 525"/>
                <a:gd name="T41" fmla="*/ 0 h 241"/>
                <a:gd name="T42" fmla="*/ 0 w 525"/>
                <a:gd name="T43" fmla="*/ 0 h 241"/>
                <a:gd name="T44" fmla="*/ 0 w 525"/>
                <a:gd name="T45" fmla="*/ 0 h 241"/>
                <a:gd name="T46" fmla="*/ 0 w 525"/>
                <a:gd name="T47" fmla="*/ 0 h 241"/>
                <a:gd name="T48" fmla="*/ 0 w 525"/>
                <a:gd name="T49" fmla="*/ 0 h 241"/>
                <a:gd name="T50" fmla="*/ 0 w 525"/>
                <a:gd name="T51" fmla="*/ 0 h 241"/>
                <a:gd name="T52" fmla="*/ 0 w 525"/>
                <a:gd name="T53" fmla="*/ 0 h 241"/>
                <a:gd name="T54" fmla="*/ 0 w 525"/>
                <a:gd name="T55" fmla="*/ 0 h 241"/>
                <a:gd name="T56" fmla="*/ 0 w 525"/>
                <a:gd name="T57" fmla="*/ 0 h 241"/>
                <a:gd name="T58" fmla="*/ 0 w 525"/>
                <a:gd name="T59" fmla="*/ 0 h 241"/>
                <a:gd name="T60" fmla="*/ 0 w 525"/>
                <a:gd name="T61" fmla="*/ 0 h 241"/>
                <a:gd name="T62" fmla="*/ 0 w 525"/>
                <a:gd name="T63" fmla="*/ 0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7" name="Freeform 918"/>
            <p:cNvSpPr>
              <a:spLocks/>
            </p:cNvSpPr>
            <p:nvPr>
              <p:custDataLst>
                <p:tags r:id="rId255"/>
              </p:custDataLst>
            </p:nvPr>
          </p:nvSpPr>
          <p:spPr bwMode="auto">
            <a:xfrm>
              <a:off x="3560" y="1459"/>
              <a:ext cx="234" cy="143"/>
            </a:xfrm>
            <a:custGeom>
              <a:avLst/>
              <a:gdLst>
                <a:gd name="T0" fmla="*/ 0 w 784"/>
                <a:gd name="T1" fmla="*/ 0 h 430"/>
                <a:gd name="T2" fmla="*/ 0 w 784"/>
                <a:gd name="T3" fmla="*/ 0 h 430"/>
                <a:gd name="T4" fmla="*/ 0 w 784"/>
                <a:gd name="T5" fmla="*/ 0 h 430"/>
                <a:gd name="T6" fmla="*/ 0 w 784"/>
                <a:gd name="T7" fmla="*/ 0 h 430"/>
                <a:gd name="T8" fmla="*/ 0 w 784"/>
                <a:gd name="T9" fmla="*/ 0 h 430"/>
                <a:gd name="T10" fmla="*/ 0 w 784"/>
                <a:gd name="T11" fmla="*/ 0 h 430"/>
                <a:gd name="T12" fmla="*/ 0 w 784"/>
                <a:gd name="T13" fmla="*/ 0 h 430"/>
                <a:gd name="T14" fmla="*/ 0 w 784"/>
                <a:gd name="T15" fmla="*/ 0 h 430"/>
                <a:gd name="T16" fmla="*/ 0 w 784"/>
                <a:gd name="T17" fmla="*/ 0 h 430"/>
                <a:gd name="T18" fmla="*/ 0 w 784"/>
                <a:gd name="T19" fmla="*/ 0 h 430"/>
                <a:gd name="T20" fmla="*/ 0 w 784"/>
                <a:gd name="T21" fmla="*/ 0 h 430"/>
                <a:gd name="T22" fmla="*/ 0 w 784"/>
                <a:gd name="T23" fmla="*/ 0 h 430"/>
                <a:gd name="T24" fmla="*/ 0 w 784"/>
                <a:gd name="T25" fmla="*/ 0 h 430"/>
                <a:gd name="T26" fmla="*/ 0 w 784"/>
                <a:gd name="T27" fmla="*/ 0 h 430"/>
                <a:gd name="T28" fmla="*/ 0 w 784"/>
                <a:gd name="T29" fmla="*/ 0 h 430"/>
                <a:gd name="T30" fmla="*/ 0 w 784"/>
                <a:gd name="T31" fmla="*/ 0 h 430"/>
                <a:gd name="T32" fmla="*/ 0 w 784"/>
                <a:gd name="T33" fmla="*/ 0 h 430"/>
                <a:gd name="T34" fmla="*/ 0 w 784"/>
                <a:gd name="T35" fmla="*/ 0 h 430"/>
                <a:gd name="T36" fmla="*/ 0 w 784"/>
                <a:gd name="T37" fmla="*/ 0 h 430"/>
                <a:gd name="T38" fmla="*/ 0 w 784"/>
                <a:gd name="T39" fmla="*/ 0 h 430"/>
                <a:gd name="T40" fmla="*/ 0 w 784"/>
                <a:gd name="T41" fmla="*/ 0 h 430"/>
                <a:gd name="T42" fmla="*/ 0 w 784"/>
                <a:gd name="T43" fmla="*/ 0 h 430"/>
                <a:gd name="T44" fmla="*/ 0 w 784"/>
                <a:gd name="T45" fmla="*/ 0 h 430"/>
                <a:gd name="T46" fmla="*/ 0 w 784"/>
                <a:gd name="T47" fmla="*/ 0 h 430"/>
                <a:gd name="T48" fmla="*/ 0 w 784"/>
                <a:gd name="T49" fmla="*/ 0 h 430"/>
                <a:gd name="T50" fmla="*/ 0 w 784"/>
                <a:gd name="T51" fmla="*/ 0 h 430"/>
                <a:gd name="T52" fmla="*/ 0 w 784"/>
                <a:gd name="T53" fmla="*/ 0 h 430"/>
                <a:gd name="T54" fmla="*/ 0 w 784"/>
                <a:gd name="T55" fmla="*/ 0 h 430"/>
                <a:gd name="T56" fmla="*/ 0 w 784"/>
                <a:gd name="T57" fmla="*/ 0 h 430"/>
                <a:gd name="T58" fmla="*/ 0 w 784"/>
                <a:gd name="T59" fmla="*/ 0 h 430"/>
                <a:gd name="T60" fmla="*/ 0 w 784"/>
                <a:gd name="T61" fmla="*/ 0 h 430"/>
                <a:gd name="T62" fmla="*/ 0 w 784"/>
                <a:gd name="T63" fmla="*/ 0 h 430"/>
                <a:gd name="T64" fmla="*/ 0 w 784"/>
                <a:gd name="T65" fmla="*/ 0 h 430"/>
                <a:gd name="T66" fmla="*/ 0 w 784"/>
                <a:gd name="T67" fmla="*/ 0 h 430"/>
                <a:gd name="T68" fmla="*/ 0 w 784"/>
                <a:gd name="T69" fmla="*/ 0 h 430"/>
                <a:gd name="T70" fmla="*/ 0 w 784"/>
                <a:gd name="T71" fmla="*/ 0 h 430"/>
                <a:gd name="T72" fmla="*/ 0 w 784"/>
                <a:gd name="T73" fmla="*/ 0 h 430"/>
                <a:gd name="T74" fmla="*/ 0 w 784"/>
                <a:gd name="T75" fmla="*/ 0 h 430"/>
                <a:gd name="T76" fmla="*/ 0 w 784"/>
                <a:gd name="T77" fmla="*/ 0 h 430"/>
                <a:gd name="T78" fmla="*/ 0 w 784"/>
                <a:gd name="T79" fmla="*/ 0 h 430"/>
                <a:gd name="T80" fmla="*/ 0 w 784"/>
                <a:gd name="T81" fmla="*/ 0 h 430"/>
                <a:gd name="T82" fmla="*/ 0 w 784"/>
                <a:gd name="T83" fmla="*/ 0 h 430"/>
                <a:gd name="T84" fmla="*/ 0 w 784"/>
                <a:gd name="T85" fmla="*/ 0 h 430"/>
                <a:gd name="T86" fmla="*/ 0 w 784"/>
                <a:gd name="T87" fmla="*/ 0 h 430"/>
                <a:gd name="T88" fmla="*/ 0 w 784"/>
                <a:gd name="T89" fmla="*/ 0 h 430"/>
                <a:gd name="T90" fmla="*/ 0 w 784"/>
                <a:gd name="T91" fmla="*/ 0 h 430"/>
                <a:gd name="T92" fmla="*/ 0 w 784"/>
                <a:gd name="T93" fmla="*/ 0 h 430"/>
                <a:gd name="T94" fmla="*/ 0 w 784"/>
                <a:gd name="T95" fmla="*/ 0 h 430"/>
                <a:gd name="T96" fmla="*/ 0 w 784"/>
                <a:gd name="T97" fmla="*/ 0 h 430"/>
                <a:gd name="T98" fmla="*/ 0 w 784"/>
                <a:gd name="T99" fmla="*/ 0 h 430"/>
                <a:gd name="T100" fmla="*/ 0 w 784"/>
                <a:gd name="T101" fmla="*/ 0 h 430"/>
                <a:gd name="T102" fmla="*/ 0 w 784"/>
                <a:gd name="T103" fmla="*/ 0 h 430"/>
                <a:gd name="T104" fmla="*/ 0 w 784"/>
                <a:gd name="T105" fmla="*/ 0 h 430"/>
                <a:gd name="T106" fmla="*/ 0 w 784"/>
                <a:gd name="T107" fmla="*/ 0 h 430"/>
                <a:gd name="T108" fmla="*/ 0 w 784"/>
                <a:gd name="T109" fmla="*/ 0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8" name="Freeform 919"/>
            <p:cNvSpPr>
              <a:spLocks/>
            </p:cNvSpPr>
            <p:nvPr>
              <p:custDataLst>
                <p:tags r:id="rId256"/>
              </p:custDataLst>
            </p:nvPr>
          </p:nvSpPr>
          <p:spPr bwMode="auto">
            <a:xfrm>
              <a:off x="3020" y="1388"/>
              <a:ext cx="74" cy="94"/>
            </a:xfrm>
            <a:custGeom>
              <a:avLst/>
              <a:gdLst>
                <a:gd name="T0" fmla="*/ 0 w 246"/>
                <a:gd name="T1" fmla="*/ 0 h 284"/>
                <a:gd name="T2" fmla="*/ 0 w 246"/>
                <a:gd name="T3" fmla="*/ 0 h 284"/>
                <a:gd name="T4" fmla="*/ 0 w 246"/>
                <a:gd name="T5" fmla="*/ 0 h 284"/>
                <a:gd name="T6" fmla="*/ 0 w 246"/>
                <a:gd name="T7" fmla="*/ 0 h 284"/>
                <a:gd name="T8" fmla="*/ 0 w 246"/>
                <a:gd name="T9" fmla="*/ 0 h 284"/>
                <a:gd name="T10" fmla="*/ 0 w 246"/>
                <a:gd name="T11" fmla="*/ 0 h 284"/>
                <a:gd name="T12" fmla="*/ 0 w 246"/>
                <a:gd name="T13" fmla="*/ 0 h 284"/>
                <a:gd name="T14" fmla="*/ 0 w 246"/>
                <a:gd name="T15" fmla="*/ 0 h 284"/>
                <a:gd name="T16" fmla="*/ 0 w 246"/>
                <a:gd name="T17" fmla="*/ 0 h 284"/>
                <a:gd name="T18" fmla="*/ 0 w 246"/>
                <a:gd name="T19" fmla="*/ 0 h 284"/>
                <a:gd name="T20" fmla="*/ 0 w 246"/>
                <a:gd name="T21" fmla="*/ 0 h 284"/>
                <a:gd name="T22" fmla="*/ 0 w 246"/>
                <a:gd name="T23" fmla="*/ 0 h 284"/>
                <a:gd name="T24" fmla="*/ 0 w 246"/>
                <a:gd name="T25" fmla="*/ 0 h 284"/>
                <a:gd name="T26" fmla="*/ 0 w 246"/>
                <a:gd name="T27" fmla="*/ 0 h 284"/>
                <a:gd name="T28" fmla="*/ 0 w 246"/>
                <a:gd name="T29" fmla="*/ 0 h 284"/>
                <a:gd name="T30" fmla="*/ 0 w 246"/>
                <a:gd name="T31" fmla="*/ 0 h 284"/>
                <a:gd name="T32" fmla="*/ 0 w 246"/>
                <a:gd name="T33" fmla="*/ 0 h 284"/>
                <a:gd name="T34" fmla="*/ 0 w 246"/>
                <a:gd name="T35" fmla="*/ 0 h 284"/>
                <a:gd name="T36" fmla="*/ 0 w 246"/>
                <a:gd name="T37" fmla="*/ 0 h 284"/>
                <a:gd name="T38" fmla="*/ 0 w 246"/>
                <a:gd name="T39" fmla="*/ 0 h 284"/>
                <a:gd name="T40" fmla="*/ 0 w 246"/>
                <a:gd name="T41" fmla="*/ 0 h 284"/>
                <a:gd name="T42" fmla="*/ 0 w 246"/>
                <a:gd name="T43" fmla="*/ 0 h 284"/>
                <a:gd name="T44" fmla="*/ 0 w 246"/>
                <a:gd name="T45" fmla="*/ 0 h 284"/>
                <a:gd name="T46" fmla="*/ 0 w 246"/>
                <a:gd name="T47" fmla="*/ 0 h 284"/>
                <a:gd name="T48" fmla="*/ 0 w 246"/>
                <a:gd name="T49" fmla="*/ 0 h 284"/>
                <a:gd name="T50" fmla="*/ 0 w 246"/>
                <a:gd name="T51" fmla="*/ 0 h 284"/>
                <a:gd name="T52" fmla="*/ 0 w 246"/>
                <a:gd name="T53" fmla="*/ 0 h 284"/>
                <a:gd name="T54" fmla="*/ 0 w 246"/>
                <a:gd name="T55" fmla="*/ 0 h 284"/>
                <a:gd name="T56" fmla="*/ 0 w 246"/>
                <a:gd name="T57" fmla="*/ 0 h 284"/>
                <a:gd name="T58" fmla="*/ 0 w 246"/>
                <a:gd name="T59" fmla="*/ 0 h 284"/>
                <a:gd name="T60" fmla="*/ 0 w 246"/>
                <a:gd name="T61" fmla="*/ 0 h 284"/>
                <a:gd name="T62" fmla="*/ 0 w 246"/>
                <a:gd name="T63" fmla="*/ 0 h 284"/>
                <a:gd name="T64" fmla="*/ 0 w 246"/>
                <a:gd name="T65" fmla="*/ 0 h 284"/>
                <a:gd name="T66" fmla="*/ 0 w 246"/>
                <a:gd name="T67" fmla="*/ 0 h 284"/>
                <a:gd name="T68" fmla="*/ 0 w 246"/>
                <a:gd name="T69" fmla="*/ 0 h 284"/>
                <a:gd name="T70" fmla="*/ 0 w 246"/>
                <a:gd name="T71" fmla="*/ 0 h 284"/>
                <a:gd name="T72" fmla="*/ 0 w 246"/>
                <a:gd name="T73" fmla="*/ 0 h 284"/>
                <a:gd name="T74" fmla="*/ 0 w 246"/>
                <a:gd name="T75" fmla="*/ 0 h 284"/>
                <a:gd name="T76" fmla="*/ 0 w 246"/>
                <a:gd name="T77" fmla="*/ 0 h 284"/>
                <a:gd name="T78" fmla="*/ 0 w 246"/>
                <a:gd name="T79" fmla="*/ 0 h 284"/>
                <a:gd name="T80" fmla="*/ 0 w 246"/>
                <a:gd name="T81" fmla="*/ 0 h 284"/>
                <a:gd name="T82" fmla="*/ 0 w 246"/>
                <a:gd name="T83" fmla="*/ 0 h 284"/>
                <a:gd name="T84" fmla="*/ 0 w 246"/>
                <a:gd name="T85" fmla="*/ 0 h 284"/>
                <a:gd name="T86" fmla="*/ 0 w 246"/>
                <a:gd name="T87" fmla="*/ 0 h 284"/>
                <a:gd name="T88" fmla="*/ 0 w 246"/>
                <a:gd name="T89" fmla="*/ 0 h 284"/>
                <a:gd name="T90" fmla="*/ 0 w 246"/>
                <a:gd name="T91" fmla="*/ 0 h 284"/>
                <a:gd name="T92" fmla="*/ 0 w 246"/>
                <a:gd name="T93" fmla="*/ 0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9" name="Freeform 920"/>
            <p:cNvSpPr>
              <a:spLocks/>
            </p:cNvSpPr>
            <p:nvPr>
              <p:custDataLst>
                <p:tags r:id="rId257"/>
              </p:custDataLst>
            </p:nvPr>
          </p:nvSpPr>
          <p:spPr bwMode="auto">
            <a:xfrm>
              <a:off x="3053" y="1456"/>
              <a:ext cx="46"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0" name="Freeform 921"/>
            <p:cNvSpPr>
              <a:spLocks/>
            </p:cNvSpPr>
            <p:nvPr>
              <p:custDataLst>
                <p:tags r:id="rId258"/>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1" name="Freeform 922"/>
            <p:cNvSpPr>
              <a:spLocks/>
            </p:cNvSpPr>
            <p:nvPr>
              <p:custDataLst>
                <p:tags r:id="rId259"/>
              </p:custDataLst>
            </p:nvPr>
          </p:nvSpPr>
          <p:spPr bwMode="auto">
            <a:xfrm>
              <a:off x="3441" y="2063"/>
              <a:ext cx="167" cy="272"/>
            </a:xfrm>
            <a:custGeom>
              <a:avLst/>
              <a:gdLst>
                <a:gd name="T0" fmla="*/ 0 w 556"/>
                <a:gd name="T1" fmla="*/ 0 h 819"/>
                <a:gd name="T2" fmla="*/ 0 w 556"/>
                <a:gd name="T3" fmla="*/ 0 h 819"/>
                <a:gd name="T4" fmla="*/ 0 w 556"/>
                <a:gd name="T5" fmla="*/ 0 h 819"/>
                <a:gd name="T6" fmla="*/ 0 w 556"/>
                <a:gd name="T7" fmla="*/ 0 h 819"/>
                <a:gd name="T8" fmla="*/ 0 w 556"/>
                <a:gd name="T9" fmla="*/ 0 h 819"/>
                <a:gd name="T10" fmla="*/ 0 w 556"/>
                <a:gd name="T11" fmla="*/ 0 h 819"/>
                <a:gd name="T12" fmla="*/ 0 w 556"/>
                <a:gd name="T13" fmla="*/ 0 h 819"/>
                <a:gd name="T14" fmla="*/ 0 w 556"/>
                <a:gd name="T15" fmla="*/ 0 h 819"/>
                <a:gd name="T16" fmla="*/ 0 w 556"/>
                <a:gd name="T17" fmla="*/ 0 h 819"/>
                <a:gd name="T18" fmla="*/ 0 w 556"/>
                <a:gd name="T19" fmla="*/ 0 h 819"/>
                <a:gd name="T20" fmla="*/ 0 w 556"/>
                <a:gd name="T21" fmla="*/ 0 h 819"/>
                <a:gd name="T22" fmla="*/ 0 w 556"/>
                <a:gd name="T23" fmla="*/ 0 h 819"/>
                <a:gd name="T24" fmla="*/ 0 w 556"/>
                <a:gd name="T25" fmla="*/ 0 h 819"/>
                <a:gd name="T26" fmla="*/ 0 w 556"/>
                <a:gd name="T27" fmla="*/ 0 h 819"/>
                <a:gd name="T28" fmla="*/ 0 w 556"/>
                <a:gd name="T29" fmla="*/ 0 h 819"/>
                <a:gd name="T30" fmla="*/ 0 w 556"/>
                <a:gd name="T31" fmla="*/ 0 h 819"/>
                <a:gd name="T32" fmla="*/ 0 w 556"/>
                <a:gd name="T33" fmla="*/ 0 h 819"/>
                <a:gd name="T34" fmla="*/ 0 w 556"/>
                <a:gd name="T35" fmla="*/ 0 h 819"/>
                <a:gd name="T36" fmla="*/ 0 w 556"/>
                <a:gd name="T37" fmla="*/ 0 h 819"/>
                <a:gd name="T38" fmla="*/ 0 w 556"/>
                <a:gd name="T39" fmla="*/ 0 h 819"/>
                <a:gd name="T40" fmla="*/ 0 w 556"/>
                <a:gd name="T41" fmla="*/ 0 h 819"/>
                <a:gd name="T42" fmla="*/ 0 w 556"/>
                <a:gd name="T43" fmla="*/ 0 h 819"/>
                <a:gd name="T44" fmla="*/ 0 w 556"/>
                <a:gd name="T45" fmla="*/ 0 h 819"/>
                <a:gd name="T46" fmla="*/ 0 w 556"/>
                <a:gd name="T47" fmla="*/ 0 h 819"/>
                <a:gd name="T48" fmla="*/ 0 w 556"/>
                <a:gd name="T49" fmla="*/ 0 h 819"/>
                <a:gd name="T50" fmla="*/ 0 w 556"/>
                <a:gd name="T51" fmla="*/ 0 h 819"/>
                <a:gd name="T52" fmla="*/ 0 w 556"/>
                <a:gd name="T53" fmla="*/ 0 h 819"/>
                <a:gd name="T54" fmla="*/ 0 w 556"/>
                <a:gd name="T55" fmla="*/ 0 h 819"/>
                <a:gd name="T56" fmla="*/ 0 w 556"/>
                <a:gd name="T57" fmla="*/ 0 h 819"/>
                <a:gd name="T58" fmla="*/ 0 w 556"/>
                <a:gd name="T59" fmla="*/ 0 h 819"/>
                <a:gd name="T60" fmla="*/ 0 w 556"/>
                <a:gd name="T61" fmla="*/ 0 h 819"/>
                <a:gd name="T62" fmla="*/ 0 w 556"/>
                <a:gd name="T63" fmla="*/ 0 h 819"/>
                <a:gd name="T64" fmla="*/ 0 w 556"/>
                <a:gd name="T65" fmla="*/ 0 h 819"/>
                <a:gd name="T66" fmla="*/ 0 w 556"/>
                <a:gd name="T67" fmla="*/ 0 h 819"/>
                <a:gd name="T68" fmla="*/ 0 w 556"/>
                <a:gd name="T69" fmla="*/ 0 h 819"/>
                <a:gd name="T70" fmla="*/ 0 w 556"/>
                <a:gd name="T71" fmla="*/ 0 h 819"/>
                <a:gd name="T72" fmla="*/ 0 w 556"/>
                <a:gd name="T73" fmla="*/ 0 h 819"/>
                <a:gd name="T74" fmla="*/ 0 w 556"/>
                <a:gd name="T75" fmla="*/ 0 h 819"/>
                <a:gd name="T76" fmla="*/ 0 w 556"/>
                <a:gd name="T77" fmla="*/ 0 h 819"/>
                <a:gd name="T78" fmla="*/ 0 w 556"/>
                <a:gd name="T79" fmla="*/ 0 h 819"/>
                <a:gd name="T80" fmla="*/ 0 w 556"/>
                <a:gd name="T81" fmla="*/ 0 h 819"/>
                <a:gd name="T82" fmla="*/ 0 w 556"/>
                <a:gd name="T83" fmla="*/ 0 h 819"/>
                <a:gd name="T84" fmla="*/ 0 w 556"/>
                <a:gd name="T85" fmla="*/ 0 h 819"/>
                <a:gd name="T86" fmla="*/ 0 w 556"/>
                <a:gd name="T87" fmla="*/ 0 h 819"/>
                <a:gd name="T88" fmla="*/ 0 w 556"/>
                <a:gd name="T89" fmla="*/ 0 h 819"/>
                <a:gd name="T90" fmla="*/ 0 w 556"/>
                <a:gd name="T91" fmla="*/ 0 h 819"/>
                <a:gd name="T92" fmla="*/ 0 w 556"/>
                <a:gd name="T93" fmla="*/ 0 h 819"/>
                <a:gd name="T94" fmla="*/ 0 w 556"/>
                <a:gd name="T95" fmla="*/ 0 h 819"/>
                <a:gd name="T96" fmla="*/ 0 w 556"/>
                <a:gd name="T97" fmla="*/ 0 h 819"/>
                <a:gd name="T98" fmla="*/ 0 w 556"/>
                <a:gd name="T99" fmla="*/ 0 h 819"/>
                <a:gd name="T100" fmla="*/ 0 w 556"/>
                <a:gd name="T101" fmla="*/ 0 h 819"/>
                <a:gd name="T102" fmla="*/ 0 w 556"/>
                <a:gd name="T103" fmla="*/ 0 h 819"/>
                <a:gd name="T104" fmla="*/ 0 w 556"/>
                <a:gd name="T105" fmla="*/ 0 h 819"/>
                <a:gd name="T106" fmla="*/ 0 w 556"/>
                <a:gd name="T107" fmla="*/ 0 h 819"/>
                <a:gd name="T108" fmla="*/ 0 w 556"/>
                <a:gd name="T109" fmla="*/ 0 h 819"/>
                <a:gd name="T110" fmla="*/ 0 w 556"/>
                <a:gd name="T111" fmla="*/ 0 h 819"/>
                <a:gd name="T112" fmla="*/ 0 w 556"/>
                <a:gd name="T113" fmla="*/ 0 h 819"/>
                <a:gd name="T114" fmla="*/ 0 w 556"/>
                <a:gd name="T115" fmla="*/ 0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2" name="Freeform 923"/>
            <p:cNvSpPr>
              <a:spLocks/>
            </p:cNvSpPr>
            <p:nvPr>
              <p:custDataLst>
                <p:tags r:id="rId260"/>
              </p:custDataLst>
            </p:nvPr>
          </p:nvSpPr>
          <p:spPr bwMode="auto">
            <a:xfrm>
              <a:off x="3446" y="2055"/>
              <a:ext cx="26" cy="37"/>
            </a:xfrm>
            <a:custGeom>
              <a:avLst/>
              <a:gdLst>
                <a:gd name="T0" fmla="*/ 0 w 86"/>
                <a:gd name="T1" fmla="*/ 0 h 97"/>
                <a:gd name="T2" fmla="*/ 0 w 86"/>
                <a:gd name="T3" fmla="*/ 0 h 97"/>
                <a:gd name="T4" fmla="*/ 0 w 86"/>
                <a:gd name="T5" fmla="*/ 0 h 97"/>
                <a:gd name="T6" fmla="*/ 0 w 86"/>
                <a:gd name="T7" fmla="*/ 0 h 97"/>
                <a:gd name="T8" fmla="*/ 0 w 86"/>
                <a:gd name="T9" fmla="*/ 0 h 97"/>
                <a:gd name="T10" fmla="*/ 0 w 86"/>
                <a:gd name="T11" fmla="*/ 0 h 97"/>
                <a:gd name="T12" fmla="*/ 0 w 86"/>
                <a:gd name="T13" fmla="*/ 0 h 97"/>
                <a:gd name="T14" fmla="*/ 0 w 86"/>
                <a:gd name="T15" fmla="*/ 0 h 97"/>
                <a:gd name="T16" fmla="*/ 0 w 86"/>
                <a:gd name="T17" fmla="*/ 0 h 97"/>
                <a:gd name="T18" fmla="*/ 0 w 86"/>
                <a:gd name="T19" fmla="*/ 0 h 97"/>
                <a:gd name="T20" fmla="*/ 0 w 86"/>
                <a:gd name="T21" fmla="*/ 0 h 97"/>
                <a:gd name="T22" fmla="*/ 0 w 86"/>
                <a:gd name="T23" fmla="*/ 0 h 97"/>
                <a:gd name="T24" fmla="*/ 0 w 86"/>
                <a:gd name="T25" fmla="*/ 0 h 97"/>
                <a:gd name="T26" fmla="*/ 0 w 86"/>
                <a:gd name="T27" fmla="*/ 0 h 97"/>
                <a:gd name="T28" fmla="*/ 0 w 86"/>
                <a:gd name="T29" fmla="*/ 0 h 97"/>
                <a:gd name="T30" fmla="*/ 0 w 86"/>
                <a:gd name="T31" fmla="*/ 0 h 97"/>
                <a:gd name="T32" fmla="*/ 0 w 86"/>
                <a:gd name="T33" fmla="*/ 0 h 97"/>
                <a:gd name="T34" fmla="*/ 0 w 86"/>
                <a:gd name="T35" fmla="*/ 0 h 97"/>
                <a:gd name="T36" fmla="*/ 0 w 86"/>
                <a:gd name="T37" fmla="*/ 0 h 97"/>
                <a:gd name="T38" fmla="*/ 0 w 86"/>
                <a:gd name="T39" fmla="*/ 0 h 97"/>
                <a:gd name="T40" fmla="*/ 0 w 86"/>
                <a:gd name="T41" fmla="*/ 0 h 97"/>
                <a:gd name="T42" fmla="*/ 0 w 86"/>
                <a:gd name="T43" fmla="*/ 0 h 97"/>
                <a:gd name="T44" fmla="*/ 0 w 86"/>
                <a:gd name="T45" fmla="*/ 0 h 97"/>
                <a:gd name="T46" fmla="*/ 0 w 86"/>
                <a:gd name="T47" fmla="*/ 0 h 97"/>
                <a:gd name="T48" fmla="*/ 0 w 86"/>
                <a:gd name="T49" fmla="*/ 0 h 97"/>
                <a:gd name="T50" fmla="*/ 0 w 86"/>
                <a:gd name="T51" fmla="*/ 0 h 97"/>
                <a:gd name="T52" fmla="*/ 0 w 86"/>
                <a:gd name="T53" fmla="*/ 0 h 97"/>
                <a:gd name="T54" fmla="*/ 0 w 86"/>
                <a:gd name="T55" fmla="*/ 0 h 97"/>
                <a:gd name="T56" fmla="*/ 0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3" name="Freeform 924"/>
            <p:cNvSpPr>
              <a:spLocks/>
            </p:cNvSpPr>
            <p:nvPr>
              <p:custDataLst>
                <p:tags r:id="rId261"/>
              </p:custDataLst>
            </p:nvPr>
          </p:nvSpPr>
          <p:spPr bwMode="auto">
            <a:xfrm>
              <a:off x="3309" y="1999"/>
              <a:ext cx="248" cy="237"/>
            </a:xfrm>
            <a:custGeom>
              <a:avLst/>
              <a:gdLst>
                <a:gd name="T0" fmla="*/ 0 w 845"/>
                <a:gd name="T1" fmla="*/ 0 h 720"/>
                <a:gd name="T2" fmla="*/ 0 w 845"/>
                <a:gd name="T3" fmla="*/ 0 h 720"/>
                <a:gd name="T4" fmla="*/ 0 w 845"/>
                <a:gd name="T5" fmla="*/ 0 h 720"/>
                <a:gd name="T6" fmla="*/ 0 w 845"/>
                <a:gd name="T7" fmla="*/ 0 h 720"/>
                <a:gd name="T8" fmla="*/ 0 w 845"/>
                <a:gd name="T9" fmla="*/ 0 h 720"/>
                <a:gd name="T10" fmla="*/ 0 w 845"/>
                <a:gd name="T11" fmla="*/ 0 h 720"/>
                <a:gd name="T12" fmla="*/ 0 w 845"/>
                <a:gd name="T13" fmla="*/ 0 h 720"/>
                <a:gd name="T14" fmla="*/ 0 w 845"/>
                <a:gd name="T15" fmla="*/ 0 h 720"/>
                <a:gd name="T16" fmla="*/ 0 w 845"/>
                <a:gd name="T17" fmla="*/ 0 h 720"/>
                <a:gd name="T18" fmla="*/ 0 w 845"/>
                <a:gd name="T19" fmla="*/ 0 h 720"/>
                <a:gd name="T20" fmla="*/ 0 w 845"/>
                <a:gd name="T21" fmla="*/ 0 h 720"/>
                <a:gd name="T22" fmla="*/ 0 w 845"/>
                <a:gd name="T23" fmla="*/ 0 h 720"/>
                <a:gd name="T24" fmla="*/ 0 w 845"/>
                <a:gd name="T25" fmla="*/ 0 h 720"/>
                <a:gd name="T26" fmla="*/ 0 w 845"/>
                <a:gd name="T27" fmla="*/ 0 h 720"/>
                <a:gd name="T28" fmla="*/ 0 w 845"/>
                <a:gd name="T29" fmla="*/ 0 h 720"/>
                <a:gd name="T30" fmla="*/ 0 w 845"/>
                <a:gd name="T31" fmla="*/ 0 h 720"/>
                <a:gd name="T32" fmla="*/ 0 w 845"/>
                <a:gd name="T33" fmla="*/ 0 h 720"/>
                <a:gd name="T34" fmla="*/ 0 w 845"/>
                <a:gd name="T35" fmla="*/ 0 h 720"/>
                <a:gd name="T36" fmla="*/ 0 w 845"/>
                <a:gd name="T37" fmla="*/ 0 h 720"/>
                <a:gd name="T38" fmla="*/ 0 w 845"/>
                <a:gd name="T39" fmla="*/ 0 h 720"/>
                <a:gd name="T40" fmla="*/ 0 w 845"/>
                <a:gd name="T41" fmla="*/ 0 h 720"/>
                <a:gd name="T42" fmla="*/ 0 w 845"/>
                <a:gd name="T43" fmla="*/ 0 h 720"/>
                <a:gd name="T44" fmla="*/ 0 w 845"/>
                <a:gd name="T45" fmla="*/ 0 h 720"/>
                <a:gd name="T46" fmla="*/ 0 w 845"/>
                <a:gd name="T47" fmla="*/ 0 h 720"/>
                <a:gd name="T48" fmla="*/ 0 w 845"/>
                <a:gd name="T49" fmla="*/ 0 h 720"/>
                <a:gd name="T50" fmla="*/ 0 w 845"/>
                <a:gd name="T51" fmla="*/ 0 h 720"/>
                <a:gd name="T52" fmla="*/ 0 w 845"/>
                <a:gd name="T53" fmla="*/ 0 h 720"/>
                <a:gd name="T54" fmla="*/ 0 w 845"/>
                <a:gd name="T55" fmla="*/ 0 h 720"/>
                <a:gd name="T56" fmla="*/ 0 w 845"/>
                <a:gd name="T57" fmla="*/ 0 h 720"/>
                <a:gd name="T58" fmla="*/ 0 w 845"/>
                <a:gd name="T59" fmla="*/ 0 h 720"/>
                <a:gd name="T60" fmla="*/ 0 w 845"/>
                <a:gd name="T61" fmla="*/ 0 h 720"/>
                <a:gd name="T62" fmla="*/ 0 w 845"/>
                <a:gd name="T63" fmla="*/ 0 h 720"/>
                <a:gd name="T64" fmla="*/ 0 w 845"/>
                <a:gd name="T65" fmla="*/ 0 h 720"/>
                <a:gd name="T66" fmla="*/ 0 w 845"/>
                <a:gd name="T67" fmla="*/ 0 h 720"/>
                <a:gd name="T68" fmla="*/ 0 w 845"/>
                <a:gd name="T69" fmla="*/ 0 h 720"/>
                <a:gd name="T70" fmla="*/ 0 w 845"/>
                <a:gd name="T71" fmla="*/ 0 h 720"/>
                <a:gd name="T72" fmla="*/ 0 w 845"/>
                <a:gd name="T73" fmla="*/ 0 h 720"/>
                <a:gd name="T74" fmla="*/ 0 w 845"/>
                <a:gd name="T75" fmla="*/ 0 h 720"/>
                <a:gd name="T76" fmla="*/ 0 w 845"/>
                <a:gd name="T77" fmla="*/ 0 h 720"/>
                <a:gd name="T78" fmla="*/ 0 w 845"/>
                <a:gd name="T79" fmla="*/ 0 h 720"/>
                <a:gd name="T80" fmla="*/ 0 w 845"/>
                <a:gd name="T81" fmla="*/ 0 h 720"/>
                <a:gd name="T82" fmla="*/ 0 w 845"/>
                <a:gd name="T83" fmla="*/ 0 h 720"/>
                <a:gd name="T84" fmla="*/ 0 w 845"/>
                <a:gd name="T85" fmla="*/ 0 h 720"/>
                <a:gd name="T86" fmla="*/ 0 w 845"/>
                <a:gd name="T87" fmla="*/ 0 h 720"/>
                <a:gd name="T88" fmla="*/ 0 w 845"/>
                <a:gd name="T89" fmla="*/ 0 h 720"/>
                <a:gd name="T90" fmla="*/ 0 w 845"/>
                <a:gd name="T91" fmla="*/ 0 h 720"/>
                <a:gd name="T92" fmla="*/ 0 w 845"/>
                <a:gd name="T93" fmla="*/ 0 h 720"/>
                <a:gd name="T94" fmla="*/ 0 w 845"/>
                <a:gd name="T95" fmla="*/ 0 h 720"/>
                <a:gd name="T96" fmla="*/ 0 w 845"/>
                <a:gd name="T97" fmla="*/ 0 h 720"/>
                <a:gd name="T98" fmla="*/ 0 w 845"/>
                <a:gd name="T99" fmla="*/ 0 h 720"/>
                <a:gd name="T100" fmla="*/ 0 w 845"/>
                <a:gd name="T101" fmla="*/ 0 h 720"/>
                <a:gd name="T102" fmla="*/ 0 w 845"/>
                <a:gd name="T103" fmla="*/ 0 h 720"/>
                <a:gd name="T104" fmla="*/ 0 w 845"/>
                <a:gd name="T105" fmla="*/ 0 h 720"/>
                <a:gd name="T106" fmla="*/ 0 w 845"/>
                <a:gd name="T107" fmla="*/ 0 h 720"/>
                <a:gd name="T108" fmla="*/ 0 w 845"/>
                <a:gd name="T109" fmla="*/ 0 h 720"/>
                <a:gd name="T110" fmla="*/ 0 w 845"/>
                <a:gd name="T111" fmla="*/ 0 h 720"/>
                <a:gd name="T112" fmla="*/ 0 w 845"/>
                <a:gd name="T113" fmla="*/ 0 h 720"/>
                <a:gd name="T114" fmla="*/ 0 w 845"/>
                <a:gd name="T115" fmla="*/ 0 h 720"/>
                <a:gd name="T116" fmla="*/ 0 w 845"/>
                <a:gd name="T117" fmla="*/ 0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4" name="Line 925"/>
            <p:cNvSpPr>
              <a:spLocks noChangeShapeType="1"/>
            </p:cNvSpPr>
            <p:nvPr>
              <p:custDataLst>
                <p:tags r:id="rId262"/>
              </p:custDataLst>
            </p:nvPr>
          </p:nvSpPr>
          <p:spPr bwMode="auto">
            <a:xfrm flipH="1">
              <a:off x="1166" y="2326"/>
              <a:ext cx="3" cy="5"/>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15" name="Freeform 926"/>
            <p:cNvSpPr>
              <a:spLocks/>
            </p:cNvSpPr>
            <p:nvPr>
              <p:custDataLst>
                <p:tags r:id="rId263"/>
              </p:custDataLst>
            </p:nvPr>
          </p:nvSpPr>
          <p:spPr bwMode="auto">
            <a:xfrm>
              <a:off x="1166" y="2331"/>
              <a:ext cx="8" cy="37"/>
            </a:xfrm>
            <a:custGeom>
              <a:avLst/>
              <a:gdLst>
                <a:gd name="T0" fmla="*/ 0 w 33"/>
                <a:gd name="T1" fmla="*/ 0 h 6"/>
                <a:gd name="T2" fmla="*/ 0 w 33"/>
                <a:gd name="T3" fmla="*/ 2147483647 h 6"/>
                <a:gd name="T4" fmla="*/ 0 w 33"/>
                <a:gd name="T5" fmla="*/ 2147483647 h 6"/>
                <a:gd name="T6" fmla="*/ 0 w 33"/>
                <a:gd name="T7" fmla="*/ 2147483647 h 6"/>
                <a:gd name="T8" fmla="*/ 0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6" name="Freeform 927"/>
            <p:cNvSpPr>
              <a:spLocks/>
            </p:cNvSpPr>
            <p:nvPr>
              <p:custDataLst>
                <p:tags r:id="rId264"/>
              </p:custDataLst>
            </p:nvPr>
          </p:nvSpPr>
          <p:spPr bwMode="auto">
            <a:xfrm>
              <a:off x="1171" y="2323"/>
              <a:ext cx="3" cy="36"/>
            </a:xfrm>
            <a:custGeom>
              <a:avLst/>
              <a:gdLst>
                <a:gd name="T0" fmla="*/ 0 w 13"/>
                <a:gd name="T1" fmla="*/ 1144 h 30"/>
                <a:gd name="T2" fmla="*/ 0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2" name="Group 928"/>
            <p:cNvGrpSpPr>
              <a:grpSpLocks/>
            </p:cNvGrpSpPr>
            <p:nvPr>
              <p:custDataLst>
                <p:tags r:id="rId265"/>
              </p:custDataLst>
            </p:nvPr>
          </p:nvGrpSpPr>
          <p:grpSpPr bwMode="auto">
            <a:xfrm>
              <a:off x="1166" y="2282"/>
              <a:ext cx="285" cy="127"/>
              <a:chOff x="912" y="2626"/>
              <a:chExt cx="311" cy="127"/>
            </a:xfrm>
            <a:grpFill/>
          </p:grpSpPr>
          <p:sp>
            <p:nvSpPr>
              <p:cNvPr id="18903" name="Freeform 929"/>
              <p:cNvSpPr>
                <a:spLocks/>
              </p:cNvSpPr>
              <p:nvPr/>
            </p:nvSpPr>
            <p:spPr bwMode="auto">
              <a:xfrm>
                <a:off x="1110" y="2626"/>
                <a:ext cx="113" cy="127"/>
              </a:xfrm>
              <a:custGeom>
                <a:avLst/>
                <a:gdLst>
                  <a:gd name="T0" fmla="*/ 0 w 352"/>
                  <a:gd name="T1" fmla="*/ 0 h 387"/>
                  <a:gd name="T2" fmla="*/ 0 w 352"/>
                  <a:gd name="T3" fmla="*/ 0 h 387"/>
                  <a:gd name="T4" fmla="*/ 0 w 352"/>
                  <a:gd name="T5" fmla="*/ 0 h 387"/>
                  <a:gd name="T6" fmla="*/ 0 w 352"/>
                  <a:gd name="T7" fmla="*/ 0 h 387"/>
                  <a:gd name="T8" fmla="*/ 0 w 352"/>
                  <a:gd name="T9" fmla="*/ 0 h 387"/>
                  <a:gd name="T10" fmla="*/ 0 w 352"/>
                  <a:gd name="T11" fmla="*/ 0 h 387"/>
                  <a:gd name="T12" fmla="*/ 0 w 352"/>
                  <a:gd name="T13" fmla="*/ 0 h 387"/>
                  <a:gd name="T14" fmla="*/ 0 w 352"/>
                  <a:gd name="T15" fmla="*/ 0 h 387"/>
                  <a:gd name="T16" fmla="*/ 0 w 352"/>
                  <a:gd name="T17" fmla="*/ 0 h 387"/>
                  <a:gd name="T18" fmla="*/ 0 w 352"/>
                  <a:gd name="T19" fmla="*/ 0 h 387"/>
                  <a:gd name="T20" fmla="*/ 0 w 352"/>
                  <a:gd name="T21" fmla="*/ 0 h 387"/>
                  <a:gd name="T22" fmla="*/ 0 w 352"/>
                  <a:gd name="T23" fmla="*/ 0 h 387"/>
                  <a:gd name="T24" fmla="*/ 0 w 352"/>
                  <a:gd name="T25" fmla="*/ 0 h 387"/>
                  <a:gd name="T26" fmla="*/ 0 w 352"/>
                  <a:gd name="T27" fmla="*/ 0 h 387"/>
                  <a:gd name="T28" fmla="*/ 0 w 352"/>
                  <a:gd name="T29" fmla="*/ 0 h 387"/>
                  <a:gd name="T30" fmla="*/ 0 w 352"/>
                  <a:gd name="T31" fmla="*/ 0 h 387"/>
                  <a:gd name="T32" fmla="*/ 0 w 352"/>
                  <a:gd name="T33" fmla="*/ 0 h 387"/>
                  <a:gd name="T34" fmla="*/ 0 w 352"/>
                  <a:gd name="T35" fmla="*/ 0 h 387"/>
                  <a:gd name="T36" fmla="*/ 0 w 352"/>
                  <a:gd name="T37" fmla="*/ 0 h 387"/>
                  <a:gd name="T38" fmla="*/ 0 w 352"/>
                  <a:gd name="T39" fmla="*/ 0 h 387"/>
                  <a:gd name="T40" fmla="*/ 0 w 352"/>
                  <a:gd name="T41" fmla="*/ 0 h 387"/>
                  <a:gd name="T42" fmla="*/ 0 w 352"/>
                  <a:gd name="T43" fmla="*/ 0 h 387"/>
                  <a:gd name="T44" fmla="*/ 0 w 352"/>
                  <a:gd name="T45" fmla="*/ 0 h 387"/>
                  <a:gd name="T46" fmla="*/ 0 w 352"/>
                  <a:gd name="T47" fmla="*/ 0 h 387"/>
                  <a:gd name="T48" fmla="*/ 0 w 352"/>
                  <a:gd name="T49" fmla="*/ 0 h 387"/>
                  <a:gd name="T50" fmla="*/ 0 w 352"/>
                  <a:gd name="T51" fmla="*/ 0 h 387"/>
                  <a:gd name="T52" fmla="*/ 0 w 352"/>
                  <a:gd name="T53" fmla="*/ 0 h 387"/>
                  <a:gd name="T54" fmla="*/ 0 w 352"/>
                  <a:gd name="T55" fmla="*/ 0 h 387"/>
                  <a:gd name="T56" fmla="*/ 0 w 352"/>
                  <a:gd name="T57" fmla="*/ 0 h 387"/>
                  <a:gd name="T58" fmla="*/ 0 w 352"/>
                  <a:gd name="T59" fmla="*/ 0 h 387"/>
                  <a:gd name="T60" fmla="*/ 0 w 352"/>
                  <a:gd name="T61" fmla="*/ 0 h 387"/>
                  <a:gd name="T62" fmla="*/ 0 w 352"/>
                  <a:gd name="T63" fmla="*/ 0 h 387"/>
                  <a:gd name="T64" fmla="*/ 0 w 352"/>
                  <a:gd name="T65" fmla="*/ 0 h 387"/>
                  <a:gd name="T66" fmla="*/ 0 w 352"/>
                  <a:gd name="T67" fmla="*/ 0 h 387"/>
                  <a:gd name="T68" fmla="*/ 0 w 352"/>
                  <a:gd name="T69" fmla="*/ 0 h 387"/>
                  <a:gd name="T70" fmla="*/ 0 w 352"/>
                  <a:gd name="T71" fmla="*/ 0 h 387"/>
                  <a:gd name="T72" fmla="*/ 0 w 352"/>
                  <a:gd name="T73" fmla="*/ 0 h 387"/>
                  <a:gd name="T74" fmla="*/ 0 w 352"/>
                  <a:gd name="T75" fmla="*/ 0 h 387"/>
                  <a:gd name="T76" fmla="*/ 0 w 352"/>
                  <a:gd name="T77" fmla="*/ 0 h 387"/>
                  <a:gd name="T78" fmla="*/ 0 w 352"/>
                  <a:gd name="T79" fmla="*/ 0 h 387"/>
                  <a:gd name="T80" fmla="*/ 0 w 352"/>
                  <a:gd name="T81" fmla="*/ 0 h 387"/>
                  <a:gd name="T82" fmla="*/ 0 w 352"/>
                  <a:gd name="T83" fmla="*/ 0 h 387"/>
                  <a:gd name="T84" fmla="*/ 0 w 352"/>
                  <a:gd name="T85" fmla="*/ 0 h 387"/>
                  <a:gd name="T86" fmla="*/ 0 w 352"/>
                  <a:gd name="T87" fmla="*/ 0 h 387"/>
                  <a:gd name="T88" fmla="*/ 0 w 352"/>
                  <a:gd name="T89" fmla="*/ 0 h 387"/>
                  <a:gd name="T90" fmla="*/ 0 w 352"/>
                  <a:gd name="T91" fmla="*/ 0 h 387"/>
                  <a:gd name="T92" fmla="*/ 0 w 352"/>
                  <a:gd name="T93" fmla="*/ 0 h 387"/>
                  <a:gd name="T94" fmla="*/ 0 w 352"/>
                  <a:gd name="T95" fmla="*/ 0 h 387"/>
                  <a:gd name="T96" fmla="*/ 0 w 352"/>
                  <a:gd name="T97" fmla="*/ 0 h 387"/>
                  <a:gd name="T98" fmla="*/ 0 w 352"/>
                  <a:gd name="T99" fmla="*/ 0 h 387"/>
                  <a:gd name="T100" fmla="*/ 0 w 352"/>
                  <a:gd name="T101" fmla="*/ 0 h 387"/>
                  <a:gd name="T102" fmla="*/ 0 w 352"/>
                  <a:gd name="T103" fmla="*/ 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52"/>
                  <a:gd name="T157" fmla="*/ 0 h 387"/>
                  <a:gd name="T158" fmla="*/ 352 w 352"/>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4" name="Freeform 930"/>
              <p:cNvSpPr>
                <a:spLocks/>
              </p:cNvSpPr>
              <p:nvPr/>
            </p:nvSpPr>
            <p:spPr bwMode="auto">
              <a:xfrm>
                <a:off x="923" y="2662"/>
                <a:ext cx="17" cy="26"/>
              </a:xfrm>
              <a:custGeom>
                <a:avLst/>
                <a:gdLst>
                  <a:gd name="T0" fmla="*/ 0 w 52"/>
                  <a:gd name="T1" fmla="*/ 0 h 78"/>
                  <a:gd name="T2" fmla="*/ 0 w 52"/>
                  <a:gd name="T3" fmla="*/ 0 h 78"/>
                  <a:gd name="T4" fmla="*/ 0 w 52"/>
                  <a:gd name="T5" fmla="*/ 0 h 78"/>
                  <a:gd name="T6" fmla="*/ 0 w 52"/>
                  <a:gd name="T7" fmla="*/ 0 h 78"/>
                  <a:gd name="T8" fmla="*/ 0 w 52"/>
                  <a:gd name="T9" fmla="*/ 0 h 78"/>
                  <a:gd name="T10" fmla="*/ 0 w 52"/>
                  <a:gd name="T11" fmla="*/ 0 h 78"/>
                  <a:gd name="T12" fmla="*/ 0 w 52"/>
                  <a:gd name="T13" fmla="*/ 0 h 78"/>
                  <a:gd name="T14" fmla="*/ 0 w 52"/>
                  <a:gd name="T15" fmla="*/ 0 h 78"/>
                  <a:gd name="T16" fmla="*/ 0 w 52"/>
                  <a:gd name="T17" fmla="*/ 0 h 78"/>
                  <a:gd name="T18" fmla="*/ 0 w 52"/>
                  <a:gd name="T19" fmla="*/ 0 h 78"/>
                  <a:gd name="T20" fmla="*/ 0 w 52"/>
                  <a:gd name="T21" fmla="*/ 0 h 78"/>
                  <a:gd name="T22" fmla="*/ 0 w 52"/>
                  <a:gd name="T23" fmla="*/ 0 h 78"/>
                  <a:gd name="T24" fmla="*/ 0 w 52"/>
                  <a:gd name="T25" fmla="*/ 0 h 78"/>
                  <a:gd name="T26" fmla="*/ 0 w 52"/>
                  <a:gd name="T27" fmla="*/ 0 h 78"/>
                  <a:gd name="T28" fmla="*/ 0 w 52"/>
                  <a:gd name="T29" fmla="*/ 0 h 78"/>
                  <a:gd name="T30" fmla="*/ 0 w 52"/>
                  <a:gd name="T31" fmla="*/ 0 h 78"/>
                  <a:gd name="T32" fmla="*/ 0 w 52"/>
                  <a:gd name="T33" fmla="*/ 0 h 78"/>
                  <a:gd name="T34" fmla="*/ 0 w 52"/>
                  <a:gd name="T35" fmla="*/ 0 h 78"/>
                  <a:gd name="T36" fmla="*/ 0 w 52"/>
                  <a:gd name="T37" fmla="*/ 0 h 78"/>
                  <a:gd name="T38" fmla="*/ 0 w 52"/>
                  <a:gd name="T39" fmla="*/ 0 h 78"/>
                  <a:gd name="T40" fmla="*/ 0 w 52"/>
                  <a:gd name="T41" fmla="*/ 0 h 78"/>
                  <a:gd name="T42" fmla="*/ 0 w 52"/>
                  <a:gd name="T43" fmla="*/ 0 h 78"/>
                  <a:gd name="T44" fmla="*/ 0 w 52"/>
                  <a:gd name="T45" fmla="*/ 0 h 78"/>
                  <a:gd name="T46" fmla="*/ 0 w 52"/>
                  <a:gd name="T47" fmla="*/ 0 h 78"/>
                  <a:gd name="T48" fmla="*/ 0 w 52"/>
                  <a:gd name="T49" fmla="*/ 0 h 78"/>
                  <a:gd name="T50" fmla="*/ 0 w 52"/>
                  <a:gd name="T51" fmla="*/ 0 h 78"/>
                  <a:gd name="T52" fmla="*/ 0 w 52"/>
                  <a:gd name="T53" fmla="*/ 0 h 78"/>
                  <a:gd name="T54" fmla="*/ 0 w 52"/>
                  <a:gd name="T55" fmla="*/ 0 h 78"/>
                  <a:gd name="T56" fmla="*/ 0 w 52"/>
                  <a:gd name="T57" fmla="*/ 0 h 78"/>
                  <a:gd name="T58" fmla="*/ 0 w 52"/>
                  <a:gd name="T59" fmla="*/ 0 h 78"/>
                  <a:gd name="T60" fmla="*/ 0 w 52"/>
                  <a:gd name="T61" fmla="*/ 0 h 78"/>
                  <a:gd name="T62" fmla="*/ 0 w 52"/>
                  <a:gd name="T63" fmla="*/ 0 h 78"/>
                  <a:gd name="T64" fmla="*/ 0 w 52"/>
                  <a:gd name="T65" fmla="*/ 0 h 78"/>
                  <a:gd name="T66" fmla="*/ 0 w 52"/>
                  <a:gd name="T67" fmla="*/ 0 h 78"/>
                  <a:gd name="T68" fmla="*/ 0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78"/>
                  <a:gd name="T107" fmla="*/ 52 w 52"/>
                  <a:gd name="T108" fmla="*/ 78 h 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5" name="Freeform 931"/>
              <p:cNvSpPr>
                <a:spLocks/>
              </p:cNvSpPr>
              <p:nvPr/>
            </p:nvSpPr>
            <p:spPr bwMode="auto">
              <a:xfrm>
                <a:off x="912" y="2666"/>
                <a:ext cx="9" cy="10"/>
              </a:xfrm>
              <a:custGeom>
                <a:avLst/>
                <a:gdLst>
                  <a:gd name="T0" fmla="*/ 0 w 33"/>
                  <a:gd name="T1" fmla="*/ 0 h 30"/>
                  <a:gd name="T2" fmla="*/ 0 w 33"/>
                  <a:gd name="T3" fmla="*/ 0 h 30"/>
                  <a:gd name="T4" fmla="*/ 0 w 33"/>
                  <a:gd name="T5" fmla="*/ 0 h 30"/>
                  <a:gd name="T6" fmla="*/ 0 w 33"/>
                  <a:gd name="T7" fmla="*/ 0 h 30"/>
                  <a:gd name="T8" fmla="*/ 0 w 33"/>
                  <a:gd name="T9" fmla="*/ 0 h 30"/>
                  <a:gd name="T10" fmla="*/ 0 w 33"/>
                  <a:gd name="T11" fmla="*/ 0 h 30"/>
                  <a:gd name="T12" fmla="*/ 0 w 33"/>
                  <a:gd name="T13" fmla="*/ 0 h 30"/>
                  <a:gd name="T14" fmla="*/ 0 w 33"/>
                  <a:gd name="T15" fmla="*/ 0 h 30"/>
                  <a:gd name="T16" fmla="*/ 0 w 33"/>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0"/>
                  <a:gd name="T29" fmla="*/ 33 w 33"/>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0">
                    <a:moveTo>
                      <a:pt x="13" y="6"/>
                    </a:moveTo>
                    <a:lnTo>
                      <a:pt x="0" y="24"/>
                    </a:lnTo>
                    <a:lnTo>
                      <a:pt x="7" y="25"/>
                    </a:lnTo>
                    <a:lnTo>
                      <a:pt x="15" y="27"/>
                    </a:lnTo>
                    <a:lnTo>
                      <a:pt x="23" y="29"/>
                    </a:lnTo>
                    <a:lnTo>
                      <a:pt x="33" y="30"/>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18" name="Freeform 932"/>
            <p:cNvSpPr>
              <a:spLocks/>
            </p:cNvSpPr>
            <p:nvPr>
              <p:custDataLst>
                <p:tags r:id="rId266"/>
              </p:custDataLst>
            </p:nvPr>
          </p:nvSpPr>
          <p:spPr bwMode="auto">
            <a:xfrm>
              <a:off x="3655" y="2734"/>
              <a:ext cx="13" cy="37"/>
            </a:xfrm>
            <a:custGeom>
              <a:avLst/>
              <a:gdLst>
                <a:gd name="T0" fmla="*/ 0 w 47"/>
                <a:gd name="T1" fmla="*/ 0 h 28"/>
                <a:gd name="T2" fmla="*/ 0 w 47"/>
                <a:gd name="T3" fmla="*/ 0 h 28"/>
                <a:gd name="T4" fmla="*/ 0 w 47"/>
                <a:gd name="T5" fmla="*/ 609 h 28"/>
                <a:gd name="T6" fmla="*/ 0 w 47"/>
                <a:gd name="T7" fmla="*/ 1064 h 28"/>
                <a:gd name="T8" fmla="*/ 0 w 47"/>
                <a:gd name="T9" fmla="*/ 1672 h 28"/>
                <a:gd name="T10" fmla="*/ 0 w 47"/>
                <a:gd name="T11" fmla="*/ 2209 h 28"/>
                <a:gd name="T12" fmla="*/ 0 w 47"/>
                <a:gd name="T13" fmla="*/ 2474 h 28"/>
                <a:gd name="T14" fmla="*/ 0 w 47"/>
                <a:gd name="T15" fmla="*/ 3244 h 28"/>
                <a:gd name="T16" fmla="*/ 0 w 47"/>
                <a:gd name="T17" fmla="*/ 3244 h 28"/>
                <a:gd name="T18" fmla="*/ 0 w 47"/>
                <a:gd name="T19" fmla="*/ 5053 h 28"/>
                <a:gd name="T20" fmla="*/ 0 w 47"/>
                <a:gd name="T21" fmla="*/ 6677 h 28"/>
                <a:gd name="T22" fmla="*/ 0 w 47"/>
                <a:gd name="T23" fmla="*/ 7208 h 28"/>
                <a:gd name="T24" fmla="*/ 0 w 47"/>
                <a:gd name="T25" fmla="*/ 7486 h 28"/>
                <a:gd name="T26" fmla="*/ 0 w 47"/>
                <a:gd name="T27" fmla="*/ 7208 h 28"/>
                <a:gd name="T28" fmla="*/ 0 w 47"/>
                <a:gd name="T29" fmla="*/ 6677 h 28"/>
                <a:gd name="T30" fmla="*/ 0 w 47"/>
                <a:gd name="T31" fmla="*/ 5053 h 28"/>
                <a:gd name="T32" fmla="*/ 0 w 47"/>
                <a:gd name="T33" fmla="*/ 3857 h 28"/>
                <a:gd name="T34" fmla="*/ 0 w 47"/>
                <a:gd name="T35" fmla="*/ 3269 h 28"/>
                <a:gd name="T36" fmla="*/ 0 w 47"/>
                <a:gd name="T37" fmla="*/ 3244 h 28"/>
                <a:gd name="T38" fmla="*/ 0 w 47"/>
                <a:gd name="T39" fmla="*/ 2919 h 28"/>
                <a:gd name="T40" fmla="*/ 0 w 47"/>
                <a:gd name="T41" fmla="*/ 2455 h 28"/>
                <a:gd name="T42" fmla="*/ 0 w 47"/>
                <a:gd name="T43" fmla="*/ 1406 h 28"/>
                <a:gd name="T44" fmla="*/ 0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9" name="Freeform 933"/>
            <p:cNvSpPr>
              <a:spLocks/>
            </p:cNvSpPr>
            <p:nvPr>
              <p:custDataLst>
                <p:tags r:id="rId267"/>
              </p:custDataLst>
            </p:nvPr>
          </p:nvSpPr>
          <p:spPr bwMode="auto">
            <a:xfrm>
              <a:off x="3636" y="2751"/>
              <a:ext cx="16" cy="36"/>
            </a:xfrm>
            <a:custGeom>
              <a:avLst/>
              <a:gdLst>
                <a:gd name="T0" fmla="*/ 0 w 53"/>
                <a:gd name="T1" fmla="*/ 0 h 33"/>
                <a:gd name="T2" fmla="*/ 0 w 53"/>
                <a:gd name="T3" fmla="*/ 1 h 33"/>
                <a:gd name="T4" fmla="*/ 0 w 53"/>
                <a:gd name="T5" fmla="*/ 1 h 33"/>
                <a:gd name="T6" fmla="*/ 0 w 53"/>
                <a:gd name="T7" fmla="*/ 3 h 33"/>
                <a:gd name="T8" fmla="*/ 0 w 53"/>
                <a:gd name="T9" fmla="*/ 4 h 33"/>
                <a:gd name="T10" fmla="*/ 0 w 53"/>
                <a:gd name="T11" fmla="*/ 38 h 33"/>
                <a:gd name="T12" fmla="*/ 0 w 53"/>
                <a:gd name="T13" fmla="*/ 45 h 33"/>
                <a:gd name="T14" fmla="*/ 0 w 53"/>
                <a:gd name="T15" fmla="*/ 53 h 33"/>
                <a:gd name="T16" fmla="*/ 0 w 53"/>
                <a:gd name="T17" fmla="*/ 63 h 33"/>
                <a:gd name="T18" fmla="*/ 0 w 53"/>
                <a:gd name="T19" fmla="*/ 125 h 33"/>
                <a:gd name="T20" fmla="*/ 0 w 53"/>
                <a:gd name="T21" fmla="*/ 161 h 33"/>
                <a:gd name="T22" fmla="*/ 0 w 53"/>
                <a:gd name="T23" fmla="*/ 176 h 33"/>
                <a:gd name="T24" fmla="*/ 0 w 53"/>
                <a:gd name="T25" fmla="*/ 181 h 33"/>
                <a:gd name="T26" fmla="*/ 0 w 53"/>
                <a:gd name="T27" fmla="*/ 189 h 33"/>
                <a:gd name="T28" fmla="*/ 0 w 53"/>
                <a:gd name="T29" fmla="*/ 189 h 33"/>
                <a:gd name="T30" fmla="*/ 0 w 53"/>
                <a:gd name="T31" fmla="*/ 173 h 33"/>
                <a:gd name="T32" fmla="*/ 0 w 53"/>
                <a:gd name="T33" fmla="*/ 136 h 33"/>
                <a:gd name="T34" fmla="*/ 0 w 53"/>
                <a:gd name="T35" fmla="*/ 106 h 33"/>
                <a:gd name="T36" fmla="*/ 0 w 53"/>
                <a:gd name="T37" fmla="*/ 89 h 33"/>
                <a:gd name="T38" fmla="*/ 0 w 53"/>
                <a:gd name="T39" fmla="*/ 75 h 33"/>
                <a:gd name="T40" fmla="*/ 0 w 53"/>
                <a:gd name="T41" fmla="*/ 63 h 33"/>
                <a:gd name="T42" fmla="*/ 0 w 53"/>
                <a:gd name="T43" fmla="*/ 58 h 33"/>
                <a:gd name="T44" fmla="*/ 0 w 53"/>
                <a:gd name="T45" fmla="*/ 49 h 33"/>
                <a:gd name="T46" fmla="*/ 0 w 53"/>
                <a:gd name="T47" fmla="*/ 38 h 33"/>
                <a:gd name="T48" fmla="*/ 0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3" name="Group 934"/>
            <p:cNvGrpSpPr>
              <a:grpSpLocks/>
            </p:cNvGrpSpPr>
            <p:nvPr>
              <p:custDataLst>
                <p:tags r:id="rId268"/>
              </p:custDataLst>
            </p:nvPr>
          </p:nvGrpSpPr>
          <p:grpSpPr bwMode="auto">
            <a:xfrm>
              <a:off x="3527" y="2431"/>
              <a:ext cx="115" cy="65"/>
              <a:chOff x="3481" y="2773"/>
              <a:chExt cx="125" cy="65"/>
            </a:xfrm>
            <a:grpFill/>
          </p:grpSpPr>
          <p:sp>
            <p:nvSpPr>
              <p:cNvPr id="18892" name="Freeform 93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3" name="Line 936"/>
              <p:cNvSpPr>
                <a:spLocks noChangeShapeType="1"/>
              </p:cNvSpPr>
              <p:nvPr/>
            </p:nvSpPr>
            <p:spPr bwMode="auto">
              <a:xfrm>
                <a:off x="3583" y="2800"/>
                <a:ext cx="2"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4" name="Freeform 937"/>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5" name="Freeform 938"/>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6" name="Freeform 939"/>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7" name="Line 940"/>
              <p:cNvSpPr>
                <a:spLocks noChangeShapeType="1"/>
              </p:cNvSpPr>
              <p:nvPr/>
            </p:nvSpPr>
            <p:spPr bwMode="auto">
              <a:xfrm>
                <a:off x="3603" y="2773"/>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8" name="Freeform 941"/>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9" name="Freeform 942"/>
              <p:cNvSpPr>
                <a:spLocks/>
              </p:cNvSpPr>
              <p:nvPr/>
            </p:nvSpPr>
            <p:spPr bwMode="auto">
              <a:xfrm>
                <a:off x="3485" y="2830"/>
                <a:ext cx="2"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0" name="Freeform 943"/>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1" name="Freeform 944"/>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2" name="Freeform 94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1" name="Freeform 946"/>
            <p:cNvSpPr>
              <a:spLocks/>
            </p:cNvSpPr>
            <p:nvPr>
              <p:custDataLst>
                <p:tags r:id="rId269"/>
              </p:custDataLst>
            </p:nvPr>
          </p:nvSpPr>
          <p:spPr bwMode="auto">
            <a:xfrm>
              <a:off x="2933" y="2426"/>
              <a:ext cx="217" cy="239"/>
            </a:xfrm>
            <a:custGeom>
              <a:avLst/>
              <a:gdLst>
                <a:gd name="T0" fmla="*/ 0 w 736"/>
                <a:gd name="T1" fmla="*/ 0 h 721"/>
                <a:gd name="T2" fmla="*/ 0 w 736"/>
                <a:gd name="T3" fmla="*/ 0 h 721"/>
                <a:gd name="T4" fmla="*/ 0 w 736"/>
                <a:gd name="T5" fmla="*/ 0 h 721"/>
                <a:gd name="T6" fmla="*/ 0 w 736"/>
                <a:gd name="T7" fmla="*/ 0 h 721"/>
                <a:gd name="T8" fmla="*/ 0 w 736"/>
                <a:gd name="T9" fmla="*/ 0 h 721"/>
                <a:gd name="T10" fmla="*/ 0 w 736"/>
                <a:gd name="T11" fmla="*/ 0 h 721"/>
                <a:gd name="T12" fmla="*/ 0 w 736"/>
                <a:gd name="T13" fmla="*/ 0 h 721"/>
                <a:gd name="T14" fmla="*/ 0 w 736"/>
                <a:gd name="T15" fmla="*/ 0 h 721"/>
                <a:gd name="T16" fmla="*/ 0 w 736"/>
                <a:gd name="T17" fmla="*/ 0 h 721"/>
                <a:gd name="T18" fmla="*/ 0 w 736"/>
                <a:gd name="T19" fmla="*/ 0 h 721"/>
                <a:gd name="T20" fmla="*/ 0 w 736"/>
                <a:gd name="T21" fmla="*/ 0 h 721"/>
                <a:gd name="T22" fmla="*/ 0 w 736"/>
                <a:gd name="T23" fmla="*/ 0 h 721"/>
                <a:gd name="T24" fmla="*/ 0 w 736"/>
                <a:gd name="T25" fmla="*/ 0 h 721"/>
                <a:gd name="T26" fmla="*/ 0 w 736"/>
                <a:gd name="T27" fmla="*/ 0 h 721"/>
                <a:gd name="T28" fmla="*/ 0 w 736"/>
                <a:gd name="T29" fmla="*/ 0 h 721"/>
                <a:gd name="T30" fmla="*/ 0 w 736"/>
                <a:gd name="T31" fmla="*/ 0 h 721"/>
                <a:gd name="T32" fmla="*/ 0 w 736"/>
                <a:gd name="T33" fmla="*/ 0 h 721"/>
                <a:gd name="T34" fmla="*/ 0 w 736"/>
                <a:gd name="T35" fmla="*/ 0 h 721"/>
                <a:gd name="T36" fmla="*/ 0 w 736"/>
                <a:gd name="T37" fmla="*/ 0 h 721"/>
                <a:gd name="T38" fmla="*/ 0 w 736"/>
                <a:gd name="T39" fmla="*/ 0 h 721"/>
                <a:gd name="T40" fmla="*/ 0 w 736"/>
                <a:gd name="T41" fmla="*/ 0 h 721"/>
                <a:gd name="T42" fmla="*/ 0 w 736"/>
                <a:gd name="T43" fmla="*/ 0 h 721"/>
                <a:gd name="T44" fmla="*/ 0 w 736"/>
                <a:gd name="T45" fmla="*/ 0 h 721"/>
                <a:gd name="T46" fmla="*/ 0 w 736"/>
                <a:gd name="T47" fmla="*/ 0 h 721"/>
                <a:gd name="T48" fmla="*/ 0 w 736"/>
                <a:gd name="T49" fmla="*/ 0 h 721"/>
                <a:gd name="T50" fmla="*/ 0 w 736"/>
                <a:gd name="T51" fmla="*/ 0 h 721"/>
                <a:gd name="T52" fmla="*/ 0 w 736"/>
                <a:gd name="T53" fmla="*/ 0 h 721"/>
                <a:gd name="T54" fmla="*/ 0 w 736"/>
                <a:gd name="T55" fmla="*/ 0 h 721"/>
                <a:gd name="T56" fmla="*/ 0 w 736"/>
                <a:gd name="T57" fmla="*/ 0 h 721"/>
                <a:gd name="T58" fmla="*/ 0 w 736"/>
                <a:gd name="T59" fmla="*/ 0 h 721"/>
                <a:gd name="T60" fmla="*/ 0 w 736"/>
                <a:gd name="T61" fmla="*/ 0 h 721"/>
                <a:gd name="T62" fmla="*/ 0 w 736"/>
                <a:gd name="T63" fmla="*/ 0 h 721"/>
                <a:gd name="T64" fmla="*/ 0 w 736"/>
                <a:gd name="T65" fmla="*/ 0 h 721"/>
                <a:gd name="T66" fmla="*/ 0 w 736"/>
                <a:gd name="T67" fmla="*/ 0 h 721"/>
                <a:gd name="T68" fmla="*/ 0 w 736"/>
                <a:gd name="T69" fmla="*/ 0 h 721"/>
                <a:gd name="T70" fmla="*/ 0 w 736"/>
                <a:gd name="T71" fmla="*/ 0 h 721"/>
                <a:gd name="T72" fmla="*/ 0 w 736"/>
                <a:gd name="T73" fmla="*/ 0 h 721"/>
                <a:gd name="T74" fmla="*/ 0 w 736"/>
                <a:gd name="T75" fmla="*/ 0 h 721"/>
                <a:gd name="T76" fmla="*/ 0 w 736"/>
                <a:gd name="T77" fmla="*/ 0 h 721"/>
                <a:gd name="T78" fmla="*/ 0 w 736"/>
                <a:gd name="T79" fmla="*/ 0 h 721"/>
                <a:gd name="T80" fmla="*/ 0 w 736"/>
                <a:gd name="T81" fmla="*/ 0 h 721"/>
                <a:gd name="T82" fmla="*/ 0 w 736"/>
                <a:gd name="T83" fmla="*/ 0 h 721"/>
                <a:gd name="T84" fmla="*/ 0 w 736"/>
                <a:gd name="T85" fmla="*/ 0 h 721"/>
                <a:gd name="T86" fmla="*/ 0 w 736"/>
                <a:gd name="T87" fmla="*/ 0 h 721"/>
                <a:gd name="T88" fmla="*/ 0 w 736"/>
                <a:gd name="T89" fmla="*/ 0 h 721"/>
                <a:gd name="T90" fmla="*/ 0 w 736"/>
                <a:gd name="T91" fmla="*/ 0 h 721"/>
                <a:gd name="T92" fmla="*/ 0 w 736"/>
                <a:gd name="T93" fmla="*/ 0 h 721"/>
                <a:gd name="T94" fmla="*/ 0 w 736"/>
                <a:gd name="T95" fmla="*/ 0 h 721"/>
                <a:gd name="T96" fmla="*/ 0 w 736"/>
                <a:gd name="T97" fmla="*/ 0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2" name="Freeform 947"/>
            <p:cNvSpPr>
              <a:spLocks/>
            </p:cNvSpPr>
            <p:nvPr>
              <p:custDataLst>
                <p:tags r:id="rId270"/>
              </p:custDataLst>
            </p:nvPr>
          </p:nvSpPr>
          <p:spPr bwMode="auto">
            <a:xfrm>
              <a:off x="2940" y="2409"/>
              <a:ext cx="11" cy="38"/>
            </a:xfrm>
            <a:custGeom>
              <a:avLst/>
              <a:gdLst>
                <a:gd name="T0" fmla="*/ 0 w 39"/>
                <a:gd name="T1" fmla="*/ 1847 h 31"/>
                <a:gd name="T2" fmla="*/ 0 w 39"/>
                <a:gd name="T3" fmla="*/ 1625 h 31"/>
                <a:gd name="T4" fmla="*/ 0 w 39"/>
                <a:gd name="T5" fmla="*/ 1625 h 31"/>
                <a:gd name="T6" fmla="*/ 0 w 39"/>
                <a:gd name="T7" fmla="*/ 1625 h 31"/>
                <a:gd name="T8" fmla="*/ 0 w 39"/>
                <a:gd name="T9" fmla="*/ 1625 h 31"/>
                <a:gd name="T10" fmla="*/ 0 w 39"/>
                <a:gd name="T11" fmla="*/ 1581 h 31"/>
                <a:gd name="T12" fmla="*/ 0 w 39"/>
                <a:gd name="T13" fmla="*/ 1507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18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3" name="Freeform 948"/>
            <p:cNvSpPr>
              <a:spLocks/>
            </p:cNvSpPr>
            <p:nvPr>
              <p:custDataLst>
                <p:tags r:id="rId271"/>
              </p:custDataLst>
            </p:nvPr>
          </p:nvSpPr>
          <p:spPr bwMode="auto">
            <a:xfrm>
              <a:off x="3010" y="2751"/>
              <a:ext cx="270" cy="251"/>
            </a:xfrm>
            <a:custGeom>
              <a:avLst/>
              <a:gdLst>
                <a:gd name="T0" fmla="*/ 0 w 903"/>
                <a:gd name="T1" fmla="*/ 0 h 759"/>
                <a:gd name="T2" fmla="*/ 0 w 903"/>
                <a:gd name="T3" fmla="*/ 0 h 759"/>
                <a:gd name="T4" fmla="*/ 0 w 903"/>
                <a:gd name="T5" fmla="*/ 0 h 759"/>
                <a:gd name="T6" fmla="*/ 0 w 903"/>
                <a:gd name="T7" fmla="*/ 0 h 759"/>
                <a:gd name="T8" fmla="*/ 0 w 903"/>
                <a:gd name="T9" fmla="*/ 0 h 759"/>
                <a:gd name="T10" fmla="*/ 0 w 903"/>
                <a:gd name="T11" fmla="*/ 0 h 759"/>
                <a:gd name="T12" fmla="*/ 0 w 903"/>
                <a:gd name="T13" fmla="*/ 0 h 759"/>
                <a:gd name="T14" fmla="*/ 0 w 903"/>
                <a:gd name="T15" fmla="*/ 0 h 759"/>
                <a:gd name="T16" fmla="*/ 0 w 903"/>
                <a:gd name="T17" fmla="*/ 0 h 759"/>
                <a:gd name="T18" fmla="*/ 0 w 903"/>
                <a:gd name="T19" fmla="*/ 0 h 759"/>
                <a:gd name="T20" fmla="*/ 0 w 903"/>
                <a:gd name="T21" fmla="*/ 0 h 759"/>
                <a:gd name="T22" fmla="*/ 0 w 903"/>
                <a:gd name="T23" fmla="*/ 0 h 759"/>
                <a:gd name="T24" fmla="*/ 0 w 903"/>
                <a:gd name="T25" fmla="*/ 0 h 759"/>
                <a:gd name="T26" fmla="*/ 0 w 903"/>
                <a:gd name="T27" fmla="*/ 0 h 759"/>
                <a:gd name="T28" fmla="*/ 0 w 903"/>
                <a:gd name="T29" fmla="*/ 0 h 759"/>
                <a:gd name="T30" fmla="*/ 0 w 903"/>
                <a:gd name="T31" fmla="*/ 0 h 759"/>
                <a:gd name="T32" fmla="*/ 0 w 903"/>
                <a:gd name="T33" fmla="*/ 0 h 759"/>
                <a:gd name="T34" fmla="*/ 0 w 903"/>
                <a:gd name="T35" fmla="*/ 0 h 759"/>
                <a:gd name="T36" fmla="*/ 0 w 903"/>
                <a:gd name="T37" fmla="*/ 0 h 759"/>
                <a:gd name="T38" fmla="*/ 0 w 903"/>
                <a:gd name="T39" fmla="*/ 0 h 759"/>
                <a:gd name="T40" fmla="*/ 0 w 903"/>
                <a:gd name="T41" fmla="*/ 0 h 759"/>
                <a:gd name="T42" fmla="*/ 0 w 903"/>
                <a:gd name="T43" fmla="*/ 0 h 759"/>
                <a:gd name="T44" fmla="*/ 0 w 903"/>
                <a:gd name="T45" fmla="*/ 0 h 759"/>
                <a:gd name="T46" fmla="*/ 0 w 903"/>
                <a:gd name="T47" fmla="*/ 0 h 759"/>
                <a:gd name="T48" fmla="*/ 0 w 903"/>
                <a:gd name="T49" fmla="*/ 0 h 759"/>
                <a:gd name="T50" fmla="*/ 0 w 903"/>
                <a:gd name="T51" fmla="*/ 0 h 759"/>
                <a:gd name="T52" fmla="*/ 0 w 903"/>
                <a:gd name="T53" fmla="*/ 0 h 759"/>
                <a:gd name="T54" fmla="*/ 0 w 903"/>
                <a:gd name="T55" fmla="*/ 0 h 759"/>
                <a:gd name="T56" fmla="*/ 0 w 903"/>
                <a:gd name="T57" fmla="*/ 0 h 759"/>
                <a:gd name="T58" fmla="*/ 0 w 903"/>
                <a:gd name="T59" fmla="*/ 0 h 759"/>
                <a:gd name="T60" fmla="*/ 0 w 903"/>
                <a:gd name="T61" fmla="*/ 0 h 759"/>
                <a:gd name="T62" fmla="*/ 0 w 903"/>
                <a:gd name="T63" fmla="*/ 0 h 759"/>
                <a:gd name="T64" fmla="*/ 0 w 903"/>
                <a:gd name="T65" fmla="*/ 0 h 759"/>
                <a:gd name="T66" fmla="*/ 0 w 903"/>
                <a:gd name="T67" fmla="*/ 0 h 759"/>
                <a:gd name="T68" fmla="*/ 0 w 903"/>
                <a:gd name="T69" fmla="*/ 0 h 759"/>
                <a:gd name="T70" fmla="*/ 0 w 903"/>
                <a:gd name="T71" fmla="*/ 0 h 759"/>
                <a:gd name="T72" fmla="*/ 0 w 903"/>
                <a:gd name="T73" fmla="*/ 0 h 759"/>
                <a:gd name="T74" fmla="*/ 0 w 903"/>
                <a:gd name="T75" fmla="*/ 0 h 759"/>
                <a:gd name="T76" fmla="*/ 0 w 903"/>
                <a:gd name="T77" fmla="*/ 0 h 759"/>
                <a:gd name="T78" fmla="*/ 0 w 903"/>
                <a:gd name="T79" fmla="*/ 0 h 759"/>
                <a:gd name="T80" fmla="*/ 0 w 903"/>
                <a:gd name="T81" fmla="*/ 0 h 759"/>
                <a:gd name="T82" fmla="*/ 0 w 903"/>
                <a:gd name="T83" fmla="*/ 0 h 759"/>
                <a:gd name="T84" fmla="*/ 0 w 903"/>
                <a:gd name="T85" fmla="*/ 0 h 759"/>
                <a:gd name="T86" fmla="*/ 0 w 903"/>
                <a:gd name="T87" fmla="*/ 0 h 759"/>
                <a:gd name="T88" fmla="*/ 0 w 903"/>
                <a:gd name="T89" fmla="*/ 0 h 759"/>
                <a:gd name="T90" fmla="*/ 0 w 903"/>
                <a:gd name="T91" fmla="*/ 0 h 759"/>
                <a:gd name="T92" fmla="*/ 0 w 903"/>
                <a:gd name="T93" fmla="*/ 0 h 759"/>
                <a:gd name="T94" fmla="*/ 0 w 903"/>
                <a:gd name="T95" fmla="*/ 0 h 759"/>
                <a:gd name="T96" fmla="*/ 0 w 903"/>
                <a:gd name="T97" fmla="*/ 0 h 759"/>
                <a:gd name="T98" fmla="*/ 0 w 903"/>
                <a:gd name="T99" fmla="*/ 0 h 759"/>
                <a:gd name="T100" fmla="*/ 0 w 903"/>
                <a:gd name="T101" fmla="*/ 0 h 759"/>
                <a:gd name="T102" fmla="*/ 0 w 903"/>
                <a:gd name="T103" fmla="*/ 0 h 759"/>
                <a:gd name="T104" fmla="*/ 0 w 903"/>
                <a:gd name="T105" fmla="*/ 0 h 759"/>
                <a:gd name="T106" fmla="*/ 0 w 903"/>
                <a:gd name="T107" fmla="*/ 0 h 759"/>
                <a:gd name="T108" fmla="*/ 0 w 903"/>
                <a:gd name="T109" fmla="*/ 0 h 759"/>
                <a:gd name="T110" fmla="*/ 0 w 903"/>
                <a:gd name="T111" fmla="*/ 0 h 759"/>
                <a:gd name="T112" fmla="*/ 0 w 903"/>
                <a:gd name="T113" fmla="*/ 0 h 759"/>
                <a:gd name="T114" fmla="*/ 0 w 903"/>
                <a:gd name="T115" fmla="*/ 0 h 759"/>
                <a:gd name="T116" fmla="*/ 0 w 903"/>
                <a:gd name="T117" fmla="*/ 0 h 759"/>
                <a:gd name="T118" fmla="*/ 0 w 903"/>
                <a:gd name="T119" fmla="*/ 0 h 759"/>
                <a:gd name="T120" fmla="*/ 0 w 903"/>
                <a:gd name="T121" fmla="*/ 0 h 759"/>
                <a:gd name="T122" fmla="*/ 0 w 903"/>
                <a:gd name="T123" fmla="*/ 0 h 759"/>
                <a:gd name="T124" fmla="*/ 0 w 903"/>
                <a:gd name="T125" fmla="*/ 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4" name="Freeform 949"/>
            <p:cNvSpPr>
              <a:spLocks/>
            </p:cNvSpPr>
            <p:nvPr>
              <p:custDataLst>
                <p:tags r:id="rId272"/>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4" name="Group 950"/>
            <p:cNvGrpSpPr>
              <a:grpSpLocks/>
            </p:cNvGrpSpPr>
            <p:nvPr>
              <p:custDataLst>
                <p:tags r:id="rId273"/>
              </p:custDataLst>
            </p:nvPr>
          </p:nvGrpSpPr>
          <p:grpSpPr bwMode="auto">
            <a:xfrm>
              <a:off x="2280" y="1976"/>
              <a:ext cx="56" cy="52"/>
              <a:chOff x="2352" y="2343"/>
              <a:chExt cx="65" cy="53"/>
            </a:xfrm>
            <a:grpFill/>
          </p:grpSpPr>
          <p:sp>
            <p:nvSpPr>
              <p:cNvPr id="18886" name="Freeform 951"/>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7" name="Freeform 952"/>
              <p:cNvSpPr>
                <a:spLocks/>
              </p:cNvSpPr>
              <p:nvPr/>
            </p:nvSpPr>
            <p:spPr bwMode="auto">
              <a:xfrm>
                <a:off x="2372" y="2354"/>
                <a:ext cx="20" cy="7"/>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8" name="Freeform 953"/>
              <p:cNvSpPr>
                <a:spLocks/>
              </p:cNvSpPr>
              <p:nvPr/>
            </p:nvSpPr>
            <p:spPr bwMode="auto">
              <a:xfrm>
                <a:off x="2407" y="2346"/>
                <a:ext cx="7"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9" name="Freeform 954"/>
              <p:cNvSpPr>
                <a:spLocks/>
              </p:cNvSpPr>
              <p:nvPr/>
            </p:nvSpPr>
            <p:spPr bwMode="auto">
              <a:xfrm>
                <a:off x="2407" y="2361"/>
                <a:ext cx="10" cy="8"/>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0" name="Freeform 955"/>
              <p:cNvSpPr>
                <a:spLocks/>
              </p:cNvSpPr>
              <p:nvPr/>
            </p:nvSpPr>
            <p:spPr bwMode="auto">
              <a:xfrm>
                <a:off x="2388" y="2378"/>
                <a:ext cx="16" cy="18"/>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1" name="Freeform 956"/>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15" name="Group 957"/>
            <p:cNvGrpSpPr>
              <a:grpSpLocks/>
            </p:cNvGrpSpPr>
            <p:nvPr>
              <p:custDataLst>
                <p:tags r:id="rId274"/>
              </p:custDataLst>
            </p:nvPr>
          </p:nvGrpSpPr>
          <p:grpSpPr bwMode="auto">
            <a:xfrm>
              <a:off x="810" y="754"/>
              <a:ext cx="1295" cy="714"/>
              <a:chOff x="527" y="1110"/>
              <a:chExt cx="1410" cy="709"/>
            </a:xfrm>
            <a:grpFill/>
          </p:grpSpPr>
          <p:sp>
            <p:nvSpPr>
              <p:cNvPr id="18844" name="Freeform 958"/>
              <p:cNvSpPr>
                <a:spLocks/>
              </p:cNvSpPr>
              <p:nvPr/>
            </p:nvSpPr>
            <p:spPr bwMode="auto">
              <a:xfrm>
                <a:off x="1401" y="1427"/>
                <a:ext cx="27" cy="17"/>
              </a:xfrm>
              <a:custGeom>
                <a:avLst/>
                <a:gdLst>
                  <a:gd name="T0" fmla="*/ 0 w 98"/>
                  <a:gd name="T1" fmla="*/ 0 h 54"/>
                  <a:gd name="T2" fmla="*/ 0 w 98"/>
                  <a:gd name="T3" fmla="*/ 0 h 54"/>
                  <a:gd name="T4" fmla="*/ 0 w 98"/>
                  <a:gd name="T5" fmla="*/ 0 h 54"/>
                  <a:gd name="T6" fmla="*/ 0 w 98"/>
                  <a:gd name="T7" fmla="*/ 0 h 54"/>
                  <a:gd name="T8" fmla="*/ 0 w 98"/>
                  <a:gd name="T9" fmla="*/ 0 h 54"/>
                  <a:gd name="T10" fmla="*/ 0 w 98"/>
                  <a:gd name="T11" fmla="*/ 0 h 54"/>
                  <a:gd name="T12" fmla="*/ 0 w 98"/>
                  <a:gd name="T13" fmla="*/ 0 h 54"/>
                  <a:gd name="T14" fmla="*/ 0 w 98"/>
                  <a:gd name="T15" fmla="*/ 0 h 54"/>
                  <a:gd name="T16" fmla="*/ 0 w 98"/>
                  <a:gd name="T17" fmla="*/ 0 h 54"/>
                  <a:gd name="T18" fmla="*/ 0 w 98"/>
                  <a:gd name="T19" fmla="*/ 0 h 54"/>
                  <a:gd name="T20" fmla="*/ 0 w 98"/>
                  <a:gd name="T21" fmla="*/ 0 h 54"/>
                  <a:gd name="T22" fmla="*/ 0 w 98"/>
                  <a:gd name="T23" fmla="*/ 0 h 54"/>
                  <a:gd name="T24" fmla="*/ 0 w 98"/>
                  <a:gd name="T25" fmla="*/ 0 h 54"/>
                  <a:gd name="T26" fmla="*/ 0 w 98"/>
                  <a:gd name="T27" fmla="*/ 0 h 54"/>
                  <a:gd name="T28" fmla="*/ 0 w 98"/>
                  <a:gd name="T29" fmla="*/ 0 h 54"/>
                  <a:gd name="T30" fmla="*/ 0 w 98"/>
                  <a:gd name="T31" fmla="*/ 0 h 54"/>
                  <a:gd name="T32" fmla="*/ 0 w 98"/>
                  <a:gd name="T33" fmla="*/ 0 h 54"/>
                  <a:gd name="T34" fmla="*/ 0 w 98"/>
                  <a:gd name="T35" fmla="*/ 0 h 54"/>
                  <a:gd name="T36" fmla="*/ 0 w 98"/>
                  <a:gd name="T37" fmla="*/ 0 h 54"/>
                  <a:gd name="T38" fmla="*/ 0 w 98"/>
                  <a:gd name="T39" fmla="*/ 0 h 54"/>
                  <a:gd name="T40" fmla="*/ 0 w 98"/>
                  <a:gd name="T41" fmla="*/ 0 h 54"/>
                  <a:gd name="T42" fmla="*/ 0 w 98"/>
                  <a:gd name="T43" fmla="*/ 0 h 54"/>
                  <a:gd name="T44" fmla="*/ 0 w 98"/>
                  <a:gd name="T45" fmla="*/ 0 h 54"/>
                  <a:gd name="T46" fmla="*/ 0 w 98"/>
                  <a:gd name="T47" fmla="*/ 0 h 54"/>
                  <a:gd name="T48" fmla="*/ 0 w 98"/>
                  <a:gd name="T49" fmla="*/ 0 h 54"/>
                  <a:gd name="T50" fmla="*/ 0 w 98"/>
                  <a:gd name="T51" fmla="*/ 0 h 54"/>
                  <a:gd name="T52" fmla="*/ 0 w 98"/>
                  <a:gd name="T53" fmla="*/ 0 h 54"/>
                  <a:gd name="T54" fmla="*/ 0 w 98"/>
                  <a:gd name="T55" fmla="*/ 0 h 54"/>
                  <a:gd name="T56" fmla="*/ 0 w 98"/>
                  <a:gd name="T57" fmla="*/ 0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8"/>
                  <a:gd name="T88" fmla="*/ 0 h 54"/>
                  <a:gd name="T89" fmla="*/ 98 w 98"/>
                  <a:gd name="T90" fmla="*/ 54 h 5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5" name="Freeform 959"/>
              <p:cNvSpPr>
                <a:spLocks/>
              </p:cNvSpPr>
              <p:nvPr/>
            </p:nvSpPr>
            <p:spPr bwMode="auto">
              <a:xfrm>
                <a:off x="1387" y="1551"/>
                <a:ext cx="21" cy="8"/>
              </a:xfrm>
              <a:custGeom>
                <a:avLst/>
                <a:gdLst>
                  <a:gd name="T0" fmla="*/ 0 w 67"/>
                  <a:gd name="T1" fmla="*/ 0 h 28"/>
                  <a:gd name="T2" fmla="*/ 0 w 67"/>
                  <a:gd name="T3" fmla="*/ 0 h 28"/>
                  <a:gd name="T4" fmla="*/ 0 w 67"/>
                  <a:gd name="T5" fmla="*/ 0 h 28"/>
                  <a:gd name="T6" fmla="*/ 0 w 67"/>
                  <a:gd name="T7" fmla="*/ 0 h 28"/>
                  <a:gd name="T8" fmla="*/ 0 w 67"/>
                  <a:gd name="T9" fmla="*/ 0 h 28"/>
                  <a:gd name="T10" fmla="*/ 0 w 67"/>
                  <a:gd name="T11" fmla="*/ 0 h 28"/>
                  <a:gd name="T12" fmla="*/ 0 w 67"/>
                  <a:gd name="T13" fmla="*/ 0 h 28"/>
                  <a:gd name="T14" fmla="*/ 0 w 67"/>
                  <a:gd name="T15" fmla="*/ 0 h 28"/>
                  <a:gd name="T16" fmla="*/ 0 w 67"/>
                  <a:gd name="T17" fmla="*/ 0 h 28"/>
                  <a:gd name="T18" fmla="*/ 0 w 67"/>
                  <a:gd name="T19" fmla="*/ 0 h 28"/>
                  <a:gd name="T20" fmla="*/ 0 w 67"/>
                  <a:gd name="T21" fmla="*/ 0 h 28"/>
                  <a:gd name="T22" fmla="*/ 0 w 67"/>
                  <a:gd name="T23" fmla="*/ 0 h 28"/>
                  <a:gd name="T24" fmla="*/ 0 w 67"/>
                  <a:gd name="T25" fmla="*/ 0 h 28"/>
                  <a:gd name="T26" fmla="*/ 0 w 67"/>
                  <a:gd name="T27" fmla="*/ 0 h 28"/>
                  <a:gd name="T28" fmla="*/ 0 w 67"/>
                  <a:gd name="T29" fmla="*/ 0 h 28"/>
                  <a:gd name="T30" fmla="*/ 0 w 67"/>
                  <a:gd name="T31" fmla="*/ 0 h 28"/>
                  <a:gd name="T32" fmla="*/ 0 w 67"/>
                  <a:gd name="T33" fmla="*/ 0 h 28"/>
                  <a:gd name="T34" fmla="*/ 0 w 67"/>
                  <a:gd name="T35" fmla="*/ 0 h 28"/>
                  <a:gd name="T36" fmla="*/ 0 w 67"/>
                  <a:gd name="T37" fmla="*/ 0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28"/>
                  <a:gd name="T59" fmla="*/ 67 w 6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6" name="Freeform 960"/>
              <p:cNvSpPr>
                <a:spLocks/>
              </p:cNvSpPr>
              <p:nvPr/>
            </p:nvSpPr>
            <p:spPr bwMode="auto">
              <a:xfrm>
                <a:off x="1332" y="1608"/>
                <a:ext cx="11" cy="11"/>
              </a:xfrm>
              <a:custGeom>
                <a:avLst/>
                <a:gdLst>
                  <a:gd name="T0" fmla="*/ 0 w 32"/>
                  <a:gd name="T1" fmla="*/ 0 h 36"/>
                  <a:gd name="T2" fmla="*/ 0 w 32"/>
                  <a:gd name="T3" fmla="*/ 0 h 36"/>
                  <a:gd name="T4" fmla="*/ 0 w 32"/>
                  <a:gd name="T5" fmla="*/ 0 h 36"/>
                  <a:gd name="T6" fmla="*/ 0 w 32"/>
                  <a:gd name="T7" fmla="*/ 0 h 36"/>
                  <a:gd name="T8" fmla="*/ 0 w 32"/>
                  <a:gd name="T9" fmla="*/ 0 h 36"/>
                  <a:gd name="T10" fmla="*/ 0 w 32"/>
                  <a:gd name="T11" fmla="*/ 0 h 36"/>
                  <a:gd name="T12" fmla="*/ 0 w 32"/>
                  <a:gd name="T13" fmla="*/ 0 h 36"/>
                  <a:gd name="T14" fmla="*/ 0 w 32"/>
                  <a:gd name="T15" fmla="*/ 0 h 36"/>
                  <a:gd name="T16" fmla="*/ 0 w 32"/>
                  <a:gd name="T17" fmla="*/ 0 h 36"/>
                  <a:gd name="T18" fmla="*/ 0 w 32"/>
                  <a:gd name="T19" fmla="*/ 0 h 36"/>
                  <a:gd name="T20" fmla="*/ 0 w 32"/>
                  <a:gd name="T21" fmla="*/ 0 h 36"/>
                  <a:gd name="T22" fmla="*/ 0 w 32"/>
                  <a:gd name="T23" fmla="*/ 0 h 36"/>
                  <a:gd name="T24" fmla="*/ 0 w 32"/>
                  <a:gd name="T25" fmla="*/ 0 h 36"/>
                  <a:gd name="T26" fmla="*/ 0 w 32"/>
                  <a:gd name="T27" fmla="*/ 0 h 36"/>
                  <a:gd name="T28" fmla="*/ 0 w 32"/>
                  <a:gd name="T29" fmla="*/ 0 h 36"/>
                  <a:gd name="T30" fmla="*/ 0 w 32"/>
                  <a:gd name="T31" fmla="*/ 0 h 36"/>
                  <a:gd name="T32" fmla="*/ 0 w 32"/>
                  <a:gd name="T33" fmla="*/ 0 h 36"/>
                  <a:gd name="T34" fmla="*/ 0 w 32"/>
                  <a:gd name="T35" fmla="*/ 0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36"/>
                  <a:gd name="T56" fmla="*/ 32 w 32"/>
                  <a:gd name="T57" fmla="*/ 36 h 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7" name="Freeform 961"/>
              <p:cNvSpPr>
                <a:spLocks/>
              </p:cNvSpPr>
              <p:nvPr/>
            </p:nvSpPr>
            <p:spPr bwMode="auto">
              <a:xfrm>
                <a:off x="1279" y="1314"/>
                <a:ext cx="46" cy="25"/>
              </a:xfrm>
              <a:custGeom>
                <a:avLst/>
                <a:gdLst>
                  <a:gd name="T0" fmla="*/ 0 w 146"/>
                  <a:gd name="T1" fmla="*/ 0 h 52"/>
                  <a:gd name="T2" fmla="*/ 0 w 146"/>
                  <a:gd name="T3" fmla="*/ 0 h 52"/>
                  <a:gd name="T4" fmla="*/ 0 w 146"/>
                  <a:gd name="T5" fmla="*/ 0 h 52"/>
                  <a:gd name="T6" fmla="*/ 0 w 146"/>
                  <a:gd name="T7" fmla="*/ 0 h 52"/>
                  <a:gd name="T8" fmla="*/ 0 w 146"/>
                  <a:gd name="T9" fmla="*/ 0 h 52"/>
                  <a:gd name="T10" fmla="*/ 0 w 146"/>
                  <a:gd name="T11" fmla="*/ 0 h 52"/>
                  <a:gd name="T12" fmla="*/ 0 w 146"/>
                  <a:gd name="T13" fmla="*/ 0 h 52"/>
                  <a:gd name="T14" fmla="*/ 0 w 146"/>
                  <a:gd name="T15" fmla="*/ 0 h 52"/>
                  <a:gd name="T16" fmla="*/ 0 w 146"/>
                  <a:gd name="T17" fmla="*/ 0 h 52"/>
                  <a:gd name="T18" fmla="*/ 0 w 146"/>
                  <a:gd name="T19" fmla="*/ 0 h 52"/>
                  <a:gd name="T20" fmla="*/ 0 w 146"/>
                  <a:gd name="T21" fmla="*/ 0 h 52"/>
                  <a:gd name="T22" fmla="*/ 0 w 146"/>
                  <a:gd name="T23" fmla="*/ 0 h 52"/>
                  <a:gd name="T24" fmla="*/ 0 w 146"/>
                  <a:gd name="T25" fmla="*/ 0 h 52"/>
                  <a:gd name="T26" fmla="*/ 0 w 146"/>
                  <a:gd name="T27" fmla="*/ 0 h 52"/>
                  <a:gd name="T28" fmla="*/ 0 w 146"/>
                  <a:gd name="T29" fmla="*/ 0 h 52"/>
                  <a:gd name="T30" fmla="*/ 0 w 146"/>
                  <a:gd name="T31" fmla="*/ 0 h 52"/>
                  <a:gd name="T32" fmla="*/ 0 w 146"/>
                  <a:gd name="T33" fmla="*/ 0 h 52"/>
                  <a:gd name="T34" fmla="*/ 0 w 146"/>
                  <a:gd name="T35" fmla="*/ 0 h 52"/>
                  <a:gd name="T36" fmla="*/ 0 w 146"/>
                  <a:gd name="T37" fmla="*/ 0 h 52"/>
                  <a:gd name="T38" fmla="*/ 0 w 146"/>
                  <a:gd name="T39" fmla="*/ 0 h 52"/>
                  <a:gd name="T40" fmla="*/ 0 w 146"/>
                  <a:gd name="T41" fmla="*/ 0 h 52"/>
                  <a:gd name="T42" fmla="*/ 0 w 146"/>
                  <a:gd name="T43" fmla="*/ 0 h 52"/>
                  <a:gd name="T44" fmla="*/ 0 w 146"/>
                  <a:gd name="T45" fmla="*/ 0 h 52"/>
                  <a:gd name="T46" fmla="*/ 0 w 146"/>
                  <a:gd name="T47" fmla="*/ 0 h 52"/>
                  <a:gd name="T48" fmla="*/ 0 w 146"/>
                  <a:gd name="T49" fmla="*/ 0 h 52"/>
                  <a:gd name="T50" fmla="*/ 0 w 146"/>
                  <a:gd name="T51" fmla="*/ 0 h 52"/>
                  <a:gd name="T52" fmla="*/ 0 w 146"/>
                  <a:gd name="T53" fmla="*/ 0 h 52"/>
                  <a:gd name="T54" fmla="*/ 0 w 146"/>
                  <a:gd name="T55" fmla="*/ 0 h 52"/>
                  <a:gd name="T56" fmla="*/ 0 w 146"/>
                  <a:gd name="T57" fmla="*/ 0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6"/>
                  <a:gd name="T88" fmla="*/ 0 h 52"/>
                  <a:gd name="T89" fmla="*/ 146 w 146"/>
                  <a:gd name="T90" fmla="*/ 52 h 5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8" name="Freeform 962"/>
              <p:cNvSpPr>
                <a:spLocks/>
              </p:cNvSpPr>
              <p:nvPr/>
            </p:nvSpPr>
            <p:spPr bwMode="auto">
              <a:xfrm>
                <a:off x="1261" y="1252"/>
                <a:ext cx="21" cy="10"/>
              </a:xfrm>
              <a:custGeom>
                <a:avLst/>
                <a:gdLst>
                  <a:gd name="T0" fmla="*/ 0 w 60"/>
                  <a:gd name="T1" fmla="*/ 0 h 31"/>
                  <a:gd name="T2" fmla="*/ 0 w 60"/>
                  <a:gd name="T3" fmla="*/ 0 h 31"/>
                  <a:gd name="T4" fmla="*/ 0 w 60"/>
                  <a:gd name="T5" fmla="*/ 0 h 31"/>
                  <a:gd name="T6" fmla="*/ 0 w 60"/>
                  <a:gd name="T7" fmla="*/ 0 h 31"/>
                  <a:gd name="T8" fmla="*/ 0 w 60"/>
                  <a:gd name="T9" fmla="*/ 0 h 31"/>
                  <a:gd name="T10" fmla="*/ 0 w 60"/>
                  <a:gd name="T11" fmla="*/ 0 h 31"/>
                  <a:gd name="T12" fmla="*/ 0 w 60"/>
                  <a:gd name="T13" fmla="*/ 0 h 31"/>
                  <a:gd name="T14" fmla="*/ 0 w 60"/>
                  <a:gd name="T15" fmla="*/ 0 h 31"/>
                  <a:gd name="T16" fmla="*/ 0 w 60"/>
                  <a:gd name="T17" fmla="*/ 0 h 31"/>
                  <a:gd name="T18" fmla="*/ 0 w 60"/>
                  <a:gd name="T19" fmla="*/ 0 h 31"/>
                  <a:gd name="T20" fmla="*/ 0 w 60"/>
                  <a:gd name="T21" fmla="*/ 0 h 31"/>
                  <a:gd name="T22" fmla="*/ 0 w 60"/>
                  <a:gd name="T23" fmla="*/ 0 h 31"/>
                  <a:gd name="T24" fmla="*/ 0 w 60"/>
                  <a:gd name="T25" fmla="*/ 0 h 31"/>
                  <a:gd name="T26" fmla="*/ 0 w 60"/>
                  <a:gd name="T27" fmla="*/ 0 h 31"/>
                  <a:gd name="T28" fmla="*/ 0 w 60"/>
                  <a:gd name="T29" fmla="*/ 0 h 31"/>
                  <a:gd name="T30" fmla="*/ 0 w 60"/>
                  <a:gd name="T31" fmla="*/ 0 h 31"/>
                  <a:gd name="T32" fmla="*/ 0 w 60"/>
                  <a:gd name="T33" fmla="*/ 0 h 31"/>
                  <a:gd name="T34" fmla="*/ 0 w 60"/>
                  <a:gd name="T35" fmla="*/ 0 h 31"/>
                  <a:gd name="T36" fmla="*/ 0 w 60"/>
                  <a:gd name="T37" fmla="*/ 0 h 31"/>
                  <a:gd name="T38" fmla="*/ 0 w 60"/>
                  <a:gd name="T39" fmla="*/ 0 h 31"/>
                  <a:gd name="T40" fmla="*/ 0 w 60"/>
                  <a:gd name="T41" fmla="*/ 0 h 31"/>
                  <a:gd name="T42" fmla="*/ 0 w 60"/>
                  <a:gd name="T43" fmla="*/ 0 h 31"/>
                  <a:gd name="T44" fmla="*/ 0 w 60"/>
                  <a:gd name="T45" fmla="*/ 0 h 31"/>
                  <a:gd name="T46" fmla="*/ 0 w 60"/>
                  <a:gd name="T47" fmla="*/ 0 h 31"/>
                  <a:gd name="T48" fmla="*/ 0 w 60"/>
                  <a:gd name="T49" fmla="*/ 0 h 31"/>
                  <a:gd name="T50" fmla="*/ 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0"/>
                  <a:gd name="T79" fmla="*/ 0 h 31"/>
                  <a:gd name="T80" fmla="*/ 60 w 60"/>
                  <a:gd name="T81" fmla="*/ 31 h 3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9" name="Freeform 963"/>
              <p:cNvSpPr>
                <a:spLocks/>
              </p:cNvSpPr>
              <p:nvPr/>
            </p:nvSpPr>
            <p:spPr bwMode="auto">
              <a:xfrm>
                <a:off x="1730" y="1713"/>
                <a:ext cx="26" cy="20"/>
              </a:xfrm>
              <a:custGeom>
                <a:avLst/>
                <a:gdLst>
                  <a:gd name="T0" fmla="*/ 0 w 80"/>
                  <a:gd name="T1" fmla="*/ 0 h 62"/>
                  <a:gd name="T2" fmla="*/ 0 w 80"/>
                  <a:gd name="T3" fmla="*/ 0 h 62"/>
                  <a:gd name="T4" fmla="*/ 0 w 80"/>
                  <a:gd name="T5" fmla="*/ 0 h 62"/>
                  <a:gd name="T6" fmla="*/ 0 w 80"/>
                  <a:gd name="T7" fmla="*/ 0 h 62"/>
                  <a:gd name="T8" fmla="*/ 0 w 80"/>
                  <a:gd name="T9" fmla="*/ 0 h 62"/>
                  <a:gd name="T10" fmla="*/ 0 w 80"/>
                  <a:gd name="T11" fmla="*/ 0 h 62"/>
                  <a:gd name="T12" fmla="*/ 0 w 80"/>
                  <a:gd name="T13" fmla="*/ 0 h 62"/>
                  <a:gd name="T14" fmla="*/ 0 w 80"/>
                  <a:gd name="T15" fmla="*/ 0 h 62"/>
                  <a:gd name="T16" fmla="*/ 0 w 80"/>
                  <a:gd name="T17" fmla="*/ 0 h 62"/>
                  <a:gd name="T18" fmla="*/ 0 w 80"/>
                  <a:gd name="T19" fmla="*/ 0 h 62"/>
                  <a:gd name="T20" fmla="*/ 0 w 80"/>
                  <a:gd name="T21" fmla="*/ 0 h 62"/>
                  <a:gd name="T22" fmla="*/ 0 w 80"/>
                  <a:gd name="T23" fmla="*/ 0 h 62"/>
                  <a:gd name="T24" fmla="*/ 0 w 80"/>
                  <a:gd name="T25" fmla="*/ 0 h 62"/>
                  <a:gd name="T26" fmla="*/ 0 w 80"/>
                  <a:gd name="T27" fmla="*/ 0 h 62"/>
                  <a:gd name="T28" fmla="*/ 0 w 80"/>
                  <a:gd name="T29" fmla="*/ 0 h 62"/>
                  <a:gd name="T30" fmla="*/ 0 w 80"/>
                  <a:gd name="T31" fmla="*/ 0 h 62"/>
                  <a:gd name="T32" fmla="*/ 0 w 80"/>
                  <a:gd name="T33" fmla="*/ 0 h 62"/>
                  <a:gd name="T34" fmla="*/ 0 w 80"/>
                  <a:gd name="T35" fmla="*/ 0 h 62"/>
                  <a:gd name="T36" fmla="*/ 0 w 80"/>
                  <a:gd name="T37" fmla="*/ 0 h 62"/>
                  <a:gd name="T38" fmla="*/ 0 w 80"/>
                  <a:gd name="T39" fmla="*/ 0 h 62"/>
                  <a:gd name="T40" fmla="*/ 0 w 80"/>
                  <a:gd name="T41" fmla="*/ 0 h 62"/>
                  <a:gd name="T42" fmla="*/ 0 w 80"/>
                  <a:gd name="T43" fmla="*/ 0 h 62"/>
                  <a:gd name="T44" fmla="*/ 0 w 80"/>
                  <a:gd name="T45" fmla="*/ 0 h 62"/>
                  <a:gd name="T46" fmla="*/ 0 w 80"/>
                  <a:gd name="T47" fmla="*/ 0 h 62"/>
                  <a:gd name="T48" fmla="*/ 0 w 80"/>
                  <a:gd name="T49" fmla="*/ 0 h 62"/>
                  <a:gd name="T50" fmla="*/ 0 w 80"/>
                  <a:gd name="T51" fmla="*/ 0 h 62"/>
                  <a:gd name="T52" fmla="*/ 0 w 80"/>
                  <a:gd name="T53" fmla="*/ 0 h 62"/>
                  <a:gd name="T54" fmla="*/ 0 w 80"/>
                  <a:gd name="T55" fmla="*/ 0 h 62"/>
                  <a:gd name="T56" fmla="*/ 0 w 80"/>
                  <a:gd name="T57" fmla="*/ 0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
                  <a:gd name="T88" fmla="*/ 0 h 62"/>
                  <a:gd name="T89" fmla="*/ 80 w 80"/>
                  <a:gd name="T90" fmla="*/ 62 h 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0" name="Freeform 964"/>
              <p:cNvSpPr>
                <a:spLocks/>
              </p:cNvSpPr>
              <p:nvPr/>
            </p:nvSpPr>
            <p:spPr bwMode="auto">
              <a:xfrm>
                <a:off x="1583" y="1674"/>
                <a:ext cx="33" cy="16"/>
              </a:xfrm>
              <a:custGeom>
                <a:avLst/>
                <a:gdLst>
                  <a:gd name="T0" fmla="*/ 0 w 106"/>
                  <a:gd name="T1" fmla="*/ 0 h 49"/>
                  <a:gd name="T2" fmla="*/ 0 w 106"/>
                  <a:gd name="T3" fmla="*/ 0 h 49"/>
                  <a:gd name="T4" fmla="*/ 0 w 106"/>
                  <a:gd name="T5" fmla="*/ 0 h 49"/>
                  <a:gd name="T6" fmla="*/ 0 w 106"/>
                  <a:gd name="T7" fmla="*/ 0 h 49"/>
                  <a:gd name="T8" fmla="*/ 0 w 106"/>
                  <a:gd name="T9" fmla="*/ 0 h 49"/>
                  <a:gd name="T10" fmla="*/ 0 w 106"/>
                  <a:gd name="T11" fmla="*/ 0 h 49"/>
                  <a:gd name="T12" fmla="*/ 0 w 106"/>
                  <a:gd name="T13" fmla="*/ 0 h 49"/>
                  <a:gd name="T14" fmla="*/ 0 w 106"/>
                  <a:gd name="T15" fmla="*/ 0 h 49"/>
                  <a:gd name="T16" fmla="*/ 0 w 106"/>
                  <a:gd name="T17" fmla="*/ 0 h 49"/>
                  <a:gd name="T18" fmla="*/ 0 w 106"/>
                  <a:gd name="T19" fmla="*/ 0 h 49"/>
                  <a:gd name="T20" fmla="*/ 0 w 106"/>
                  <a:gd name="T21" fmla="*/ 0 h 49"/>
                  <a:gd name="T22" fmla="*/ 0 w 106"/>
                  <a:gd name="T23" fmla="*/ 0 h 49"/>
                  <a:gd name="T24" fmla="*/ 0 w 106"/>
                  <a:gd name="T25" fmla="*/ 0 h 49"/>
                  <a:gd name="T26" fmla="*/ 0 w 106"/>
                  <a:gd name="T27" fmla="*/ 0 h 49"/>
                  <a:gd name="T28" fmla="*/ 0 w 106"/>
                  <a:gd name="T29" fmla="*/ 0 h 49"/>
                  <a:gd name="T30" fmla="*/ 0 w 106"/>
                  <a:gd name="T31" fmla="*/ 0 h 49"/>
                  <a:gd name="T32" fmla="*/ 0 w 106"/>
                  <a:gd name="T33" fmla="*/ 0 h 49"/>
                  <a:gd name="T34" fmla="*/ 0 w 106"/>
                  <a:gd name="T35" fmla="*/ 0 h 49"/>
                  <a:gd name="T36" fmla="*/ 0 w 106"/>
                  <a:gd name="T37" fmla="*/ 0 h 49"/>
                  <a:gd name="T38" fmla="*/ 0 w 106"/>
                  <a:gd name="T39" fmla="*/ 0 h 49"/>
                  <a:gd name="T40" fmla="*/ 0 w 106"/>
                  <a:gd name="T41" fmla="*/ 0 h 49"/>
                  <a:gd name="T42" fmla="*/ 0 w 106"/>
                  <a:gd name="T43" fmla="*/ 0 h 49"/>
                  <a:gd name="T44" fmla="*/ 0 w 106"/>
                  <a:gd name="T45" fmla="*/ 0 h 49"/>
                  <a:gd name="T46" fmla="*/ 0 w 106"/>
                  <a:gd name="T47" fmla="*/ 0 h 49"/>
                  <a:gd name="T48" fmla="*/ 0 w 106"/>
                  <a:gd name="T49" fmla="*/ 0 h 49"/>
                  <a:gd name="T50" fmla="*/ 0 w 106"/>
                  <a:gd name="T51" fmla="*/ 0 h 49"/>
                  <a:gd name="T52" fmla="*/ 0 w 106"/>
                  <a:gd name="T53" fmla="*/ 0 h 49"/>
                  <a:gd name="T54" fmla="*/ 0 w 106"/>
                  <a:gd name="T55" fmla="*/ 0 h 49"/>
                  <a:gd name="T56" fmla="*/ 0 w 106"/>
                  <a:gd name="T57" fmla="*/ 0 h 49"/>
                  <a:gd name="T58" fmla="*/ 0 w 106"/>
                  <a:gd name="T59" fmla="*/ 0 h 49"/>
                  <a:gd name="T60" fmla="*/ 0 w 106"/>
                  <a:gd name="T61" fmla="*/ 0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6"/>
                  <a:gd name="T94" fmla="*/ 0 h 49"/>
                  <a:gd name="T95" fmla="*/ 106 w 106"/>
                  <a:gd name="T96" fmla="*/ 49 h 4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1" name="Freeform 965"/>
              <p:cNvSpPr>
                <a:spLocks/>
              </p:cNvSpPr>
              <p:nvPr/>
            </p:nvSpPr>
            <p:spPr bwMode="auto">
              <a:xfrm>
                <a:off x="1599" y="1713"/>
                <a:ext cx="13" cy="7"/>
              </a:xfrm>
              <a:custGeom>
                <a:avLst/>
                <a:gdLst>
                  <a:gd name="T0" fmla="*/ 0 w 47"/>
                  <a:gd name="T1" fmla="*/ 0 h 22"/>
                  <a:gd name="T2" fmla="*/ 0 w 47"/>
                  <a:gd name="T3" fmla="*/ 0 h 22"/>
                  <a:gd name="T4" fmla="*/ 0 w 47"/>
                  <a:gd name="T5" fmla="*/ 0 h 22"/>
                  <a:gd name="T6" fmla="*/ 0 w 47"/>
                  <a:gd name="T7" fmla="*/ 0 h 22"/>
                  <a:gd name="T8" fmla="*/ 0 w 47"/>
                  <a:gd name="T9" fmla="*/ 0 h 22"/>
                  <a:gd name="T10" fmla="*/ 0 w 47"/>
                  <a:gd name="T11" fmla="*/ 0 h 22"/>
                  <a:gd name="T12" fmla="*/ 0 w 47"/>
                  <a:gd name="T13" fmla="*/ 0 h 22"/>
                  <a:gd name="T14" fmla="*/ 0 w 47"/>
                  <a:gd name="T15" fmla="*/ 0 h 22"/>
                  <a:gd name="T16" fmla="*/ 0 w 47"/>
                  <a:gd name="T17" fmla="*/ 0 h 22"/>
                  <a:gd name="T18" fmla="*/ 0 w 47"/>
                  <a:gd name="T19" fmla="*/ 0 h 22"/>
                  <a:gd name="T20" fmla="*/ 0 w 47"/>
                  <a:gd name="T21" fmla="*/ 0 h 22"/>
                  <a:gd name="T22" fmla="*/ 0 w 47"/>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
                  <a:gd name="T37" fmla="*/ 0 h 22"/>
                  <a:gd name="T38" fmla="*/ 47 w 47"/>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2" name="Freeform 966"/>
              <p:cNvSpPr>
                <a:spLocks/>
              </p:cNvSpPr>
              <p:nvPr/>
            </p:nvSpPr>
            <p:spPr bwMode="auto">
              <a:xfrm>
                <a:off x="1608" y="1742"/>
                <a:ext cx="16" cy="19"/>
              </a:xfrm>
              <a:custGeom>
                <a:avLst/>
                <a:gdLst>
                  <a:gd name="T0" fmla="*/ 0 w 53"/>
                  <a:gd name="T1" fmla="*/ 0 h 32"/>
                  <a:gd name="T2" fmla="*/ 0 w 53"/>
                  <a:gd name="T3" fmla="*/ 0 h 32"/>
                  <a:gd name="T4" fmla="*/ 0 w 53"/>
                  <a:gd name="T5" fmla="*/ 0 h 32"/>
                  <a:gd name="T6" fmla="*/ 0 w 53"/>
                  <a:gd name="T7" fmla="*/ 0 h 32"/>
                  <a:gd name="T8" fmla="*/ 0 w 53"/>
                  <a:gd name="T9" fmla="*/ 0 h 32"/>
                  <a:gd name="T10" fmla="*/ 0 w 53"/>
                  <a:gd name="T11" fmla="*/ 0 h 32"/>
                  <a:gd name="T12" fmla="*/ 0 w 53"/>
                  <a:gd name="T13" fmla="*/ 0 h 32"/>
                  <a:gd name="T14" fmla="*/ 0 w 53"/>
                  <a:gd name="T15" fmla="*/ 0 h 32"/>
                  <a:gd name="T16" fmla="*/ 0 w 53"/>
                  <a:gd name="T17" fmla="*/ 0 h 32"/>
                  <a:gd name="T18" fmla="*/ 0 w 53"/>
                  <a:gd name="T19" fmla="*/ 0 h 32"/>
                  <a:gd name="T20" fmla="*/ 0 w 53"/>
                  <a:gd name="T21" fmla="*/ 0 h 32"/>
                  <a:gd name="T22" fmla="*/ 0 w 53"/>
                  <a:gd name="T23" fmla="*/ 0 h 32"/>
                  <a:gd name="T24" fmla="*/ 0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32"/>
                  <a:gd name="T41" fmla="*/ 53 w 53"/>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3" name="Freeform 967"/>
              <p:cNvSpPr>
                <a:spLocks/>
              </p:cNvSpPr>
              <p:nvPr/>
            </p:nvSpPr>
            <p:spPr bwMode="auto">
              <a:xfrm>
                <a:off x="1450" y="1438"/>
                <a:ext cx="14" cy="12"/>
              </a:xfrm>
              <a:custGeom>
                <a:avLst/>
                <a:gdLst>
                  <a:gd name="T0" fmla="*/ 0 w 46"/>
                  <a:gd name="T1" fmla="*/ 0 h 34"/>
                  <a:gd name="T2" fmla="*/ 0 w 46"/>
                  <a:gd name="T3" fmla="*/ 0 h 34"/>
                  <a:gd name="T4" fmla="*/ 0 w 46"/>
                  <a:gd name="T5" fmla="*/ 0 h 34"/>
                  <a:gd name="T6" fmla="*/ 0 w 46"/>
                  <a:gd name="T7" fmla="*/ 0 h 34"/>
                  <a:gd name="T8" fmla="*/ 0 w 46"/>
                  <a:gd name="T9" fmla="*/ 0 h 34"/>
                  <a:gd name="T10" fmla="*/ 0 w 46"/>
                  <a:gd name="T11" fmla="*/ 0 h 34"/>
                  <a:gd name="T12" fmla="*/ 0 w 46"/>
                  <a:gd name="T13" fmla="*/ 0 h 34"/>
                  <a:gd name="T14" fmla="*/ 0 w 46"/>
                  <a:gd name="T15" fmla="*/ 0 h 34"/>
                  <a:gd name="T16" fmla="*/ 0 w 46"/>
                  <a:gd name="T17" fmla="*/ 0 h 34"/>
                  <a:gd name="T18" fmla="*/ 0 w 46"/>
                  <a:gd name="T19" fmla="*/ 0 h 34"/>
                  <a:gd name="T20" fmla="*/ 0 w 46"/>
                  <a:gd name="T21" fmla="*/ 0 h 34"/>
                  <a:gd name="T22" fmla="*/ 0 w 46"/>
                  <a:gd name="T23" fmla="*/ 0 h 34"/>
                  <a:gd name="T24" fmla="*/ 0 w 46"/>
                  <a:gd name="T25" fmla="*/ 0 h 34"/>
                  <a:gd name="T26" fmla="*/ 0 w 46"/>
                  <a:gd name="T27" fmla="*/ 0 h 34"/>
                  <a:gd name="T28" fmla="*/ 0 w 46"/>
                  <a:gd name="T29" fmla="*/ 0 h 34"/>
                  <a:gd name="T30" fmla="*/ 0 w 46"/>
                  <a:gd name="T31" fmla="*/ 0 h 34"/>
                  <a:gd name="T32" fmla="*/ 0 w 46"/>
                  <a:gd name="T33" fmla="*/ 0 h 34"/>
                  <a:gd name="T34" fmla="*/ 0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34"/>
                  <a:gd name="T56" fmla="*/ 46 w 46"/>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4" name="Freeform 968"/>
              <p:cNvSpPr>
                <a:spLocks/>
              </p:cNvSpPr>
              <p:nvPr/>
            </p:nvSpPr>
            <p:spPr bwMode="auto">
              <a:xfrm>
                <a:off x="1305" y="1224"/>
                <a:ext cx="12" cy="8"/>
              </a:xfrm>
              <a:custGeom>
                <a:avLst/>
                <a:gdLst>
                  <a:gd name="T0" fmla="*/ 0 w 48"/>
                  <a:gd name="T1" fmla="*/ 0 h 25"/>
                  <a:gd name="T2" fmla="*/ 0 w 48"/>
                  <a:gd name="T3" fmla="*/ 0 h 25"/>
                  <a:gd name="T4" fmla="*/ 0 w 48"/>
                  <a:gd name="T5" fmla="*/ 0 h 25"/>
                  <a:gd name="T6" fmla="*/ 0 w 48"/>
                  <a:gd name="T7" fmla="*/ 0 h 25"/>
                  <a:gd name="T8" fmla="*/ 0 w 48"/>
                  <a:gd name="T9" fmla="*/ 0 h 25"/>
                  <a:gd name="T10" fmla="*/ 0 w 48"/>
                  <a:gd name="T11" fmla="*/ 0 h 25"/>
                  <a:gd name="T12" fmla="*/ 0 w 48"/>
                  <a:gd name="T13" fmla="*/ 0 h 25"/>
                  <a:gd name="T14" fmla="*/ 0 w 48"/>
                  <a:gd name="T15" fmla="*/ 0 h 25"/>
                  <a:gd name="T16" fmla="*/ 0 w 48"/>
                  <a:gd name="T17" fmla="*/ 0 h 25"/>
                  <a:gd name="T18" fmla="*/ 0 w 48"/>
                  <a:gd name="T19" fmla="*/ 0 h 25"/>
                  <a:gd name="T20" fmla="*/ 0 w 48"/>
                  <a:gd name="T21" fmla="*/ 0 h 25"/>
                  <a:gd name="T22" fmla="*/ 0 w 48"/>
                  <a:gd name="T23" fmla="*/ 0 h 25"/>
                  <a:gd name="T24" fmla="*/ 0 w 48"/>
                  <a:gd name="T25" fmla="*/ 0 h 25"/>
                  <a:gd name="T26" fmla="*/ 0 w 48"/>
                  <a:gd name="T27" fmla="*/ 0 h 25"/>
                  <a:gd name="T28" fmla="*/ 0 w 48"/>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25"/>
                  <a:gd name="T47" fmla="*/ 48 w 48"/>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5" name="Freeform 969"/>
              <p:cNvSpPr>
                <a:spLocks/>
              </p:cNvSpPr>
              <p:nvPr/>
            </p:nvSpPr>
            <p:spPr bwMode="auto">
              <a:xfrm>
                <a:off x="1343" y="1188"/>
                <a:ext cx="12" cy="11"/>
              </a:xfrm>
              <a:custGeom>
                <a:avLst/>
                <a:gdLst>
                  <a:gd name="T0" fmla="*/ 0 w 30"/>
                  <a:gd name="T1" fmla="*/ 0 h 37"/>
                  <a:gd name="T2" fmla="*/ 0 w 30"/>
                  <a:gd name="T3" fmla="*/ 0 h 37"/>
                  <a:gd name="T4" fmla="*/ 0 w 30"/>
                  <a:gd name="T5" fmla="*/ 0 h 37"/>
                  <a:gd name="T6" fmla="*/ 0 w 30"/>
                  <a:gd name="T7" fmla="*/ 0 h 37"/>
                  <a:gd name="T8" fmla="*/ 0 w 30"/>
                  <a:gd name="T9" fmla="*/ 0 h 37"/>
                  <a:gd name="T10" fmla="*/ 0 w 30"/>
                  <a:gd name="T11" fmla="*/ 0 h 37"/>
                  <a:gd name="T12" fmla="*/ 0 w 30"/>
                  <a:gd name="T13" fmla="*/ 0 h 37"/>
                  <a:gd name="T14" fmla="*/ 0 w 30"/>
                  <a:gd name="T15" fmla="*/ 0 h 37"/>
                  <a:gd name="T16" fmla="*/ 0 w 30"/>
                  <a:gd name="T17" fmla="*/ 0 h 37"/>
                  <a:gd name="T18" fmla="*/ 0 w 30"/>
                  <a:gd name="T19" fmla="*/ 0 h 37"/>
                  <a:gd name="T20" fmla="*/ 0 w 30"/>
                  <a:gd name="T21" fmla="*/ 0 h 37"/>
                  <a:gd name="T22" fmla="*/ 0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37"/>
                  <a:gd name="T41" fmla="*/ 30 w 30"/>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6" name="Freeform 970"/>
              <p:cNvSpPr>
                <a:spLocks/>
              </p:cNvSpPr>
              <p:nvPr/>
            </p:nvSpPr>
            <p:spPr bwMode="auto">
              <a:xfrm>
                <a:off x="1334" y="1208"/>
                <a:ext cx="36" cy="16"/>
              </a:xfrm>
              <a:custGeom>
                <a:avLst/>
                <a:gdLst>
                  <a:gd name="T0" fmla="*/ 0 w 113"/>
                  <a:gd name="T1" fmla="*/ 0 h 46"/>
                  <a:gd name="T2" fmla="*/ 0 w 113"/>
                  <a:gd name="T3" fmla="*/ 0 h 46"/>
                  <a:gd name="T4" fmla="*/ 0 w 113"/>
                  <a:gd name="T5" fmla="*/ 0 h 46"/>
                  <a:gd name="T6" fmla="*/ 0 w 113"/>
                  <a:gd name="T7" fmla="*/ 0 h 46"/>
                  <a:gd name="T8" fmla="*/ 0 w 113"/>
                  <a:gd name="T9" fmla="*/ 0 h 46"/>
                  <a:gd name="T10" fmla="*/ 0 w 113"/>
                  <a:gd name="T11" fmla="*/ 0 h 46"/>
                  <a:gd name="T12" fmla="*/ 0 w 113"/>
                  <a:gd name="T13" fmla="*/ 0 h 46"/>
                  <a:gd name="T14" fmla="*/ 0 w 113"/>
                  <a:gd name="T15" fmla="*/ 0 h 46"/>
                  <a:gd name="T16" fmla="*/ 0 w 113"/>
                  <a:gd name="T17" fmla="*/ 0 h 46"/>
                  <a:gd name="T18" fmla="*/ 0 w 113"/>
                  <a:gd name="T19" fmla="*/ 0 h 46"/>
                  <a:gd name="T20" fmla="*/ 0 w 113"/>
                  <a:gd name="T21" fmla="*/ 0 h 46"/>
                  <a:gd name="T22" fmla="*/ 0 w 113"/>
                  <a:gd name="T23" fmla="*/ 0 h 46"/>
                  <a:gd name="T24" fmla="*/ 0 w 113"/>
                  <a:gd name="T25" fmla="*/ 0 h 46"/>
                  <a:gd name="T26" fmla="*/ 0 w 113"/>
                  <a:gd name="T27" fmla="*/ 0 h 46"/>
                  <a:gd name="T28" fmla="*/ 0 w 113"/>
                  <a:gd name="T29" fmla="*/ 0 h 46"/>
                  <a:gd name="T30" fmla="*/ 0 w 113"/>
                  <a:gd name="T31" fmla="*/ 0 h 46"/>
                  <a:gd name="T32" fmla="*/ 0 w 113"/>
                  <a:gd name="T33" fmla="*/ 0 h 46"/>
                  <a:gd name="T34" fmla="*/ 0 w 113"/>
                  <a:gd name="T35" fmla="*/ 0 h 46"/>
                  <a:gd name="T36" fmla="*/ 0 w 113"/>
                  <a:gd name="T37" fmla="*/ 0 h 46"/>
                  <a:gd name="T38" fmla="*/ 0 w 113"/>
                  <a:gd name="T39" fmla="*/ 0 h 46"/>
                  <a:gd name="T40" fmla="*/ 0 w 113"/>
                  <a:gd name="T41" fmla="*/ 0 h 46"/>
                  <a:gd name="T42" fmla="*/ 0 w 113"/>
                  <a:gd name="T43" fmla="*/ 0 h 46"/>
                  <a:gd name="T44" fmla="*/ 0 w 113"/>
                  <a:gd name="T45" fmla="*/ 0 h 46"/>
                  <a:gd name="T46" fmla="*/ 0 w 113"/>
                  <a:gd name="T47" fmla="*/ 0 h 46"/>
                  <a:gd name="T48" fmla="*/ 0 w 113"/>
                  <a:gd name="T49" fmla="*/ 0 h 46"/>
                  <a:gd name="T50" fmla="*/ 0 w 113"/>
                  <a:gd name="T51" fmla="*/ 0 h 46"/>
                  <a:gd name="T52" fmla="*/ 0 w 113"/>
                  <a:gd name="T53" fmla="*/ 0 h 46"/>
                  <a:gd name="T54" fmla="*/ 0 w 113"/>
                  <a:gd name="T55" fmla="*/ 0 h 46"/>
                  <a:gd name="T56" fmla="*/ 0 w 113"/>
                  <a:gd name="T57" fmla="*/ 0 h 46"/>
                  <a:gd name="T58" fmla="*/ 0 w 113"/>
                  <a:gd name="T59" fmla="*/ 0 h 46"/>
                  <a:gd name="T60" fmla="*/ 0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3"/>
                  <a:gd name="T94" fmla="*/ 0 h 46"/>
                  <a:gd name="T95" fmla="*/ 113 w 113"/>
                  <a:gd name="T96" fmla="*/ 46 h 4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7" name="Freeform 971"/>
              <p:cNvSpPr>
                <a:spLocks/>
              </p:cNvSpPr>
              <p:nvPr/>
            </p:nvSpPr>
            <p:spPr bwMode="auto">
              <a:xfrm>
                <a:off x="1365" y="1201"/>
                <a:ext cx="49" cy="28"/>
              </a:xfrm>
              <a:custGeom>
                <a:avLst/>
                <a:gdLst>
                  <a:gd name="T0" fmla="*/ 0 w 153"/>
                  <a:gd name="T1" fmla="*/ 0 h 82"/>
                  <a:gd name="T2" fmla="*/ 0 w 153"/>
                  <a:gd name="T3" fmla="*/ 0 h 82"/>
                  <a:gd name="T4" fmla="*/ 0 w 153"/>
                  <a:gd name="T5" fmla="*/ 0 h 82"/>
                  <a:gd name="T6" fmla="*/ 0 w 153"/>
                  <a:gd name="T7" fmla="*/ 0 h 82"/>
                  <a:gd name="T8" fmla="*/ 0 w 153"/>
                  <a:gd name="T9" fmla="*/ 0 h 82"/>
                  <a:gd name="T10" fmla="*/ 0 w 153"/>
                  <a:gd name="T11" fmla="*/ 0 h 82"/>
                  <a:gd name="T12" fmla="*/ 0 w 153"/>
                  <a:gd name="T13" fmla="*/ 0 h 82"/>
                  <a:gd name="T14" fmla="*/ 0 w 153"/>
                  <a:gd name="T15" fmla="*/ 0 h 82"/>
                  <a:gd name="T16" fmla="*/ 0 w 153"/>
                  <a:gd name="T17" fmla="*/ 0 h 82"/>
                  <a:gd name="T18" fmla="*/ 0 w 153"/>
                  <a:gd name="T19" fmla="*/ 0 h 82"/>
                  <a:gd name="T20" fmla="*/ 0 w 153"/>
                  <a:gd name="T21" fmla="*/ 0 h 82"/>
                  <a:gd name="T22" fmla="*/ 0 w 153"/>
                  <a:gd name="T23" fmla="*/ 0 h 82"/>
                  <a:gd name="T24" fmla="*/ 0 w 153"/>
                  <a:gd name="T25" fmla="*/ 0 h 82"/>
                  <a:gd name="T26" fmla="*/ 0 w 153"/>
                  <a:gd name="T27" fmla="*/ 0 h 82"/>
                  <a:gd name="T28" fmla="*/ 0 w 153"/>
                  <a:gd name="T29" fmla="*/ 0 h 82"/>
                  <a:gd name="T30" fmla="*/ 0 w 153"/>
                  <a:gd name="T31" fmla="*/ 0 h 82"/>
                  <a:gd name="T32" fmla="*/ 0 w 153"/>
                  <a:gd name="T33" fmla="*/ 0 h 82"/>
                  <a:gd name="T34" fmla="*/ 0 w 153"/>
                  <a:gd name="T35" fmla="*/ 0 h 82"/>
                  <a:gd name="T36" fmla="*/ 0 w 153"/>
                  <a:gd name="T37" fmla="*/ 0 h 82"/>
                  <a:gd name="T38" fmla="*/ 0 w 153"/>
                  <a:gd name="T39" fmla="*/ 0 h 82"/>
                  <a:gd name="T40" fmla="*/ 0 w 153"/>
                  <a:gd name="T41" fmla="*/ 0 h 82"/>
                  <a:gd name="T42" fmla="*/ 0 w 153"/>
                  <a:gd name="T43" fmla="*/ 0 h 82"/>
                  <a:gd name="T44" fmla="*/ 0 w 153"/>
                  <a:gd name="T45" fmla="*/ 0 h 82"/>
                  <a:gd name="T46" fmla="*/ 0 w 153"/>
                  <a:gd name="T47" fmla="*/ 0 h 82"/>
                  <a:gd name="T48" fmla="*/ 0 w 153"/>
                  <a:gd name="T49" fmla="*/ 0 h 82"/>
                  <a:gd name="T50" fmla="*/ 0 w 153"/>
                  <a:gd name="T51" fmla="*/ 0 h 82"/>
                  <a:gd name="T52" fmla="*/ 0 w 153"/>
                  <a:gd name="T53" fmla="*/ 0 h 82"/>
                  <a:gd name="T54" fmla="*/ 0 w 153"/>
                  <a:gd name="T55" fmla="*/ 0 h 82"/>
                  <a:gd name="T56" fmla="*/ 0 w 153"/>
                  <a:gd name="T57" fmla="*/ 0 h 82"/>
                  <a:gd name="T58" fmla="*/ 0 w 153"/>
                  <a:gd name="T59" fmla="*/ 0 h 82"/>
                  <a:gd name="T60" fmla="*/ 0 w 153"/>
                  <a:gd name="T61" fmla="*/ 0 h 82"/>
                  <a:gd name="T62" fmla="*/ 0 w 153"/>
                  <a:gd name="T63" fmla="*/ 0 h 82"/>
                  <a:gd name="T64" fmla="*/ 0 w 153"/>
                  <a:gd name="T65" fmla="*/ 0 h 82"/>
                  <a:gd name="T66" fmla="*/ 0 w 153"/>
                  <a:gd name="T67" fmla="*/ 0 h 82"/>
                  <a:gd name="T68" fmla="*/ 0 w 153"/>
                  <a:gd name="T69" fmla="*/ 0 h 82"/>
                  <a:gd name="T70" fmla="*/ 0 w 153"/>
                  <a:gd name="T71" fmla="*/ 0 h 82"/>
                  <a:gd name="T72" fmla="*/ 0 w 153"/>
                  <a:gd name="T73" fmla="*/ 0 h 82"/>
                  <a:gd name="T74" fmla="*/ 0 w 153"/>
                  <a:gd name="T75" fmla="*/ 0 h 82"/>
                  <a:gd name="T76" fmla="*/ 0 w 153"/>
                  <a:gd name="T77" fmla="*/ 0 h 82"/>
                  <a:gd name="T78" fmla="*/ 0 w 153"/>
                  <a:gd name="T79" fmla="*/ 0 h 82"/>
                  <a:gd name="T80" fmla="*/ 0 w 153"/>
                  <a:gd name="T81" fmla="*/ 0 h 82"/>
                  <a:gd name="T82" fmla="*/ 0 w 153"/>
                  <a:gd name="T83" fmla="*/ 0 h 82"/>
                  <a:gd name="T84" fmla="*/ 0 w 153"/>
                  <a:gd name="T85" fmla="*/ 0 h 82"/>
                  <a:gd name="T86" fmla="*/ 0 w 153"/>
                  <a:gd name="T87" fmla="*/ 0 h 82"/>
                  <a:gd name="T88" fmla="*/ 0 w 153"/>
                  <a:gd name="T89" fmla="*/ 0 h 82"/>
                  <a:gd name="T90" fmla="*/ 0 w 153"/>
                  <a:gd name="T91" fmla="*/ 0 h 82"/>
                  <a:gd name="T92" fmla="*/ 0 w 153"/>
                  <a:gd name="T93" fmla="*/ 0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3"/>
                  <a:gd name="T142" fmla="*/ 0 h 82"/>
                  <a:gd name="T143" fmla="*/ 153 w 153"/>
                  <a:gd name="T144" fmla="*/ 82 h 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8" name="Freeform 972"/>
              <p:cNvSpPr>
                <a:spLocks/>
              </p:cNvSpPr>
              <p:nvPr/>
            </p:nvSpPr>
            <p:spPr bwMode="auto">
              <a:xfrm>
                <a:off x="1414" y="1217"/>
                <a:ext cx="26" cy="17"/>
              </a:xfrm>
              <a:custGeom>
                <a:avLst/>
                <a:gdLst>
                  <a:gd name="T0" fmla="*/ 0 w 86"/>
                  <a:gd name="T1" fmla="*/ 0 h 50"/>
                  <a:gd name="T2" fmla="*/ 0 w 86"/>
                  <a:gd name="T3" fmla="*/ 0 h 50"/>
                  <a:gd name="T4" fmla="*/ 0 w 86"/>
                  <a:gd name="T5" fmla="*/ 0 h 50"/>
                  <a:gd name="T6" fmla="*/ 0 w 86"/>
                  <a:gd name="T7" fmla="*/ 0 h 50"/>
                  <a:gd name="T8" fmla="*/ 0 w 86"/>
                  <a:gd name="T9" fmla="*/ 0 h 50"/>
                  <a:gd name="T10" fmla="*/ 0 w 86"/>
                  <a:gd name="T11" fmla="*/ 0 h 50"/>
                  <a:gd name="T12" fmla="*/ 0 w 86"/>
                  <a:gd name="T13" fmla="*/ 0 h 50"/>
                  <a:gd name="T14" fmla="*/ 0 w 86"/>
                  <a:gd name="T15" fmla="*/ 0 h 50"/>
                  <a:gd name="T16" fmla="*/ 0 w 86"/>
                  <a:gd name="T17" fmla="*/ 0 h 50"/>
                  <a:gd name="T18" fmla="*/ 0 w 86"/>
                  <a:gd name="T19" fmla="*/ 0 h 50"/>
                  <a:gd name="T20" fmla="*/ 0 w 86"/>
                  <a:gd name="T21" fmla="*/ 0 h 50"/>
                  <a:gd name="T22" fmla="*/ 0 w 86"/>
                  <a:gd name="T23" fmla="*/ 0 h 50"/>
                  <a:gd name="T24" fmla="*/ 0 w 86"/>
                  <a:gd name="T25" fmla="*/ 0 h 50"/>
                  <a:gd name="T26" fmla="*/ 0 w 86"/>
                  <a:gd name="T27" fmla="*/ 0 h 50"/>
                  <a:gd name="T28" fmla="*/ 0 w 86"/>
                  <a:gd name="T29" fmla="*/ 0 h 50"/>
                  <a:gd name="T30" fmla="*/ 0 w 86"/>
                  <a:gd name="T31" fmla="*/ 0 h 50"/>
                  <a:gd name="T32" fmla="*/ 0 w 86"/>
                  <a:gd name="T33" fmla="*/ 0 h 50"/>
                  <a:gd name="T34" fmla="*/ 0 w 86"/>
                  <a:gd name="T35" fmla="*/ 0 h 50"/>
                  <a:gd name="T36" fmla="*/ 0 w 86"/>
                  <a:gd name="T37" fmla="*/ 0 h 50"/>
                  <a:gd name="T38" fmla="*/ 0 w 86"/>
                  <a:gd name="T39" fmla="*/ 0 h 50"/>
                  <a:gd name="T40" fmla="*/ 0 w 86"/>
                  <a:gd name="T41" fmla="*/ 0 h 50"/>
                  <a:gd name="T42" fmla="*/ 0 w 86"/>
                  <a:gd name="T43" fmla="*/ 0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50"/>
                  <a:gd name="T68" fmla="*/ 86 w 86"/>
                  <a:gd name="T69" fmla="*/ 50 h 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9" name="Freeform 973"/>
              <p:cNvSpPr>
                <a:spLocks/>
              </p:cNvSpPr>
              <p:nvPr/>
            </p:nvSpPr>
            <p:spPr bwMode="auto">
              <a:xfrm>
                <a:off x="1380" y="1163"/>
                <a:ext cx="54" cy="33"/>
              </a:xfrm>
              <a:custGeom>
                <a:avLst/>
                <a:gdLst>
                  <a:gd name="T0" fmla="*/ 0 w 172"/>
                  <a:gd name="T1" fmla="*/ 0 h 74"/>
                  <a:gd name="T2" fmla="*/ 0 w 172"/>
                  <a:gd name="T3" fmla="*/ 0 h 74"/>
                  <a:gd name="T4" fmla="*/ 0 w 172"/>
                  <a:gd name="T5" fmla="*/ 0 h 74"/>
                  <a:gd name="T6" fmla="*/ 0 w 172"/>
                  <a:gd name="T7" fmla="*/ 0 h 74"/>
                  <a:gd name="T8" fmla="*/ 0 w 172"/>
                  <a:gd name="T9" fmla="*/ 0 h 74"/>
                  <a:gd name="T10" fmla="*/ 0 w 172"/>
                  <a:gd name="T11" fmla="*/ 0 h 74"/>
                  <a:gd name="T12" fmla="*/ 0 w 172"/>
                  <a:gd name="T13" fmla="*/ 0 h 74"/>
                  <a:gd name="T14" fmla="*/ 0 w 172"/>
                  <a:gd name="T15" fmla="*/ 0 h 74"/>
                  <a:gd name="T16" fmla="*/ 0 w 172"/>
                  <a:gd name="T17" fmla="*/ 0 h 74"/>
                  <a:gd name="T18" fmla="*/ 0 w 172"/>
                  <a:gd name="T19" fmla="*/ 0 h 74"/>
                  <a:gd name="T20" fmla="*/ 0 w 172"/>
                  <a:gd name="T21" fmla="*/ 0 h 74"/>
                  <a:gd name="T22" fmla="*/ 0 w 172"/>
                  <a:gd name="T23" fmla="*/ 0 h 74"/>
                  <a:gd name="T24" fmla="*/ 0 w 172"/>
                  <a:gd name="T25" fmla="*/ 0 h 74"/>
                  <a:gd name="T26" fmla="*/ 0 w 172"/>
                  <a:gd name="T27" fmla="*/ 0 h 74"/>
                  <a:gd name="T28" fmla="*/ 0 w 172"/>
                  <a:gd name="T29" fmla="*/ 0 h 74"/>
                  <a:gd name="T30" fmla="*/ 0 w 172"/>
                  <a:gd name="T31" fmla="*/ 0 h 74"/>
                  <a:gd name="T32" fmla="*/ 0 w 172"/>
                  <a:gd name="T33" fmla="*/ 0 h 74"/>
                  <a:gd name="T34" fmla="*/ 0 w 172"/>
                  <a:gd name="T35" fmla="*/ 0 h 74"/>
                  <a:gd name="T36" fmla="*/ 0 w 172"/>
                  <a:gd name="T37" fmla="*/ 0 h 74"/>
                  <a:gd name="T38" fmla="*/ 0 w 172"/>
                  <a:gd name="T39" fmla="*/ 0 h 74"/>
                  <a:gd name="T40" fmla="*/ 0 w 172"/>
                  <a:gd name="T41" fmla="*/ 0 h 74"/>
                  <a:gd name="T42" fmla="*/ 0 w 172"/>
                  <a:gd name="T43" fmla="*/ 0 h 74"/>
                  <a:gd name="T44" fmla="*/ 0 w 172"/>
                  <a:gd name="T45" fmla="*/ 0 h 74"/>
                  <a:gd name="T46" fmla="*/ 0 w 172"/>
                  <a:gd name="T47" fmla="*/ 0 h 74"/>
                  <a:gd name="T48" fmla="*/ 0 w 172"/>
                  <a:gd name="T49" fmla="*/ 0 h 74"/>
                  <a:gd name="T50" fmla="*/ 0 w 172"/>
                  <a:gd name="T51" fmla="*/ 0 h 74"/>
                  <a:gd name="T52" fmla="*/ 0 w 172"/>
                  <a:gd name="T53" fmla="*/ 0 h 74"/>
                  <a:gd name="T54" fmla="*/ 0 w 172"/>
                  <a:gd name="T55" fmla="*/ 0 h 74"/>
                  <a:gd name="T56" fmla="*/ 0 w 172"/>
                  <a:gd name="T57" fmla="*/ 0 h 74"/>
                  <a:gd name="T58" fmla="*/ 0 w 172"/>
                  <a:gd name="T59" fmla="*/ 0 h 74"/>
                  <a:gd name="T60" fmla="*/ 0 w 172"/>
                  <a:gd name="T61" fmla="*/ 0 h 74"/>
                  <a:gd name="T62" fmla="*/ 0 w 172"/>
                  <a:gd name="T63" fmla="*/ 0 h 74"/>
                  <a:gd name="T64" fmla="*/ 0 w 172"/>
                  <a:gd name="T65" fmla="*/ 0 h 74"/>
                  <a:gd name="T66" fmla="*/ 0 w 172"/>
                  <a:gd name="T67" fmla="*/ 0 h 74"/>
                  <a:gd name="T68" fmla="*/ 0 w 172"/>
                  <a:gd name="T69" fmla="*/ 0 h 74"/>
                  <a:gd name="T70" fmla="*/ 0 w 172"/>
                  <a:gd name="T71" fmla="*/ 0 h 74"/>
                  <a:gd name="T72" fmla="*/ 0 w 172"/>
                  <a:gd name="T73" fmla="*/ 0 h 74"/>
                  <a:gd name="T74" fmla="*/ 0 w 172"/>
                  <a:gd name="T75" fmla="*/ 0 h 74"/>
                  <a:gd name="T76" fmla="*/ 0 w 172"/>
                  <a:gd name="T77" fmla="*/ 0 h 74"/>
                  <a:gd name="T78" fmla="*/ 0 w 172"/>
                  <a:gd name="T79" fmla="*/ 0 h 74"/>
                  <a:gd name="T80" fmla="*/ 0 w 172"/>
                  <a:gd name="T81" fmla="*/ 0 h 74"/>
                  <a:gd name="T82" fmla="*/ 0 w 172"/>
                  <a:gd name="T83" fmla="*/ 0 h 74"/>
                  <a:gd name="T84" fmla="*/ 0 w 172"/>
                  <a:gd name="T85" fmla="*/ 0 h 74"/>
                  <a:gd name="T86" fmla="*/ 0 w 172"/>
                  <a:gd name="T87" fmla="*/ 0 h 74"/>
                  <a:gd name="T88" fmla="*/ 0 w 172"/>
                  <a:gd name="T89" fmla="*/ 0 h 74"/>
                  <a:gd name="T90" fmla="*/ 0 w 172"/>
                  <a:gd name="T91" fmla="*/ 0 h 74"/>
                  <a:gd name="T92" fmla="*/ 0 w 172"/>
                  <a:gd name="T93" fmla="*/ 0 h 74"/>
                  <a:gd name="T94" fmla="*/ 0 w 172"/>
                  <a:gd name="T95" fmla="*/ 0 h 74"/>
                  <a:gd name="T96" fmla="*/ 0 w 172"/>
                  <a:gd name="T97" fmla="*/ 0 h 74"/>
                  <a:gd name="T98" fmla="*/ 0 w 172"/>
                  <a:gd name="T99" fmla="*/ 0 h 74"/>
                  <a:gd name="T100" fmla="*/ 0 w 172"/>
                  <a:gd name="T101" fmla="*/ 0 h 74"/>
                  <a:gd name="T102" fmla="*/ 0 w 172"/>
                  <a:gd name="T103" fmla="*/ 0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
                  <a:gd name="T157" fmla="*/ 0 h 74"/>
                  <a:gd name="T158" fmla="*/ 172 w 172"/>
                  <a:gd name="T159" fmla="*/ 74 h 7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0" name="Freeform 974"/>
              <p:cNvSpPr>
                <a:spLocks/>
              </p:cNvSpPr>
              <p:nvPr/>
            </p:nvSpPr>
            <p:spPr bwMode="auto">
              <a:xfrm>
                <a:off x="1450" y="1171"/>
                <a:ext cx="38" cy="25"/>
              </a:xfrm>
              <a:custGeom>
                <a:avLst/>
                <a:gdLst>
                  <a:gd name="T0" fmla="*/ 0 w 120"/>
                  <a:gd name="T1" fmla="*/ 0 h 49"/>
                  <a:gd name="T2" fmla="*/ 0 w 120"/>
                  <a:gd name="T3" fmla="*/ 0 h 49"/>
                  <a:gd name="T4" fmla="*/ 0 w 120"/>
                  <a:gd name="T5" fmla="*/ 0 h 49"/>
                  <a:gd name="T6" fmla="*/ 0 w 120"/>
                  <a:gd name="T7" fmla="*/ 0 h 49"/>
                  <a:gd name="T8" fmla="*/ 0 w 120"/>
                  <a:gd name="T9" fmla="*/ 0 h 49"/>
                  <a:gd name="T10" fmla="*/ 0 w 120"/>
                  <a:gd name="T11" fmla="*/ 0 h 49"/>
                  <a:gd name="T12" fmla="*/ 0 w 120"/>
                  <a:gd name="T13" fmla="*/ 0 h 49"/>
                  <a:gd name="T14" fmla="*/ 0 w 120"/>
                  <a:gd name="T15" fmla="*/ 0 h 49"/>
                  <a:gd name="T16" fmla="*/ 0 w 120"/>
                  <a:gd name="T17" fmla="*/ 0 h 49"/>
                  <a:gd name="T18" fmla="*/ 0 w 120"/>
                  <a:gd name="T19" fmla="*/ 0 h 49"/>
                  <a:gd name="T20" fmla="*/ 0 w 120"/>
                  <a:gd name="T21" fmla="*/ 0 h 49"/>
                  <a:gd name="T22" fmla="*/ 0 w 120"/>
                  <a:gd name="T23" fmla="*/ 0 h 49"/>
                  <a:gd name="T24" fmla="*/ 0 w 120"/>
                  <a:gd name="T25" fmla="*/ 0 h 49"/>
                  <a:gd name="T26" fmla="*/ 0 w 120"/>
                  <a:gd name="T27" fmla="*/ 0 h 49"/>
                  <a:gd name="T28" fmla="*/ 0 w 120"/>
                  <a:gd name="T29" fmla="*/ 0 h 49"/>
                  <a:gd name="T30" fmla="*/ 0 w 120"/>
                  <a:gd name="T31" fmla="*/ 0 h 49"/>
                  <a:gd name="T32" fmla="*/ 0 w 120"/>
                  <a:gd name="T33" fmla="*/ 0 h 49"/>
                  <a:gd name="T34" fmla="*/ 0 w 120"/>
                  <a:gd name="T35" fmla="*/ 0 h 49"/>
                  <a:gd name="T36" fmla="*/ 0 w 120"/>
                  <a:gd name="T37" fmla="*/ 0 h 49"/>
                  <a:gd name="T38" fmla="*/ 0 w 120"/>
                  <a:gd name="T39" fmla="*/ 0 h 49"/>
                  <a:gd name="T40" fmla="*/ 0 w 120"/>
                  <a:gd name="T41" fmla="*/ 0 h 49"/>
                  <a:gd name="T42" fmla="*/ 0 w 120"/>
                  <a:gd name="T43" fmla="*/ 0 h 49"/>
                  <a:gd name="T44" fmla="*/ 0 w 120"/>
                  <a:gd name="T45" fmla="*/ 0 h 49"/>
                  <a:gd name="T46" fmla="*/ 0 w 120"/>
                  <a:gd name="T47" fmla="*/ 0 h 49"/>
                  <a:gd name="T48" fmla="*/ 0 w 120"/>
                  <a:gd name="T49" fmla="*/ 0 h 49"/>
                  <a:gd name="T50" fmla="*/ 0 w 120"/>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49"/>
                  <a:gd name="T80" fmla="*/ 120 w 120"/>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1" name="Freeform 975"/>
              <p:cNvSpPr>
                <a:spLocks/>
              </p:cNvSpPr>
              <p:nvPr/>
            </p:nvSpPr>
            <p:spPr bwMode="auto">
              <a:xfrm>
                <a:off x="1441" y="1194"/>
                <a:ext cx="26" cy="19"/>
              </a:xfrm>
              <a:custGeom>
                <a:avLst/>
                <a:gdLst>
                  <a:gd name="T0" fmla="*/ 0 w 85"/>
                  <a:gd name="T1" fmla="*/ 0 h 61"/>
                  <a:gd name="T2" fmla="*/ 0 w 85"/>
                  <a:gd name="T3" fmla="*/ 0 h 61"/>
                  <a:gd name="T4" fmla="*/ 0 w 85"/>
                  <a:gd name="T5" fmla="*/ 0 h 61"/>
                  <a:gd name="T6" fmla="*/ 0 w 85"/>
                  <a:gd name="T7" fmla="*/ 0 h 61"/>
                  <a:gd name="T8" fmla="*/ 0 w 85"/>
                  <a:gd name="T9" fmla="*/ 0 h 61"/>
                  <a:gd name="T10" fmla="*/ 0 w 85"/>
                  <a:gd name="T11" fmla="*/ 0 h 61"/>
                  <a:gd name="T12" fmla="*/ 0 w 85"/>
                  <a:gd name="T13" fmla="*/ 0 h 61"/>
                  <a:gd name="T14" fmla="*/ 0 w 85"/>
                  <a:gd name="T15" fmla="*/ 0 h 61"/>
                  <a:gd name="T16" fmla="*/ 0 w 85"/>
                  <a:gd name="T17" fmla="*/ 0 h 61"/>
                  <a:gd name="T18" fmla="*/ 0 w 85"/>
                  <a:gd name="T19" fmla="*/ 0 h 61"/>
                  <a:gd name="T20" fmla="*/ 0 w 85"/>
                  <a:gd name="T21" fmla="*/ 0 h 61"/>
                  <a:gd name="T22" fmla="*/ 0 w 85"/>
                  <a:gd name="T23" fmla="*/ 0 h 61"/>
                  <a:gd name="T24" fmla="*/ 0 w 85"/>
                  <a:gd name="T25" fmla="*/ 0 h 61"/>
                  <a:gd name="T26" fmla="*/ 0 w 85"/>
                  <a:gd name="T27" fmla="*/ 0 h 61"/>
                  <a:gd name="T28" fmla="*/ 0 w 85"/>
                  <a:gd name="T29" fmla="*/ 0 h 61"/>
                  <a:gd name="T30" fmla="*/ 0 w 85"/>
                  <a:gd name="T31" fmla="*/ 0 h 61"/>
                  <a:gd name="T32" fmla="*/ 0 w 85"/>
                  <a:gd name="T33" fmla="*/ 0 h 61"/>
                  <a:gd name="T34" fmla="*/ 0 w 85"/>
                  <a:gd name="T35" fmla="*/ 0 h 61"/>
                  <a:gd name="T36" fmla="*/ 0 w 85"/>
                  <a:gd name="T37" fmla="*/ 0 h 61"/>
                  <a:gd name="T38" fmla="*/ 0 w 85"/>
                  <a:gd name="T39" fmla="*/ 0 h 61"/>
                  <a:gd name="T40" fmla="*/ 0 w 85"/>
                  <a:gd name="T41" fmla="*/ 0 h 61"/>
                  <a:gd name="T42" fmla="*/ 0 w 85"/>
                  <a:gd name="T43" fmla="*/ 0 h 61"/>
                  <a:gd name="T44" fmla="*/ 0 w 85"/>
                  <a:gd name="T45" fmla="*/ 0 h 61"/>
                  <a:gd name="T46" fmla="*/ 0 w 85"/>
                  <a:gd name="T47" fmla="*/ 0 h 61"/>
                  <a:gd name="T48" fmla="*/ 0 w 85"/>
                  <a:gd name="T49" fmla="*/ 0 h 61"/>
                  <a:gd name="T50" fmla="*/ 0 w 85"/>
                  <a:gd name="T51" fmla="*/ 0 h 61"/>
                  <a:gd name="T52" fmla="*/ 0 w 85"/>
                  <a:gd name="T53" fmla="*/ 0 h 61"/>
                  <a:gd name="T54" fmla="*/ 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
                  <a:gd name="T85" fmla="*/ 0 h 61"/>
                  <a:gd name="T86" fmla="*/ 85 w 85"/>
                  <a:gd name="T87" fmla="*/ 61 h 6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2" name="Freeform 976"/>
              <p:cNvSpPr>
                <a:spLocks/>
              </p:cNvSpPr>
              <p:nvPr/>
            </p:nvSpPr>
            <p:spPr bwMode="auto">
              <a:xfrm>
                <a:off x="1254" y="1188"/>
                <a:ext cx="27" cy="6"/>
              </a:xfrm>
              <a:custGeom>
                <a:avLst/>
                <a:gdLst>
                  <a:gd name="T0" fmla="*/ 0 w 100"/>
                  <a:gd name="T1" fmla="*/ 0 h 19"/>
                  <a:gd name="T2" fmla="*/ 0 w 100"/>
                  <a:gd name="T3" fmla="*/ 0 h 19"/>
                  <a:gd name="T4" fmla="*/ 0 w 100"/>
                  <a:gd name="T5" fmla="*/ 0 h 19"/>
                  <a:gd name="T6" fmla="*/ 0 w 100"/>
                  <a:gd name="T7" fmla="*/ 0 h 19"/>
                  <a:gd name="T8" fmla="*/ 0 w 100"/>
                  <a:gd name="T9" fmla="*/ 0 h 19"/>
                  <a:gd name="T10" fmla="*/ 0 w 100"/>
                  <a:gd name="T11" fmla="*/ 0 h 19"/>
                  <a:gd name="T12" fmla="*/ 0 w 100"/>
                  <a:gd name="T13" fmla="*/ 0 h 19"/>
                  <a:gd name="T14" fmla="*/ 0 w 100"/>
                  <a:gd name="T15" fmla="*/ 0 h 19"/>
                  <a:gd name="T16" fmla="*/ 0 w 100"/>
                  <a:gd name="T17" fmla="*/ 0 h 19"/>
                  <a:gd name="T18" fmla="*/ 0 w 100"/>
                  <a:gd name="T19" fmla="*/ 0 h 19"/>
                  <a:gd name="T20" fmla="*/ 0 w 100"/>
                  <a:gd name="T21" fmla="*/ 0 h 19"/>
                  <a:gd name="T22" fmla="*/ 0 w 100"/>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19"/>
                  <a:gd name="T38" fmla="*/ 100 w 100"/>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3" name="Freeform 977"/>
              <p:cNvSpPr>
                <a:spLocks/>
              </p:cNvSpPr>
              <p:nvPr/>
            </p:nvSpPr>
            <p:spPr bwMode="auto">
              <a:xfrm>
                <a:off x="1272" y="1168"/>
                <a:ext cx="53" cy="23"/>
              </a:xfrm>
              <a:custGeom>
                <a:avLst/>
                <a:gdLst>
                  <a:gd name="T0" fmla="*/ 0 w 166"/>
                  <a:gd name="T1" fmla="*/ 0 h 45"/>
                  <a:gd name="T2" fmla="*/ 0 w 166"/>
                  <a:gd name="T3" fmla="*/ 0 h 45"/>
                  <a:gd name="T4" fmla="*/ 0 w 166"/>
                  <a:gd name="T5" fmla="*/ 0 h 45"/>
                  <a:gd name="T6" fmla="*/ 0 w 166"/>
                  <a:gd name="T7" fmla="*/ 0 h 45"/>
                  <a:gd name="T8" fmla="*/ 0 w 166"/>
                  <a:gd name="T9" fmla="*/ 0 h 45"/>
                  <a:gd name="T10" fmla="*/ 0 w 166"/>
                  <a:gd name="T11" fmla="*/ 0 h 45"/>
                  <a:gd name="T12" fmla="*/ 0 w 166"/>
                  <a:gd name="T13" fmla="*/ 0 h 45"/>
                  <a:gd name="T14" fmla="*/ 0 w 166"/>
                  <a:gd name="T15" fmla="*/ 0 h 45"/>
                  <a:gd name="T16" fmla="*/ 0 w 166"/>
                  <a:gd name="T17" fmla="*/ 0 h 45"/>
                  <a:gd name="T18" fmla="*/ 0 w 166"/>
                  <a:gd name="T19" fmla="*/ 0 h 45"/>
                  <a:gd name="T20" fmla="*/ 0 w 166"/>
                  <a:gd name="T21" fmla="*/ 0 h 45"/>
                  <a:gd name="T22" fmla="*/ 0 w 166"/>
                  <a:gd name="T23" fmla="*/ 0 h 45"/>
                  <a:gd name="T24" fmla="*/ 0 w 166"/>
                  <a:gd name="T25" fmla="*/ 0 h 45"/>
                  <a:gd name="T26" fmla="*/ 0 w 166"/>
                  <a:gd name="T27" fmla="*/ 0 h 45"/>
                  <a:gd name="T28" fmla="*/ 0 w 166"/>
                  <a:gd name="T29" fmla="*/ 0 h 45"/>
                  <a:gd name="T30" fmla="*/ 0 w 166"/>
                  <a:gd name="T31" fmla="*/ 0 h 45"/>
                  <a:gd name="T32" fmla="*/ 0 w 166"/>
                  <a:gd name="T33" fmla="*/ 0 h 45"/>
                  <a:gd name="T34" fmla="*/ 0 w 166"/>
                  <a:gd name="T35" fmla="*/ 0 h 45"/>
                  <a:gd name="T36" fmla="*/ 0 w 166"/>
                  <a:gd name="T37" fmla="*/ 0 h 45"/>
                  <a:gd name="T38" fmla="*/ 0 w 166"/>
                  <a:gd name="T39" fmla="*/ 0 h 45"/>
                  <a:gd name="T40" fmla="*/ 0 w 166"/>
                  <a:gd name="T41" fmla="*/ 0 h 45"/>
                  <a:gd name="T42" fmla="*/ 0 w 166"/>
                  <a:gd name="T43" fmla="*/ 0 h 45"/>
                  <a:gd name="T44" fmla="*/ 0 w 166"/>
                  <a:gd name="T45" fmla="*/ 0 h 45"/>
                  <a:gd name="T46" fmla="*/ 0 w 166"/>
                  <a:gd name="T47" fmla="*/ 0 h 45"/>
                  <a:gd name="T48" fmla="*/ 0 w 166"/>
                  <a:gd name="T49" fmla="*/ 0 h 45"/>
                  <a:gd name="T50" fmla="*/ 0 w 166"/>
                  <a:gd name="T51" fmla="*/ 0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6"/>
                  <a:gd name="T79" fmla="*/ 0 h 45"/>
                  <a:gd name="T80" fmla="*/ 166 w 166"/>
                  <a:gd name="T81" fmla="*/ 45 h 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4" name="Freeform 978"/>
              <p:cNvSpPr>
                <a:spLocks/>
              </p:cNvSpPr>
              <p:nvPr/>
            </p:nvSpPr>
            <p:spPr bwMode="auto">
              <a:xfrm>
                <a:off x="1488" y="1422"/>
                <a:ext cx="11" cy="8"/>
              </a:xfrm>
              <a:custGeom>
                <a:avLst/>
                <a:gdLst>
                  <a:gd name="T0" fmla="*/ 0 w 33"/>
                  <a:gd name="T1" fmla="*/ 0 h 25"/>
                  <a:gd name="T2" fmla="*/ 0 w 33"/>
                  <a:gd name="T3" fmla="*/ 0 h 25"/>
                  <a:gd name="T4" fmla="*/ 0 w 33"/>
                  <a:gd name="T5" fmla="*/ 0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0 h 25"/>
                  <a:gd name="T18" fmla="*/ 0 w 33"/>
                  <a:gd name="T19" fmla="*/ 0 h 25"/>
                  <a:gd name="T20" fmla="*/ 0 w 33"/>
                  <a:gd name="T21" fmla="*/ 0 h 25"/>
                  <a:gd name="T22" fmla="*/ 0 w 33"/>
                  <a:gd name="T23" fmla="*/ 0 h 25"/>
                  <a:gd name="T24" fmla="*/ 0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25"/>
                  <a:gd name="T44" fmla="*/ 33 w 33"/>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5" name="Freeform 979"/>
              <p:cNvSpPr>
                <a:spLocks/>
              </p:cNvSpPr>
              <p:nvPr/>
            </p:nvSpPr>
            <p:spPr bwMode="auto">
              <a:xfrm>
                <a:off x="1605" y="1729"/>
                <a:ext cx="16" cy="28"/>
              </a:xfrm>
              <a:custGeom>
                <a:avLst/>
                <a:gdLst>
                  <a:gd name="T0" fmla="*/ 0 w 48"/>
                  <a:gd name="T1" fmla="*/ 0 h 62"/>
                  <a:gd name="T2" fmla="*/ 0 w 48"/>
                  <a:gd name="T3" fmla="*/ 0 h 62"/>
                  <a:gd name="T4" fmla="*/ 0 w 48"/>
                  <a:gd name="T5" fmla="*/ 0 h 62"/>
                  <a:gd name="T6" fmla="*/ 0 w 48"/>
                  <a:gd name="T7" fmla="*/ 0 h 62"/>
                  <a:gd name="T8" fmla="*/ 0 w 48"/>
                  <a:gd name="T9" fmla="*/ 0 h 62"/>
                  <a:gd name="T10" fmla="*/ 0 w 48"/>
                  <a:gd name="T11" fmla="*/ 0 h 62"/>
                  <a:gd name="T12" fmla="*/ 0 w 48"/>
                  <a:gd name="T13" fmla="*/ 0 h 62"/>
                  <a:gd name="T14" fmla="*/ 0 w 48"/>
                  <a:gd name="T15" fmla="*/ 0 h 62"/>
                  <a:gd name="T16" fmla="*/ 0 w 48"/>
                  <a:gd name="T17" fmla="*/ 0 h 62"/>
                  <a:gd name="T18" fmla="*/ 0 w 48"/>
                  <a:gd name="T19" fmla="*/ 0 h 62"/>
                  <a:gd name="T20" fmla="*/ 0 w 48"/>
                  <a:gd name="T21" fmla="*/ 0 h 62"/>
                  <a:gd name="T22" fmla="*/ 0 w 48"/>
                  <a:gd name="T23" fmla="*/ 0 h 62"/>
                  <a:gd name="T24" fmla="*/ 0 w 48"/>
                  <a:gd name="T25" fmla="*/ 0 h 62"/>
                  <a:gd name="T26" fmla="*/ 0 w 48"/>
                  <a:gd name="T27" fmla="*/ 0 h 62"/>
                  <a:gd name="T28" fmla="*/ 0 w 48"/>
                  <a:gd name="T29" fmla="*/ 0 h 62"/>
                  <a:gd name="T30" fmla="*/ 0 w 48"/>
                  <a:gd name="T31" fmla="*/ 0 h 62"/>
                  <a:gd name="T32" fmla="*/ 0 w 48"/>
                  <a:gd name="T33" fmla="*/ 0 h 62"/>
                  <a:gd name="T34" fmla="*/ 0 w 48"/>
                  <a:gd name="T35" fmla="*/ 0 h 62"/>
                  <a:gd name="T36" fmla="*/ 0 w 48"/>
                  <a:gd name="T37" fmla="*/ 0 h 62"/>
                  <a:gd name="T38" fmla="*/ 0 w 48"/>
                  <a:gd name="T39" fmla="*/ 0 h 62"/>
                  <a:gd name="T40" fmla="*/ 0 w 48"/>
                  <a:gd name="T41" fmla="*/ 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8"/>
                  <a:gd name="T64" fmla="*/ 0 h 62"/>
                  <a:gd name="T65" fmla="*/ 48 w 48"/>
                  <a:gd name="T66" fmla="*/ 62 h 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6" name="Freeform 980"/>
              <p:cNvSpPr>
                <a:spLocks/>
              </p:cNvSpPr>
              <p:nvPr/>
            </p:nvSpPr>
            <p:spPr bwMode="auto">
              <a:xfrm>
                <a:off x="1554" y="1729"/>
                <a:ext cx="36" cy="28"/>
              </a:xfrm>
              <a:custGeom>
                <a:avLst/>
                <a:gdLst>
                  <a:gd name="T0" fmla="*/ 0 w 113"/>
                  <a:gd name="T1" fmla="*/ 0 h 62"/>
                  <a:gd name="T2" fmla="*/ 0 w 113"/>
                  <a:gd name="T3" fmla="*/ 0 h 62"/>
                  <a:gd name="T4" fmla="*/ 0 w 113"/>
                  <a:gd name="T5" fmla="*/ 0 h 62"/>
                  <a:gd name="T6" fmla="*/ 0 w 113"/>
                  <a:gd name="T7" fmla="*/ 0 h 62"/>
                  <a:gd name="T8" fmla="*/ 0 w 113"/>
                  <a:gd name="T9" fmla="*/ 0 h 62"/>
                  <a:gd name="T10" fmla="*/ 0 w 113"/>
                  <a:gd name="T11" fmla="*/ 0 h 62"/>
                  <a:gd name="T12" fmla="*/ 0 w 113"/>
                  <a:gd name="T13" fmla="*/ 0 h 62"/>
                  <a:gd name="T14" fmla="*/ 0 w 113"/>
                  <a:gd name="T15" fmla="*/ 0 h 62"/>
                  <a:gd name="T16" fmla="*/ 0 w 113"/>
                  <a:gd name="T17" fmla="*/ 0 h 62"/>
                  <a:gd name="T18" fmla="*/ 0 w 113"/>
                  <a:gd name="T19" fmla="*/ 0 h 62"/>
                  <a:gd name="T20" fmla="*/ 0 w 113"/>
                  <a:gd name="T21" fmla="*/ 0 h 62"/>
                  <a:gd name="T22" fmla="*/ 0 w 113"/>
                  <a:gd name="T23" fmla="*/ 0 h 62"/>
                  <a:gd name="T24" fmla="*/ 0 w 113"/>
                  <a:gd name="T25" fmla="*/ 0 h 62"/>
                  <a:gd name="T26" fmla="*/ 0 w 113"/>
                  <a:gd name="T27" fmla="*/ 0 h 62"/>
                  <a:gd name="T28" fmla="*/ 0 w 113"/>
                  <a:gd name="T29" fmla="*/ 0 h 62"/>
                  <a:gd name="T30" fmla="*/ 0 w 113"/>
                  <a:gd name="T31" fmla="*/ 0 h 62"/>
                  <a:gd name="T32" fmla="*/ 0 w 113"/>
                  <a:gd name="T33" fmla="*/ 0 h 62"/>
                  <a:gd name="T34" fmla="*/ 0 w 113"/>
                  <a:gd name="T35" fmla="*/ 0 h 62"/>
                  <a:gd name="T36" fmla="*/ 0 w 113"/>
                  <a:gd name="T37" fmla="*/ 0 h 62"/>
                  <a:gd name="T38" fmla="*/ 0 w 113"/>
                  <a:gd name="T39" fmla="*/ 0 h 62"/>
                  <a:gd name="T40" fmla="*/ 0 w 113"/>
                  <a:gd name="T41" fmla="*/ 0 h 62"/>
                  <a:gd name="T42" fmla="*/ 0 w 113"/>
                  <a:gd name="T43" fmla="*/ 0 h 62"/>
                  <a:gd name="T44" fmla="*/ 0 w 113"/>
                  <a:gd name="T45" fmla="*/ 0 h 62"/>
                  <a:gd name="T46" fmla="*/ 0 w 113"/>
                  <a:gd name="T47" fmla="*/ 0 h 62"/>
                  <a:gd name="T48" fmla="*/ 0 w 113"/>
                  <a:gd name="T49" fmla="*/ 0 h 62"/>
                  <a:gd name="T50" fmla="*/ 0 w 113"/>
                  <a:gd name="T51" fmla="*/ 0 h 62"/>
                  <a:gd name="T52" fmla="*/ 0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13"/>
                  <a:gd name="T82" fmla="*/ 0 h 62"/>
                  <a:gd name="T83" fmla="*/ 113 w 113"/>
                  <a:gd name="T84" fmla="*/ 62 h 6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7" name="Freeform 981"/>
              <p:cNvSpPr>
                <a:spLocks/>
              </p:cNvSpPr>
              <p:nvPr/>
            </p:nvSpPr>
            <p:spPr bwMode="auto">
              <a:xfrm>
                <a:off x="1748" y="1188"/>
                <a:ext cx="29" cy="15"/>
              </a:xfrm>
              <a:custGeom>
                <a:avLst/>
                <a:gdLst>
                  <a:gd name="T0" fmla="*/ 0 w 93"/>
                  <a:gd name="T1" fmla="*/ 0 h 50"/>
                  <a:gd name="T2" fmla="*/ 0 w 93"/>
                  <a:gd name="T3" fmla="*/ 0 h 50"/>
                  <a:gd name="T4" fmla="*/ 0 w 93"/>
                  <a:gd name="T5" fmla="*/ 0 h 50"/>
                  <a:gd name="T6" fmla="*/ 0 w 93"/>
                  <a:gd name="T7" fmla="*/ 0 h 50"/>
                  <a:gd name="T8" fmla="*/ 0 w 93"/>
                  <a:gd name="T9" fmla="*/ 0 h 50"/>
                  <a:gd name="T10" fmla="*/ 0 w 93"/>
                  <a:gd name="T11" fmla="*/ 0 h 50"/>
                  <a:gd name="T12" fmla="*/ 0 w 93"/>
                  <a:gd name="T13" fmla="*/ 0 h 50"/>
                  <a:gd name="T14" fmla="*/ 0 w 93"/>
                  <a:gd name="T15" fmla="*/ 0 h 50"/>
                  <a:gd name="T16" fmla="*/ 0 w 93"/>
                  <a:gd name="T17" fmla="*/ 0 h 50"/>
                  <a:gd name="T18" fmla="*/ 0 w 93"/>
                  <a:gd name="T19" fmla="*/ 0 h 50"/>
                  <a:gd name="T20" fmla="*/ 0 w 93"/>
                  <a:gd name="T21" fmla="*/ 0 h 50"/>
                  <a:gd name="T22" fmla="*/ 0 w 93"/>
                  <a:gd name="T23" fmla="*/ 0 h 50"/>
                  <a:gd name="T24" fmla="*/ 0 w 93"/>
                  <a:gd name="T25" fmla="*/ 0 h 50"/>
                  <a:gd name="T26" fmla="*/ 0 w 93"/>
                  <a:gd name="T27" fmla="*/ 0 h 50"/>
                  <a:gd name="T28" fmla="*/ 0 w 93"/>
                  <a:gd name="T29" fmla="*/ 0 h 50"/>
                  <a:gd name="T30" fmla="*/ 0 w 93"/>
                  <a:gd name="T31" fmla="*/ 0 h 50"/>
                  <a:gd name="T32" fmla="*/ 0 w 93"/>
                  <a:gd name="T33" fmla="*/ 0 h 50"/>
                  <a:gd name="T34" fmla="*/ 0 w 93"/>
                  <a:gd name="T35" fmla="*/ 0 h 50"/>
                  <a:gd name="T36" fmla="*/ 0 w 93"/>
                  <a:gd name="T37" fmla="*/ 0 h 50"/>
                  <a:gd name="T38" fmla="*/ 0 w 93"/>
                  <a:gd name="T39" fmla="*/ 0 h 50"/>
                  <a:gd name="T40" fmla="*/ 0 w 93"/>
                  <a:gd name="T41" fmla="*/ 0 h 50"/>
                  <a:gd name="T42" fmla="*/ 0 w 93"/>
                  <a:gd name="T43" fmla="*/ 0 h 50"/>
                  <a:gd name="T44" fmla="*/ 0 w 93"/>
                  <a:gd name="T45" fmla="*/ 0 h 50"/>
                  <a:gd name="T46" fmla="*/ 0 w 93"/>
                  <a:gd name="T47" fmla="*/ 0 h 50"/>
                  <a:gd name="T48" fmla="*/ 0 w 93"/>
                  <a:gd name="T49" fmla="*/ 0 h 50"/>
                  <a:gd name="T50" fmla="*/ 0 w 93"/>
                  <a:gd name="T51" fmla="*/ 0 h 50"/>
                  <a:gd name="T52" fmla="*/ 0 w 93"/>
                  <a:gd name="T53" fmla="*/ 0 h 50"/>
                  <a:gd name="T54" fmla="*/ 0 w 93"/>
                  <a:gd name="T55" fmla="*/ 0 h 50"/>
                  <a:gd name="T56" fmla="*/ 0 w 93"/>
                  <a:gd name="T57" fmla="*/ 0 h 50"/>
                  <a:gd name="T58" fmla="*/ 0 w 93"/>
                  <a:gd name="T59" fmla="*/ 0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3"/>
                  <a:gd name="T94" fmla="*/ 0 h 50"/>
                  <a:gd name="T95" fmla="*/ 93 w 93"/>
                  <a:gd name="T96" fmla="*/ 50 h 5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8" name="Freeform 982"/>
              <p:cNvSpPr>
                <a:spLocks/>
              </p:cNvSpPr>
              <p:nvPr/>
            </p:nvSpPr>
            <p:spPr bwMode="auto">
              <a:xfrm>
                <a:off x="1436" y="1246"/>
                <a:ext cx="331" cy="198"/>
              </a:xfrm>
              <a:custGeom>
                <a:avLst/>
                <a:gdLst>
                  <a:gd name="T0" fmla="*/ 0 w 1029"/>
                  <a:gd name="T1" fmla="*/ 0 h 604"/>
                  <a:gd name="T2" fmla="*/ 0 w 1029"/>
                  <a:gd name="T3" fmla="*/ 0 h 604"/>
                  <a:gd name="T4" fmla="*/ 0 w 1029"/>
                  <a:gd name="T5" fmla="*/ 0 h 604"/>
                  <a:gd name="T6" fmla="*/ 0 w 1029"/>
                  <a:gd name="T7" fmla="*/ 0 h 604"/>
                  <a:gd name="T8" fmla="*/ 0 w 1029"/>
                  <a:gd name="T9" fmla="*/ 0 h 604"/>
                  <a:gd name="T10" fmla="*/ 0 w 1029"/>
                  <a:gd name="T11" fmla="*/ 0 h 604"/>
                  <a:gd name="T12" fmla="*/ 0 w 1029"/>
                  <a:gd name="T13" fmla="*/ 0 h 604"/>
                  <a:gd name="T14" fmla="*/ 0 w 1029"/>
                  <a:gd name="T15" fmla="*/ 0 h 604"/>
                  <a:gd name="T16" fmla="*/ 0 w 1029"/>
                  <a:gd name="T17" fmla="*/ 0 h 604"/>
                  <a:gd name="T18" fmla="*/ 0 w 1029"/>
                  <a:gd name="T19" fmla="*/ 0 h 604"/>
                  <a:gd name="T20" fmla="*/ 0 w 1029"/>
                  <a:gd name="T21" fmla="*/ 0 h 604"/>
                  <a:gd name="T22" fmla="*/ 0 w 1029"/>
                  <a:gd name="T23" fmla="*/ 0 h 604"/>
                  <a:gd name="T24" fmla="*/ 0 w 1029"/>
                  <a:gd name="T25" fmla="*/ 0 h 604"/>
                  <a:gd name="T26" fmla="*/ 0 w 1029"/>
                  <a:gd name="T27" fmla="*/ 0 h 604"/>
                  <a:gd name="T28" fmla="*/ 0 w 1029"/>
                  <a:gd name="T29" fmla="*/ 0 h 604"/>
                  <a:gd name="T30" fmla="*/ 0 w 1029"/>
                  <a:gd name="T31" fmla="*/ 0 h 604"/>
                  <a:gd name="T32" fmla="*/ 0 w 1029"/>
                  <a:gd name="T33" fmla="*/ 0 h 604"/>
                  <a:gd name="T34" fmla="*/ 0 w 1029"/>
                  <a:gd name="T35" fmla="*/ 0 h 604"/>
                  <a:gd name="T36" fmla="*/ 0 w 1029"/>
                  <a:gd name="T37" fmla="*/ 0 h 604"/>
                  <a:gd name="T38" fmla="*/ 0 w 1029"/>
                  <a:gd name="T39" fmla="*/ 0 h 604"/>
                  <a:gd name="T40" fmla="*/ 0 w 1029"/>
                  <a:gd name="T41" fmla="*/ 0 h 604"/>
                  <a:gd name="T42" fmla="*/ 0 w 1029"/>
                  <a:gd name="T43" fmla="*/ 0 h 604"/>
                  <a:gd name="T44" fmla="*/ 0 w 1029"/>
                  <a:gd name="T45" fmla="*/ 0 h 604"/>
                  <a:gd name="T46" fmla="*/ 0 w 1029"/>
                  <a:gd name="T47" fmla="*/ 0 h 604"/>
                  <a:gd name="T48" fmla="*/ 0 w 1029"/>
                  <a:gd name="T49" fmla="*/ 0 h 604"/>
                  <a:gd name="T50" fmla="*/ 0 w 1029"/>
                  <a:gd name="T51" fmla="*/ 0 h 604"/>
                  <a:gd name="T52" fmla="*/ 0 w 1029"/>
                  <a:gd name="T53" fmla="*/ 0 h 604"/>
                  <a:gd name="T54" fmla="*/ 0 w 1029"/>
                  <a:gd name="T55" fmla="*/ 0 h 604"/>
                  <a:gd name="T56" fmla="*/ 0 w 1029"/>
                  <a:gd name="T57" fmla="*/ 0 h 604"/>
                  <a:gd name="T58" fmla="*/ 0 w 1029"/>
                  <a:gd name="T59" fmla="*/ 0 h 604"/>
                  <a:gd name="T60" fmla="*/ 0 w 1029"/>
                  <a:gd name="T61" fmla="*/ 0 h 604"/>
                  <a:gd name="T62" fmla="*/ 0 w 1029"/>
                  <a:gd name="T63" fmla="*/ 0 h 604"/>
                  <a:gd name="T64" fmla="*/ 0 w 1029"/>
                  <a:gd name="T65" fmla="*/ 0 h 604"/>
                  <a:gd name="T66" fmla="*/ 0 w 1029"/>
                  <a:gd name="T67" fmla="*/ 0 h 604"/>
                  <a:gd name="T68" fmla="*/ 0 w 1029"/>
                  <a:gd name="T69" fmla="*/ 0 h 604"/>
                  <a:gd name="T70" fmla="*/ 0 w 1029"/>
                  <a:gd name="T71" fmla="*/ 0 h 604"/>
                  <a:gd name="T72" fmla="*/ 0 w 1029"/>
                  <a:gd name="T73" fmla="*/ 0 h 604"/>
                  <a:gd name="T74" fmla="*/ 0 w 1029"/>
                  <a:gd name="T75" fmla="*/ 0 h 604"/>
                  <a:gd name="T76" fmla="*/ 0 w 1029"/>
                  <a:gd name="T77" fmla="*/ 0 h 604"/>
                  <a:gd name="T78" fmla="*/ 0 w 1029"/>
                  <a:gd name="T79" fmla="*/ 0 h 604"/>
                  <a:gd name="T80" fmla="*/ 0 w 1029"/>
                  <a:gd name="T81" fmla="*/ 0 h 604"/>
                  <a:gd name="T82" fmla="*/ 0 w 1029"/>
                  <a:gd name="T83" fmla="*/ 0 h 604"/>
                  <a:gd name="T84" fmla="*/ 0 w 1029"/>
                  <a:gd name="T85" fmla="*/ 0 h 604"/>
                  <a:gd name="T86" fmla="*/ 0 w 1029"/>
                  <a:gd name="T87" fmla="*/ 0 h 604"/>
                  <a:gd name="T88" fmla="*/ 0 w 1029"/>
                  <a:gd name="T89" fmla="*/ 0 h 604"/>
                  <a:gd name="T90" fmla="*/ 0 w 1029"/>
                  <a:gd name="T91" fmla="*/ 0 h 604"/>
                  <a:gd name="T92" fmla="*/ 0 w 1029"/>
                  <a:gd name="T93" fmla="*/ 0 h 604"/>
                  <a:gd name="T94" fmla="*/ 0 w 1029"/>
                  <a:gd name="T95" fmla="*/ 0 h 604"/>
                  <a:gd name="T96" fmla="*/ 0 w 1029"/>
                  <a:gd name="T97" fmla="*/ 0 h 604"/>
                  <a:gd name="T98" fmla="*/ 0 w 1029"/>
                  <a:gd name="T99" fmla="*/ 0 h 604"/>
                  <a:gd name="T100" fmla="*/ 0 w 1029"/>
                  <a:gd name="T101" fmla="*/ 0 h 604"/>
                  <a:gd name="T102" fmla="*/ 0 w 1029"/>
                  <a:gd name="T103" fmla="*/ 0 h 604"/>
                  <a:gd name="T104" fmla="*/ 0 w 1029"/>
                  <a:gd name="T105" fmla="*/ 0 h 604"/>
                  <a:gd name="T106" fmla="*/ 0 w 1029"/>
                  <a:gd name="T107" fmla="*/ 0 h 604"/>
                  <a:gd name="T108" fmla="*/ 0 w 1029"/>
                  <a:gd name="T109" fmla="*/ 0 h 604"/>
                  <a:gd name="T110" fmla="*/ 0 w 1029"/>
                  <a:gd name="T111" fmla="*/ 0 h 604"/>
                  <a:gd name="T112" fmla="*/ 0 w 1029"/>
                  <a:gd name="T113" fmla="*/ 0 h 604"/>
                  <a:gd name="T114" fmla="*/ 0 w 1029"/>
                  <a:gd name="T115" fmla="*/ 0 h 604"/>
                  <a:gd name="T116" fmla="*/ 0 w 1029"/>
                  <a:gd name="T117" fmla="*/ 0 h 604"/>
                  <a:gd name="T118" fmla="*/ 0 w 1029"/>
                  <a:gd name="T119" fmla="*/ 0 h 604"/>
                  <a:gd name="T120" fmla="*/ 0 w 1029"/>
                  <a:gd name="T121" fmla="*/ 0 h 604"/>
                  <a:gd name="T122" fmla="*/ 0 w 1029"/>
                  <a:gd name="T123" fmla="*/ 0 h 604"/>
                  <a:gd name="T124" fmla="*/ 0 w 1029"/>
                  <a:gd name="T125" fmla="*/ 0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29"/>
                  <a:gd name="T190" fmla="*/ 0 h 604"/>
                  <a:gd name="T191" fmla="*/ 1029 w 1029"/>
                  <a:gd name="T192" fmla="*/ 604 h 6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9" name="Freeform 983"/>
              <p:cNvSpPr>
                <a:spLocks/>
              </p:cNvSpPr>
              <p:nvPr/>
            </p:nvSpPr>
            <p:spPr bwMode="auto">
              <a:xfrm>
                <a:off x="1528" y="1110"/>
                <a:ext cx="409" cy="105"/>
              </a:xfrm>
              <a:custGeom>
                <a:avLst/>
                <a:gdLst>
                  <a:gd name="T0" fmla="*/ 0 w 1268"/>
                  <a:gd name="T1" fmla="*/ 0 h 321"/>
                  <a:gd name="T2" fmla="*/ 0 w 1268"/>
                  <a:gd name="T3" fmla="*/ 0 h 321"/>
                  <a:gd name="T4" fmla="*/ 0 w 1268"/>
                  <a:gd name="T5" fmla="*/ 0 h 321"/>
                  <a:gd name="T6" fmla="*/ 0 w 1268"/>
                  <a:gd name="T7" fmla="*/ 0 h 321"/>
                  <a:gd name="T8" fmla="*/ 0 w 1268"/>
                  <a:gd name="T9" fmla="*/ 0 h 321"/>
                  <a:gd name="T10" fmla="*/ 0 w 1268"/>
                  <a:gd name="T11" fmla="*/ 0 h 321"/>
                  <a:gd name="T12" fmla="*/ 0 w 1268"/>
                  <a:gd name="T13" fmla="*/ 0 h 321"/>
                  <a:gd name="T14" fmla="*/ 0 w 1268"/>
                  <a:gd name="T15" fmla="*/ 0 h 321"/>
                  <a:gd name="T16" fmla="*/ 0 w 1268"/>
                  <a:gd name="T17" fmla="*/ 0 h 321"/>
                  <a:gd name="T18" fmla="*/ 0 w 1268"/>
                  <a:gd name="T19" fmla="*/ 0 h 321"/>
                  <a:gd name="T20" fmla="*/ 0 w 1268"/>
                  <a:gd name="T21" fmla="*/ 0 h 321"/>
                  <a:gd name="T22" fmla="*/ 0 w 1268"/>
                  <a:gd name="T23" fmla="*/ 0 h 321"/>
                  <a:gd name="T24" fmla="*/ 0 w 1268"/>
                  <a:gd name="T25" fmla="*/ 0 h 321"/>
                  <a:gd name="T26" fmla="*/ 0 w 1268"/>
                  <a:gd name="T27" fmla="*/ 0 h 321"/>
                  <a:gd name="T28" fmla="*/ 0 w 1268"/>
                  <a:gd name="T29" fmla="*/ 0 h 321"/>
                  <a:gd name="T30" fmla="*/ 0 w 1268"/>
                  <a:gd name="T31" fmla="*/ 0 h 321"/>
                  <a:gd name="T32" fmla="*/ 0 w 1268"/>
                  <a:gd name="T33" fmla="*/ 0 h 321"/>
                  <a:gd name="T34" fmla="*/ 0 w 1268"/>
                  <a:gd name="T35" fmla="*/ 0 h 321"/>
                  <a:gd name="T36" fmla="*/ 0 w 1268"/>
                  <a:gd name="T37" fmla="*/ 0 h 321"/>
                  <a:gd name="T38" fmla="*/ 0 w 1268"/>
                  <a:gd name="T39" fmla="*/ 0 h 321"/>
                  <a:gd name="T40" fmla="*/ 0 w 1268"/>
                  <a:gd name="T41" fmla="*/ 0 h 321"/>
                  <a:gd name="T42" fmla="*/ 0 w 1268"/>
                  <a:gd name="T43" fmla="*/ 0 h 321"/>
                  <a:gd name="T44" fmla="*/ 0 w 1268"/>
                  <a:gd name="T45" fmla="*/ 0 h 321"/>
                  <a:gd name="T46" fmla="*/ 0 w 1268"/>
                  <a:gd name="T47" fmla="*/ 0 h 321"/>
                  <a:gd name="T48" fmla="*/ 0 w 1268"/>
                  <a:gd name="T49" fmla="*/ 0 h 321"/>
                  <a:gd name="T50" fmla="*/ 0 w 1268"/>
                  <a:gd name="T51" fmla="*/ 0 h 321"/>
                  <a:gd name="T52" fmla="*/ 0 w 1268"/>
                  <a:gd name="T53" fmla="*/ 0 h 321"/>
                  <a:gd name="T54" fmla="*/ 0 w 1268"/>
                  <a:gd name="T55" fmla="*/ 0 h 321"/>
                  <a:gd name="T56" fmla="*/ 0 w 1268"/>
                  <a:gd name="T57" fmla="*/ 0 h 321"/>
                  <a:gd name="T58" fmla="*/ 0 w 1268"/>
                  <a:gd name="T59" fmla="*/ 0 h 321"/>
                  <a:gd name="T60" fmla="*/ 0 w 1268"/>
                  <a:gd name="T61" fmla="*/ 0 h 321"/>
                  <a:gd name="T62" fmla="*/ 0 w 1268"/>
                  <a:gd name="T63" fmla="*/ 0 h 321"/>
                  <a:gd name="T64" fmla="*/ 0 w 1268"/>
                  <a:gd name="T65" fmla="*/ 0 h 321"/>
                  <a:gd name="T66" fmla="*/ 0 w 1268"/>
                  <a:gd name="T67" fmla="*/ 0 h 321"/>
                  <a:gd name="T68" fmla="*/ 0 w 1268"/>
                  <a:gd name="T69" fmla="*/ 0 h 321"/>
                  <a:gd name="T70" fmla="*/ 0 w 1268"/>
                  <a:gd name="T71" fmla="*/ 0 h 321"/>
                  <a:gd name="T72" fmla="*/ 0 w 1268"/>
                  <a:gd name="T73" fmla="*/ 0 h 321"/>
                  <a:gd name="T74" fmla="*/ 0 w 1268"/>
                  <a:gd name="T75" fmla="*/ 0 h 321"/>
                  <a:gd name="T76" fmla="*/ 0 w 1268"/>
                  <a:gd name="T77" fmla="*/ 0 h 321"/>
                  <a:gd name="T78" fmla="*/ 0 w 1268"/>
                  <a:gd name="T79" fmla="*/ 0 h 321"/>
                  <a:gd name="T80" fmla="*/ 0 w 1268"/>
                  <a:gd name="T81" fmla="*/ 0 h 321"/>
                  <a:gd name="T82" fmla="*/ 0 w 1268"/>
                  <a:gd name="T83" fmla="*/ 0 h 321"/>
                  <a:gd name="T84" fmla="*/ 0 w 1268"/>
                  <a:gd name="T85" fmla="*/ 0 h 321"/>
                  <a:gd name="T86" fmla="*/ 0 w 1268"/>
                  <a:gd name="T87" fmla="*/ 0 h 321"/>
                  <a:gd name="T88" fmla="*/ 0 w 1268"/>
                  <a:gd name="T89" fmla="*/ 0 h 321"/>
                  <a:gd name="T90" fmla="*/ 0 w 1268"/>
                  <a:gd name="T91" fmla="*/ 0 h 321"/>
                  <a:gd name="T92" fmla="*/ 0 w 1268"/>
                  <a:gd name="T93" fmla="*/ 0 h 321"/>
                  <a:gd name="T94" fmla="*/ 0 w 1268"/>
                  <a:gd name="T95" fmla="*/ 0 h 321"/>
                  <a:gd name="T96" fmla="*/ 0 w 1268"/>
                  <a:gd name="T97" fmla="*/ 0 h 321"/>
                  <a:gd name="T98" fmla="*/ 0 w 1268"/>
                  <a:gd name="T99" fmla="*/ 0 h 321"/>
                  <a:gd name="T100" fmla="*/ 0 w 1268"/>
                  <a:gd name="T101" fmla="*/ 0 h 321"/>
                  <a:gd name="T102" fmla="*/ 0 w 1268"/>
                  <a:gd name="T103" fmla="*/ 0 h 321"/>
                  <a:gd name="T104" fmla="*/ 0 w 1268"/>
                  <a:gd name="T105" fmla="*/ 0 h 321"/>
                  <a:gd name="T106" fmla="*/ 0 w 1268"/>
                  <a:gd name="T107" fmla="*/ 0 h 321"/>
                  <a:gd name="T108" fmla="*/ 0 w 1268"/>
                  <a:gd name="T109" fmla="*/ 0 h 321"/>
                  <a:gd name="T110" fmla="*/ 0 w 1268"/>
                  <a:gd name="T111" fmla="*/ 0 h 321"/>
                  <a:gd name="T112" fmla="*/ 0 w 1268"/>
                  <a:gd name="T113" fmla="*/ 0 h 321"/>
                  <a:gd name="T114" fmla="*/ 0 w 1268"/>
                  <a:gd name="T115" fmla="*/ 0 h 321"/>
                  <a:gd name="T116" fmla="*/ 0 w 1268"/>
                  <a:gd name="T117" fmla="*/ 0 h 321"/>
                  <a:gd name="T118" fmla="*/ 0 w 1268"/>
                  <a:gd name="T119" fmla="*/ 0 h 321"/>
                  <a:gd name="T120" fmla="*/ 0 w 1268"/>
                  <a:gd name="T121" fmla="*/ 0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68"/>
                  <a:gd name="T184" fmla="*/ 0 h 321"/>
                  <a:gd name="T185" fmla="*/ 1268 w 1268"/>
                  <a:gd name="T186" fmla="*/ 321 h 3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0" name="Freeform 984"/>
              <p:cNvSpPr>
                <a:spLocks/>
              </p:cNvSpPr>
              <p:nvPr/>
            </p:nvSpPr>
            <p:spPr bwMode="auto">
              <a:xfrm>
                <a:off x="553" y="1660"/>
                <a:ext cx="51"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w 160"/>
                  <a:gd name="T67" fmla="*/ 0 h 117"/>
                  <a:gd name="T68" fmla="*/ 0 w 160"/>
                  <a:gd name="T69" fmla="*/ 0 h 117"/>
                  <a:gd name="T70" fmla="*/ 0 w 160"/>
                  <a:gd name="T71" fmla="*/ 0 h 117"/>
                  <a:gd name="T72" fmla="*/ 0 w 160"/>
                  <a:gd name="T73" fmla="*/ 0 h 117"/>
                  <a:gd name="T74" fmla="*/ 0 w 160"/>
                  <a:gd name="T75" fmla="*/ 0 h 117"/>
                  <a:gd name="T76" fmla="*/ 0 w 160"/>
                  <a:gd name="T77" fmla="*/ 0 h 117"/>
                  <a:gd name="T78" fmla="*/ 0 w 160"/>
                  <a:gd name="T79" fmla="*/ 0 h 117"/>
                  <a:gd name="T80" fmla="*/ 0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17"/>
                  <a:gd name="T128" fmla="*/ 160 w 160"/>
                  <a:gd name="T129" fmla="*/ 117 h 1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1" name="Freeform 985"/>
              <p:cNvSpPr>
                <a:spLocks/>
              </p:cNvSpPr>
              <p:nvPr/>
            </p:nvSpPr>
            <p:spPr bwMode="auto">
              <a:xfrm>
                <a:off x="527" y="1592"/>
                <a:ext cx="26" cy="54"/>
              </a:xfrm>
              <a:custGeom>
                <a:avLst/>
                <a:gdLst>
                  <a:gd name="T0" fmla="*/ 0 w 80"/>
                  <a:gd name="T1" fmla="*/ 0 h 141"/>
                  <a:gd name="T2" fmla="*/ 0 w 80"/>
                  <a:gd name="T3" fmla="*/ 0 h 141"/>
                  <a:gd name="T4" fmla="*/ 0 w 80"/>
                  <a:gd name="T5" fmla="*/ 0 h 141"/>
                  <a:gd name="T6" fmla="*/ 0 w 80"/>
                  <a:gd name="T7" fmla="*/ 0 h 141"/>
                  <a:gd name="T8" fmla="*/ 0 w 80"/>
                  <a:gd name="T9" fmla="*/ 0 h 141"/>
                  <a:gd name="T10" fmla="*/ 0 w 80"/>
                  <a:gd name="T11" fmla="*/ 0 h 141"/>
                  <a:gd name="T12" fmla="*/ 0 w 80"/>
                  <a:gd name="T13" fmla="*/ 0 h 141"/>
                  <a:gd name="T14" fmla="*/ 0 w 80"/>
                  <a:gd name="T15" fmla="*/ 0 h 141"/>
                  <a:gd name="T16" fmla="*/ 0 w 80"/>
                  <a:gd name="T17" fmla="*/ 0 h 141"/>
                  <a:gd name="T18" fmla="*/ 0 w 80"/>
                  <a:gd name="T19" fmla="*/ 0 h 141"/>
                  <a:gd name="T20" fmla="*/ 0 w 80"/>
                  <a:gd name="T21" fmla="*/ 0 h 141"/>
                  <a:gd name="T22" fmla="*/ 0 w 80"/>
                  <a:gd name="T23" fmla="*/ 0 h 141"/>
                  <a:gd name="T24" fmla="*/ 0 w 80"/>
                  <a:gd name="T25" fmla="*/ 0 h 141"/>
                  <a:gd name="T26" fmla="*/ 0 w 80"/>
                  <a:gd name="T27" fmla="*/ 0 h 141"/>
                  <a:gd name="T28" fmla="*/ 0 w 80"/>
                  <a:gd name="T29" fmla="*/ 0 h 141"/>
                  <a:gd name="T30" fmla="*/ 0 w 80"/>
                  <a:gd name="T31" fmla="*/ 0 h 141"/>
                  <a:gd name="T32" fmla="*/ 0 w 80"/>
                  <a:gd name="T33" fmla="*/ 0 h 141"/>
                  <a:gd name="T34" fmla="*/ 0 w 80"/>
                  <a:gd name="T35" fmla="*/ 0 h 141"/>
                  <a:gd name="T36" fmla="*/ 0 w 80"/>
                  <a:gd name="T37" fmla="*/ 0 h 141"/>
                  <a:gd name="T38" fmla="*/ 0 w 80"/>
                  <a:gd name="T39" fmla="*/ 0 h 141"/>
                  <a:gd name="T40" fmla="*/ 0 w 80"/>
                  <a:gd name="T41" fmla="*/ 0 h 141"/>
                  <a:gd name="T42" fmla="*/ 0 w 80"/>
                  <a:gd name="T43" fmla="*/ 0 h 141"/>
                  <a:gd name="T44" fmla="*/ 0 w 80"/>
                  <a:gd name="T45" fmla="*/ 0 h 141"/>
                  <a:gd name="T46" fmla="*/ 0 w 80"/>
                  <a:gd name="T47" fmla="*/ 0 h 141"/>
                  <a:gd name="T48" fmla="*/ 0 w 80"/>
                  <a:gd name="T49" fmla="*/ 0 h 141"/>
                  <a:gd name="T50" fmla="*/ 0 w 80"/>
                  <a:gd name="T51" fmla="*/ 0 h 141"/>
                  <a:gd name="T52" fmla="*/ 0 w 80"/>
                  <a:gd name="T53" fmla="*/ 0 h 141"/>
                  <a:gd name="T54" fmla="*/ 0 w 80"/>
                  <a:gd name="T55" fmla="*/ 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141"/>
                  <a:gd name="T86" fmla="*/ 80 w 80"/>
                  <a:gd name="T87" fmla="*/ 141 h 1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2" name="Freeform 986"/>
              <p:cNvSpPr>
                <a:spLocks/>
              </p:cNvSpPr>
              <p:nvPr/>
            </p:nvSpPr>
            <p:spPr bwMode="auto">
              <a:xfrm>
                <a:off x="1380" y="1383"/>
                <a:ext cx="85" cy="41"/>
              </a:xfrm>
              <a:custGeom>
                <a:avLst/>
                <a:gdLst>
                  <a:gd name="T0" fmla="*/ 0 w 259"/>
                  <a:gd name="T1" fmla="*/ 0 h 124"/>
                  <a:gd name="T2" fmla="*/ 0 w 259"/>
                  <a:gd name="T3" fmla="*/ 0 h 124"/>
                  <a:gd name="T4" fmla="*/ 0 w 259"/>
                  <a:gd name="T5" fmla="*/ 0 h 124"/>
                  <a:gd name="T6" fmla="*/ 0 w 259"/>
                  <a:gd name="T7" fmla="*/ 0 h 124"/>
                  <a:gd name="T8" fmla="*/ 0 w 259"/>
                  <a:gd name="T9" fmla="*/ 0 h 124"/>
                  <a:gd name="T10" fmla="*/ 0 w 259"/>
                  <a:gd name="T11" fmla="*/ 0 h 124"/>
                  <a:gd name="T12" fmla="*/ 0 w 259"/>
                  <a:gd name="T13" fmla="*/ 0 h 124"/>
                  <a:gd name="T14" fmla="*/ 0 w 259"/>
                  <a:gd name="T15" fmla="*/ 0 h 124"/>
                  <a:gd name="T16" fmla="*/ 0 w 259"/>
                  <a:gd name="T17" fmla="*/ 0 h 124"/>
                  <a:gd name="T18" fmla="*/ 0 w 259"/>
                  <a:gd name="T19" fmla="*/ 0 h 124"/>
                  <a:gd name="T20" fmla="*/ 0 w 259"/>
                  <a:gd name="T21" fmla="*/ 0 h 124"/>
                  <a:gd name="T22" fmla="*/ 0 w 259"/>
                  <a:gd name="T23" fmla="*/ 0 h 124"/>
                  <a:gd name="T24" fmla="*/ 0 w 259"/>
                  <a:gd name="T25" fmla="*/ 0 h 124"/>
                  <a:gd name="T26" fmla="*/ 0 w 259"/>
                  <a:gd name="T27" fmla="*/ 0 h 124"/>
                  <a:gd name="T28" fmla="*/ 0 w 259"/>
                  <a:gd name="T29" fmla="*/ 0 h 124"/>
                  <a:gd name="T30" fmla="*/ 0 w 259"/>
                  <a:gd name="T31" fmla="*/ 0 h 124"/>
                  <a:gd name="T32" fmla="*/ 0 w 259"/>
                  <a:gd name="T33" fmla="*/ 0 h 124"/>
                  <a:gd name="T34" fmla="*/ 0 w 259"/>
                  <a:gd name="T35" fmla="*/ 0 h 124"/>
                  <a:gd name="T36" fmla="*/ 0 w 259"/>
                  <a:gd name="T37" fmla="*/ 0 h 124"/>
                  <a:gd name="T38" fmla="*/ 0 w 259"/>
                  <a:gd name="T39" fmla="*/ 0 h 124"/>
                  <a:gd name="T40" fmla="*/ 0 w 259"/>
                  <a:gd name="T41" fmla="*/ 0 h 124"/>
                  <a:gd name="T42" fmla="*/ 0 w 259"/>
                  <a:gd name="T43" fmla="*/ 0 h 124"/>
                  <a:gd name="T44" fmla="*/ 0 w 259"/>
                  <a:gd name="T45" fmla="*/ 0 h 124"/>
                  <a:gd name="T46" fmla="*/ 0 w 259"/>
                  <a:gd name="T47" fmla="*/ 0 h 124"/>
                  <a:gd name="T48" fmla="*/ 0 w 259"/>
                  <a:gd name="T49" fmla="*/ 0 h 124"/>
                  <a:gd name="T50" fmla="*/ 0 w 259"/>
                  <a:gd name="T51" fmla="*/ 0 h 124"/>
                  <a:gd name="T52" fmla="*/ 0 w 259"/>
                  <a:gd name="T53" fmla="*/ 0 h 124"/>
                  <a:gd name="T54" fmla="*/ 0 w 259"/>
                  <a:gd name="T55" fmla="*/ 0 h 124"/>
                  <a:gd name="T56" fmla="*/ 0 w 259"/>
                  <a:gd name="T57" fmla="*/ 0 h 124"/>
                  <a:gd name="T58" fmla="*/ 0 w 259"/>
                  <a:gd name="T59" fmla="*/ 0 h 124"/>
                  <a:gd name="T60" fmla="*/ 0 w 259"/>
                  <a:gd name="T61" fmla="*/ 0 h 124"/>
                  <a:gd name="T62" fmla="*/ 0 w 259"/>
                  <a:gd name="T63" fmla="*/ 0 h 124"/>
                  <a:gd name="T64" fmla="*/ 0 w 259"/>
                  <a:gd name="T65" fmla="*/ 0 h 124"/>
                  <a:gd name="T66" fmla="*/ 0 w 259"/>
                  <a:gd name="T67" fmla="*/ 0 h 124"/>
                  <a:gd name="T68" fmla="*/ 0 w 259"/>
                  <a:gd name="T69" fmla="*/ 0 h 124"/>
                  <a:gd name="T70" fmla="*/ 0 w 259"/>
                  <a:gd name="T71" fmla="*/ 0 h 124"/>
                  <a:gd name="T72" fmla="*/ 0 w 259"/>
                  <a:gd name="T73" fmla="*/ 0 h 124"/>
                  <a:gd name="T74" fmla="*/ 0 w 259"/>
                  <a:gd name="T75" fmla="*/ 0 h 124"/>
                  <a:gd name="T76" fmla="*/ 0 w 259"/>
                  <a:gd name="T77" fmla="*/ 0 h 124"/>
                  <a:gd name="T78" fmla="*/ 0 w 259"/>
                  <a:gd name="T79" fmla="*/ 0 h 124"/>
                  <a:gd name="T80" fmla="*/ 0 w 259"/>
                  <a:gd name="T81" fmla="*/ 0 h 124"/>
                  <a:gd name="T82" fmla="*/ 0 w 259"/>
                  <a:gd name="T83" fmla="*/ 0 h 124"/>
                  <a:gd name="T84" fmla="*/ 0 w 259"/>
                  <a:gd name="T85" fmla="*/ 0 h 124"/>
                  <a:gd name="T86" fmla="*/ 0 w 259"/>
                  <a:gd name="T87" fmla="*/ 0 h 124"/>
                  <a:gd name="T88" fmla="*/ 0 w 259"/>
                  <a:gd name="T89" fmla="*/ 0 h 124"/>
                  <a:gd name="T90" fmla="*/ 0 w 259"/>
                  <a:gd name="T91" fmla="*/ 0 h 124"/>
                  <a:gd name="T92" fmla="*/ 0 w 259"/>
                  <a:gd name="T93" fmla="*/ 0 h 124"/>
                  <a:gd name="T94" fmla="*/ 0 w 259"/>
                  <a:gd name="T95" fmla="*/ 0 h 124"/>
                  <a:gd name="T96" fmla="*/ 0 w 259"/>
                  <a:gd name="T97" fmla="*/ 0 h 124"/>
                  <a:gd name="T98" fmla="*/ 0 w 259"/>
                  <a:gd name="T99" fmla="*/ 0 h 124"/>
                  <a:gd name="T100" fmla="*/ 0 w 259"/>
                  <a:gd name="T101" fmla="*/ 0 h 124"/>
                  <a:gd name="T102" fmla="*/ 0 w 259"/>
                  <a:gd name="T103" fmla="*/ 0 h 124"/>
                  <a:gd name="T104" fmla="*/ 0 w 259"/>
                  <a:gd name="T105" fmla="*/ 0 h 124"/>
                  <a:gd name="T106" fmla="*/ 0 w 259"/>
                  <a:gd name="T107" fmla="*/ 0 h 124"/>
                  <a:gd name="T108" fmla="*/ 0 w 259"/>
                  <a:gd name="T109" fmla="*/ 0 h 124"/>
                  <a:gd name="T110" fmla="*/ 0 w 259"/>
                  <a:gd name="T111" fmla="*/ 0 h 124"/>
                  <a:gd name="T112" fmla="*/ 0 w 259"/>
                  <a:gd name="T113" fmla="*/ 0 h 124"/>
                  <a:gd name="T114" fmla="*/ 0 w 259"/>
                  <a:gd name="T115" fmla="*/ 0 h 124"/>
                  <a:gd name="T116" fmla="*/ 0 w 259"/>
                  <a:gd name="T117" fmla="*/ 0 h 124"/>
                  <a:gd name="T118" fmla="*/ 0 w 259"/>
                  <a:gd name="T119" fmla="*/ 0 h 124"/>
                  <a:gd name="T120" fmla="*/ 0 w 259"/>
                  <a:gd name="T121" fmla="*/ 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9"/>
                  <a:gd name="T184" fmla="*/ 0 h 124"/>
                  <a:gd name="T185" fmla="*/ 259 w 259"/>
                  <a:gd name="T186" fmla="*/ 124 h 1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3" name="Freeform 987"/>
              <p:cNvSpPr>
                <a:spLocks/>
              </p:cNvSpPr>
              <p:nvPr/>
            </p:nvSpPr>
            <p:spPr bwMode="auto">
              <a:xfrm>
                <a:off x="1509" y="1389"/>
                <a:ext cx="38" cy="19"/>
              </a:xfrm>
              <a:custGeom>
                <a:avLst/>
                <a:gdLst>
                  <a:gd name="T0" fmla="*/ 0 w 119"/>
                  <a:gd name="T1" fmla="*/ 0 h 57"/>
                  <a:gd name="T2" fmla="*/ 0 w 119"/>
                  <a:gd name="T3" fmla="*/ 0 h 57"/>
                  <a:gd name="T4" fmla="*/ 0 w 119"/>
                  <a:gd name="T5" fmla="*/ 0 h 57"/>
                  <a:gd name="T6" fmla="*/ 0 w 119"/>
                  <a:gd name="T7" fmla="*/ 0 h 57"/>
                  <a:gd name="T8" fmla="*/ 0 w 119"/>
                  <a:gd name="T9" fmla="*/ 0 h 57"/>
                  <a:gd name="T10" fmla="*/ 0 w 119"/>
                  <a:gd name="T11" fmla="*/ 0 h 57"/>
                  <a:gd name="T12" fmla="*/ 0 w 119"/>
                  <a:gd name="T13" fmla="*/ 0 h 57"/>
                  <a:gd name="T14" fmla="*/ 0 w 119"/>
                  <a:gd name="T15" fmla="*/ 0 h 57"/>
                  <a:gd name="T16" fmla="*/ 0 w 119"/>
                  <a:gd name="T17" fmla="*/ 0 h 57"/>
                  <a:gd name="T18" fmla="*/ 0 w 119"/>
                  <a:gd name="T19" fmla="*/ 0 h 57"/>
                  <a:gd name="T20" fmla="*/ 0 w 119"/>
                  <a:gd name="T21" fmla="*/ 0 h 57"/>
                  <a:gd name="T22" fmla="*/ 0 w 119"/>
                  <a:gd name="T23" fmla="*/ 0 h 57"/>
                  <a:gd name="T24" fmla="*/ 0 w 119"/>
                  <a:gd name="T25" fmla="*/ 0 h 57"/>
                  <a:gd name="T26" fmla="*/ 0 w 119"/>
                  <a:gd name="T27" fmla="*/ 0 h 57"/>
                  <a:gd name="T28" fmla="*/ 0 w 119"/>
                  <a:gd name="T29" fmla="*/ 0 h 57"/>
                  <a:gd name="T30" fmla="*/ 0 w 119"/>
                  <a:gd name="T31" fmla="*/ 0 h 57"/>
                  <a:gd name="T32" fmla="*/ 0 w 119"/>
                  <a:gd name="T33" fmla="*/ 0 h 57"/>
                  <a:gd name="T34" fmla="*/ 0 w 119"/>
                  <a:gd name="T35" fmla="*/ 0 h 57"/>
                  <a:gd name="T36" fmla="*/ 0 w 119"/>
                  <a:gd name="T37" fmla="*/ 0 h 57"/>
                  <a:gd name="T38" fmla="*/ 0 w 119"/>
                  <a:gd name="T39" fmla="*/ 0 h 57"/>
                  <a:gd name="T40" fmla="*/ 0 w 119"/>
                  <a:gd name="T41" fmla="*/ 0 h 57"/>
                  <a:gd name="T42" fmla="*/ 0 w 119"/>
                  <a:gd name="T43" fmla="*/ 0 h 57"/>
                  <a:gd name="T44" fmla="*/ 0 w 119"/>
                  <a:gd name="T45" fmla="*/ 0 h 57"/>
                  <a:gd name="T46" fmla="*/ 0 w 119"/>
                  <a:gd name="T47" fmla="*/ 0 h 57"/>
                  <a:gd name="T48" fmla="*/ 0 w 119"/>
                  <a:gd name="T49" fmla="*/ 0 h 57"/>
                  <a:gd name="T50" fmla="*/ 0 w 119"/>
                  <a:gd name="T51" fmla="*/ 0 h 57"/>
                  <a:gd name="T52" fmla="*/ 0 w 119"/>
                  <a:gd name="T53" fmla="*/ 0 h 57"/>
                  <a:gd name="T54" fmla="*/ 0 w 119"/>
                  <a:gd name="T55" fmla="*/ 0 h 57"/>
                  <a:gd name="T56" fmla="*/ 0 w 119"/>
                  <a:gd name="T57" fmla="*/ 0 h 57"/>
                  <a:gd name="T58" fmla="*/ 0 w 119"/>
                  <a:gd name="T59" fmla="*/ 0 h 57"/>
                  <a:gd name="T60" fmla="*/ 0 w 119"/>
                  <a:gd name="T61" fmla="*/ 0 h 57"/>
                  <a:gd name="T62" fmla="*/ 0 w 119"/>
                  <a:gd name="T63" fmla="*/ 0 h 57"/>
                  <a:gd name="T64" fmla="*/ 0 w 119"/>
                  <a:gd name="T65" fmla="*/ 0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9"/>
                  <a:gd name="T100" fmla="*/ 0 h 57"/>
                  <a:gd name="T101" fmla="*/ 119 w 119"/>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4" name="Freeform 988"/>
              <p:cNvSpPr>
                <a:spLocks/>
              </p:cNvSpPr>
              <p:nvPr/>
            </p:nvSpPr>
            <p:spPr bwMode="auto">
              <a:xfrm>
                <a:off x="1554" y="1335"/>
                <a:ext cx="34" cy="17"/>
              </a:xfrm>
              <a:custGeom>
                <a:avLst/>
                <a:gdLst>
                  <a:gd name="T0" fmla="*/ 0 w 107"/>
                  <a:gd name="T1" fmla="*/ 0 h 52"/>
                  <a:gd name="T2" fmla="*/ 0 w 107"/>
                  <a:gd name="T3" fmla="*/ 0 h 52"/>
                  <a:gd name="T4" fmla="*/ 0 w 107"/>
                  <a:gd name="T5" fmla="*/ 0 h 52"/>
                  <a:gd name="T6" fmla="*/ 0 w 107"/>
                  <a:gd name="T7" fmla="*/ 0 h 52"/>
                  <a:gd name="T8" fmla="*/ 0 w 107"/>
                  <a:gd name="T9" fmla="*/ 0 h 52"/>
                  <a:gd name="T10" fmla="*/ 0 w 107"/>
                  <a:gd name="T11" fmla="*/ 0 h 52"/>
                  <a:gd name="T12" fmla="*/ 0 w 107"/>
                  <a:gd name="T13" fmla="*/ 0 h 52"/>
                  <a:gd name="T14" fmla="*/ 0 w 107"/>
                  <a:gd name="T15" fmla="*/ 0 h 52"/>
                  <a:gd name="T16" fmla="*/ 0 w 107"/>
                  <a:gd name="T17" fmla="*/ 0 h 52"/>
                  <a:gd name="T18" fmla="*/ 0 w 107"/>
                  <a:gd name="T19" fmla="*/ 0 h 52"/>
                  <a:gd name="T20" fmla="*/ 0 w 107"/>
                  <a:gd name="T21" fmla="*/ 0 h 52"/>
                  <a:gd name="T22" fmla="*/ 0 w 107"/>
                  <a:gd name="T23" fmla="*/ 0 h 52"/>
                  <a:gd name="T24" fmla="*/ 0 w 107"/>
                  <a:gd name="T25" fmla="*/ 0 h 52"/>
                  <a:gd name="T26" fmla="*/ 0 w 107"/>
                  <a:gd name="T27" fmla="*/ 0 h 52"/>
                  <a:gd name="T28" fmla="*/ 0 w 107"/>
                  <a:gd name="T29" fmla="*/ 0 h 52"/>
                  <a:gd name="T30" fmla="*/ 0 w 107"/>
                  <a:gd name="T31" fmla="*/ 0 h 52"/>
                  <a:gd name="T32" fmla="*/ 0 w 107"/>
                  <a:gd name="T33" fmla="*/ 0 h 52"/>
                  <a:gd name="T34" fmla="*/ 0 w 107"/>
                  <a:gd name="T35" fmla="*/ 0 h 52"/>
                  <a:gd name="T36" fmla="*/ 0 w 107"/>
                  <a:gd name="T37" fmla="*/ 0 h 52"/>
                  <a:gd name="T38" fmla="*/ 0 w 107"/>
                  <a:gd name="T39" fmla="*/ 0 h 52"/>
                  <a:gd name="T40" fmla="*/ 0 w 107"/>
                  <a:gd name="T41" fmla="*/ 0 h 52"/>
                  <a:gd name="T42" fmla="*/ 0 w 107"/>
                  <a:gd name="T43" fmla="*/ 0 h 52"/>
                  <a:gd name="T44" fmla="*/ 0 w 107"/>
                  <a:gd name="T45" fmla="*/ 0 h 52"/>
                  <a:gd name="T46" fmla="*/ 0 w 107"/>
                  <a:gd name="T47" fmla="*/ 0 h 52"/>
                  <a:gd name="T48" fmla="*/ 0 w 107"/>
                  <a:gd name="T49" fmla="*/ 0 h 52"/>
                  <a:gd name="T50" fmla="*/ 0 w 107"/>
                  <a:gd name="T51" fmla="*/ 0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7"/>
                  <a:gd name="T79" fmla="*/ 0 h 52"/>
                  <a:gd name="T80" fmla="*/ 107 w 107"/>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5" name="Freeform 989"/>
              <p:cNvSpPr>
                <a:spLocks/>
              </p:cNvSpPr>
              <p:nvPr/>
            </p:nvSpPr>
            <p:spPr bwMode="auto">
              <a:xfrm>
                <a:off x="1381" y="1244"/>
                <a:ext cx="79" cy="32"/>
              </a:xfrm>
              <a:custGeom>
                <a:avLst/>
                <a:gdLst>
                  <a:gd name="T0" fmla="*/ 0 w 246"/>
                  <a:gd name="T1" fmla="*/ 0 h 99"/>
                  <a:gd name="T2" fmla="*/ 0 w 246"/>
                  <a:gd name="T3" fmla="*/ 0 h 99"/>
                  <a:gd name="T4" fmla="*/ 0 w 246"/>
                  <a:gd name="T5" fmla="*/ 0 h 99"/>
                  <a:gd name="T6" fmla="*/ 0 w 246"/>
                  <a:gd name="T7" fmla="*/ 0 h 99"/>
                  <a:gd name="T8" fmla="*/ 0 w 246"/>
                  <a:gd name="T9" fmla="*/ 0 h 99"/>
                  <a:gd name="T10" fmla="*/ 0 w 246"/>
                  <a:gd name="T11" fmla="*/ 0 h 99"/>
                  <a:gd name="T12" fmla="*/ 0 w 246"/>
                  <a:gd name="T13" fmla="*/ 0 h 99"/>
                  <a:gd name="T14" fmla="*/ 0 w 246"/>
                  <a:gd name="T15" fmla="*/ 0 h 99"/>
                  <a:gd name="T16" fmla="*/ 0 w 246"/>
                  <a:gd name="T17" fmla="*/ 0 h 99"/>
                  <a:gd name="T18" fmla="*/ 0 w 246"/>
                  <a:gd name="T19" fmla="*/ 0 h 99"/>
                  <a:gd name="T20" fmla="*/ 0 w 246"/>
                  <a:gd name="T21" fmla="*/ 0 h 99"/>
                  <a:gd name="T22" fmla="*/ 0 w 246"/>
                  <a:gd name="T23" fmla="*/ 0 h 99"/>
                  <a:gd name="T24" fmla="*/ 0 w 246"/>
                  <a:gd name="T25" fmla="*/ 0 h 99"/>
                  <a:gd name="T26" fmla="*/ 0 w 246"/>
                  <a:gd name="T27" fmla="*/ 0 h 99"/>
                  <a:gd name="T28" fmla="*/ 0 w 246"/>
                  <a:gd name="T29" fmla="*/ 0 h 99"/>
                  <a:gd name="T30" fmla="*/ 0 w 246"/>
                  <a:gd name="T31" fmla="*/ 0 h 99"/>
                  <a:gd name="T32" fmla="*/ 0 w 246"/>
                  <a:gd name="T33" fmla="*/ 0 h 99"/>
                  <a:gd name="T34" fmla="*/ 0 w 246"/>
                  <a:gd name="T35" fmla="*/ 0 h 99"/>
                  <a:gd name="T36" fmla="*/ 0 w 246"/>
                  <a:gd name="T37" fmla="*/ 0 h 99"/>
                  <a:gd name="T38" fmla="*/ 0 w 246"/>
                  <a:gd name="T39" fmla="*/ 0 h 99"/>
                  <a:gd name="T40" fmla="*/ 0 w 246"/>
                  <a:gd name="T41" fmla="*/ 0 h 99"/>
                  <a:gd name="T42" fmla="*/ 0 w 246"/>
                  <a:gd name="T43" fmla="*/ 0 h 99"/>
                  <a:gd name="T44" fmla="*/ 0 w 246"/>
                  <a:gd name="T45" fmla="*/ 0 h 99"/>
                  <a:gd name="T46" fmla="*/ 0 w 246"/>
                  <a:gd name="T47" fmla="*/ 0 h 99"/>
                  <a:gd name="T48" fmla="*/ 0 w 246"/>
                  <a:gd name="T49" fmla="*/ 0 h 99"/>
                  <a:gd name="T50" fmla="*/ 0 w 246"/>
                  <a:gd name="T51" fmla="*/ 0 h 99"/>
                  <a:gd name="T52" fmla="*/ 0 w 246"/>
                  <a:gd name="T53" fmla="*/ 0 h 99"/>
                  <a:gd name="T54" fmla="*/ 0 w 246"/>
                  <a:gd name="T55" fmla="*/ 0 h 99"/>
                  <a:gd name="T56" fmla="*/ 0 w 246"/>
                  <a:gd name="T57" fmla="*/ 0 h 99"/>
                  <a:gd name="T58" fmla="*/ 0 w 246"/>
                  <a:gd name="T59" fmla="*/ 0 h 99"/>
                  <a:gd name="T60" fmla="*/ 0 w 246"/>
                  <a:gd name="T61" fmla="*/ 0 h 99"/>
                  <a:gd name="T62" fmla="*/ 0 w 246"/>
                  <a:gd name="T63" fmla="*/ 0 h 99"/>
                  <a:gd name="T64" fmla="*/ 0 w 246"/>
                  <a:gd name="T65" fmla="*/ 0 h 99"/>
                  <a:gd name="T66" fmla="*/ 0 w 246"/>
                  <a:gd name="T67" fmla="*/ 0 h 99"/>
                  <a:gd name="T68" fmla="*/ 0 w 246"/>
                  <a:gd name="T69" fmla="*/ 0 h 99"/>
                  <a:gd name="T70" fmla="*/ 0 w 246"/>
                  <a:gd name="T71" fmla="*/ 0 h 99"/>
                  <a:gd name="T72" fmla="*/ 0 w 246"/>
                  <a:gd name="T73" fmla="*/ 0 h 99"/>
                  <a:gd name="T74" fmla="*/ 0 w 246"/>
                  <a:gd name="T75" fmla="*/ 0 h 99"/>
                  <a:gd name="T76" fmla="*/ 0 w 246"/>
                  <a:gd name="T77" fmla="*/ 0 h 99"/>
                  <a:gd name="T78" fmla="*/ 0 w 246"/>
                  <a:gd name="T79" fmla="*/ 0 h 99"/>
                  <a:gd name="T80" fmla="*/ 0 w 246"/>
                  <a:gd name="T81" fmla="*/ 0 h 99"/>
                  <a:gd name="T82" fmla="*/ 0 w 246"/>
                  <a:gd name="T83" fmla="*/ 0 h 99"/>
                  <a:gd name="T84" fmla="*/ 0 w 246"/>
                  <a:gd name="T85" fmla="*/ 0 h 99"/>
                  <a:gd name="T86" fmla="*/ 0 w 246"/>
                  <a:gd name="T87" fmla="*/ 0 h 99"/>
                  <a:gd name="T88" fmla="*/ 0 w 246"/>
                  <a:gd name="T89" fmla="*/ 0 h 99"/>
                  <a:gd name="T90" fmla="*/ 0 w 246"/>
                  <a:gd name="T91" fmla="*/ 0 h 99"/>
                  <a:gd name="T92" fmla="*/ 0 w 246"/>
                  <a:gd name="T93" fmla="*/ 0 h 99"/>
                  <a:gd name="T94" fmla="*/ 0 w 246"/>
                  <a:gd name="T95" fmla="*/ 0 h 99"/>
                  <a:gd name="T96" fmla="*/ 0 w 246"/>
                  <a:gd name="T97" fmla="*/ 0 h 99"/>
                  <a:gd name="T98" fmla="*/ 0 w 246"/>
                  <a:gd name="T99" fmla="*/ 0 h 99"/>
                  <a:gd name="T100" fmla="*/ 0 w 246"/>
                  <a:gd name="T101" fmla="*/ 0 h 99"/>
                  <a:gd name="T102" fmla="*/ 0 w 246"/>
                  <a:gd name="T103" fmla="*/ 0 h 99"/>
                  <a:gd name="T104" fmla="*/ 0 w 246"/>
                  <a:gd name="T105" fmla="*/ 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99"/>
                  <a:gd name="T161" fmla="*/ 246 w 246"/>
                  <a:gd name="T162" fmla="*/ 99 h 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6" name="Freeform 990"/>
              <p:cNvSpPr>
                <a:spLocks/>
              </p:cNvSpPr>
              <p:nvPr/>
            </p:nvSpPr>
            <p:spPr bwMode="auto">
              <a:xfrm>
                <a:off x="1294" y="1248"/>
                <a:ext cx="76" cy="40"/>
              </a:xfrm>
              <a:custGeom>
                <a:avLst/>
                <a:gdLst>
                  <a:gd name="T0" fmla="*/ 0 w 233"/>
                  <a:gd name="T1" fmla="*/ 0 h 123"/>
                  <a:gd name="T2" fmla="*/ 0 w 233"/>
                  <a:gd name="T3" fmla="*/ 0 h 123"/>
                  <a:gd name="T4" fmla="*/ 0 w 233"/>
                  <a:gd name="T5" fmla="*/ 0 h 123"/>
                  <a:gd name="T6" fmla="*/ 0 w 233"/>
                  <a:gd name="T7" fmla="*/ 0 h 123"/>
                  <a:gd name="T8" fmla="*/ 0 w 233"/>
                  <a:gd name="T9" fmla="*/ 0 h 123"/>
                  <a:gd name="T10" fmla="*/ 0 w 233"/>
                  <a:gd name="T11" fmla="*/ 0 h 123"/>
                  <a:gd name="T12" fmla="*/ 0 w 233"/>
                  <a:gd name="T13" fmla="*/ 0 h 123"/>
                  <a:gd name="T14" fmla="*/ 0 w 233"/>
                  <a:gd name="T15" fmla="*/ 0 h 123"/>
                  <a:gd name="T16" fmla="*/ 0 w 233"/>
                  <a:gd name="T17" fmla="*/ 0 h 123"/>
                  <a:gd name="T18" fmla="*/ 0 w 233"/>
                  <a:gd name="T19" fmla="*/ 0 h 123"/>
                  <a:gd name="T20" fmla="*/ 0 w 233"/>
                  <a:gd name="T21" fmla="*/ 0 h 123"/>
                  <a:gd name="T22" fmla="*/ 0 w 233"/>
                  <a:gd name="T23" fmla="*/ 0 h 123"/>
                  <a:gd name="T24" fmla="*/ 0 w 233"/>
                  <a:gd name="T25" fmla="*/ 0 h 123"/>
                  <a:gd name="T26" fmla="*/ 0 w 233"/>
                  <a:gd name="T27" fmla="*/ 0 h 123"/>
                  <a:gd name="T28" fmla="*/ 0 w 233"/>
                  <a:gd name="T29" fmla="*/ 0 h 123"/>
                  <a:gd name="T30" fmla="*/ 0 w 233"/>
                  <a:gd name="T31" fmla="*/ 0 h 123"/>
                  <a:gd name="T32" fmla="*/ 0 w 233"/>
                  <a:gd name="T33" fmla="*/ 0 h 123"/>
                  <a:gd name="T34" fmla="*/ 0 w 233"/>
                  <a:gd name="T35" fmla="*/ 0 h 123"/>
                  <a:gd name="T36" fmla="*/ 0 w 233"/>
                  <a:gd name="T37" fmla="*/ 0 h 123"/>
                  <a:gd name="T38" fmla="*/ 0 w 233"/>
                  <a:gd name="T39" fmla="*/ 0 h 123"/>
                  <a:gd name="T40" fmla="*/ 0 w 233"/>
                  <a:gd name="T41" fmla="*/ 0 h 123"/>
                  <a:gd name="T42" fmla="*/ 0 w 233"/>
                  <a:gd name="T43" fmla="*/ 0 h 123"/>
                  <a:gd name="T44" fmla="*/ 0 w 233"/>
                  <a:gd name="T45" fmla="*/ 0 h 123"/>
                  <a:gd name="T46" fmla="*/ 0 w 233"/>
                  <a:gd name="T47" fmla="*/ 0 h 123"/>
                  <a:gd name="T48" fmla="*/ 0 w 233"/>
                  <a:gd name="T49" fmla="*/ 0 h 123"/>
                  <a:gd name="T50" fmla="*/ 0 w 233"/>
                  <a:gd name="T51" fmla="*/ 0 h 123"/>
                  <a:gd name="T52" fmla="*/ 0 w 233"/>
                  <a:gd name="T53" fmla="*/ 0 h 123"/>
                  <a:gd name="T54" fmla="*/ 0 w 233"/>
                  <a:gd name="T55" fmla="*/ 0 h 123"/>
                  <a:gd name="T56" fmla="*/ 0 w 233"/>
                  <a:gd name="T57" fmla="*/ 0 h 123"/>
                  <a:gd name="T58" fmla="*/ 0 w 233"/>
                  <a:gd name="T59" fmla="*/ 0 h 123"/>
                  <a:gd name="T60" fmla="*/ 0 w 233"/>
                  <a:gd name="T61" fmla="*/ 0 h 123"/>
                  <a:gd name="T62" fmla="*/ 0 w 233"/>
                  <a:gd name="T63" fmla="*/ 0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3"/>
                  <a:gd name="T97" fmla="*/ 0 h 123"/>
                  <a:gd name="T98" fmla="*/ 233 w 233"/>
                  <a:gd name="T99" fmla="*/ 123 h 12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7" name="Freeform 991"/>
              <p:cNvSpPr>
                <a:spLocks/>
              </p:cNvSpPr>
              <p:nvPr/>
            </p:nvSpPr>
            <p:spPr bwMode="auto">
              <a:xfrm>
                <a:off x="983" y="1236"/>
                <a:ext cx="157" cy="56"/>
              </a:xfrm>
              <a:custGeom>
                <a:avLst/>
                <a:gdLst>
                  <a:gd name="T0" fmla="*/ 0 w 484"/>
                  <a:gd name="T1" fmla="*/ 0 h 172"/>
                  <a:gd name="T2" fmla="*/ 0 w 484"/>
                  <a:gd name="T3" fmla="*/ 0 h 172"/>
                  <a:gd name="T4" fmla="*/ 0 w 484"/>
                  <a:gd name="T5" fmla="*/ 0 h 172"/>
                  <a:gd name="T6" fmla="*/ 0 w 484"/>
                  <a:gd name="T7" fmla="*/ 0 h 172"/>
                  <a:gd name="T8" fmla="*/ 0 w 484"/>
                  <a:gd name="T9" fmla="*/ 0 h 172"/>
                  <a:gd name="T10" fmla="*/ 0 w 484"/>
                  <a:gd name="T11" fmla="*/ 0 h 172"/>
                  <a:gd name="T12" fmla="*/ 0 w 484"/>
                  <a:gd name="T13" fmla="*/ 0 h 172"/>
                  <a:gd name="T14" fmla="*/ 0 w 484"/>
                  <a:gd name="T15" fmla="*/ 0 h 172"/>
                  <a:gd name="T16" fmla="*/ 0 w 484"/>
                  <a:gd name="T17" fmla="*/ 0 h 172"/>
                  <a:gd name="T18" fmla="*/ 0 w 484"/>
                  <a:gd name="T19" fmla="*/ 0 h 172"/>
                  <a:gd name="T20" fmla="*/ 0 w 484"/>
                  <a:gd name="T21" fmla="*/ 0 h 172"/>
                  <a:gd name="T22" fmla="*/ 0 w 484"/>
                  <a:gd name="T23" fmla="*/ 0 h 172"/>
                  <a:gd name="T24" fmla="*/ 0 w 484"/>
                  <a:gd name="T25" fmla="*/ 0 h 172"/>
                  <a:gd name="T26" fmla="*/ 0 w 484"/>
                  <a:gd name="T27" fmla="*/ 0 h 172"/>
                  <a:gd name="T28" fmla="*/ 0 w 484"/>
                  <a:gd name="T29" fmla="*/ 0 h 172"/>
                  <a:gd name="T30" fmla="*/ 0 w 484"/>
                  <a:gd name="T31" fmla="*/ 0 h 172"/>
                  <a:gd name="T32" fmla="*/ 0 w 484"/>
                  <a:gd name="T33" fmla="*/ 0 h 172"/>
                  <a:gd name="T34" fmla="*/ 0 w 484"/>
                  <a:gd name="T35" fmla="*/ 0 h 172"/>
                  <a:gd name="T36" fmla="*/ 0 w 484"/>
                  <a:gd name="T37" fmla="*/ 0 h 172"/>
                  <a:gd name="T38" fmla="*/ 0 w 484"/>
                  <a:gd name="T39" fmla="*/ 0 h 172"/>
                  <a:gd name="T40" fmla="*/ 0 w 484"/>
                  <a:gd name="T41" fmla="*/ 0 h 172"/>
                  <a:gd name="T42" fmla="*/ 0 w 484"/>
                  <a:gd name="T43" fmla="*/ 0 h 172"/>
                  <a:gd name="T44" fmla="*/ 0 w 484"/>
                  <a:gd name="T45" fmla="*/ 0 h 172"/>
                  <a:gd name="T46" fmla="*/ 0 w 484"/>
                  <a:gd name="T47" fmla="*/ 0 h 172"/>
                  <a:gd name="T48" fmla="*/ 0 w 484"/>
                  <a:gd name="T49" fmla="*/ 0 h 172"/>
                  <a:gd name="T50" fmla="*/ 0 w 484"/>
                  <a:gd name="T51" fmla="*/ 0 h 172"/>
                  <a:gd name="T52" fmla="*/ 0 w 484"/>
                  <a:gd name="T53" fmla="*/ 0 h 172"/>
                  <a:gd name="T54" fmla="*/ 0 w 484"/>
                  <a:gd name="T55" fmla="*/ 0 h 172"/>
                  <a:gd name="T56" fmla="*/ 0 w 484"/>
                  <a:gd name="T57" fmla="*/ 0 h 172"/>
                  <a:gd name="T58" fmla="*/ 0 w 484"/>
                  <a:gd name="T59" fmla="*/ 0 h 172"/>
                  <a:gd name="T60" fmla="*/ 0 w 484"/>
                  <a:gd name="T61" fmla="*/ 0 h 172"/>
                  <a:gd name="T62" fmla="*/ 0 w 484"/>
                  <a:gd name="T63" fmla="*/ 0 h 172"/>
                  <a:gd name="T64" fmla="*/ 0 w 484"/>
                  <a:gd name="T65" fmla="*/ 0 h 172"/>
                  <a:gd name="T66" fmla="*/ 0 w 484"/>
                  <a:gd name="T67" fmla="*/ 0 h 172"/>
                  <a:gd name="T68" fmla="*/ 0 w 484"/>
                  <a:gd name="T69" fmla="*/ 0 h 172"/>
                  <a:gd name="T70" fmla="*/ 0 w 484"/>
                  <a:gd name="T71" fmla="*/ 0 h 172"/>
                  <a:gd name="T72" fmla="*/ 0 w 484"/>
                  <a:gd name="T73" fmla="*/ 0 h 172"/>
                  <a:gd name="T74" fmla="*/ 0 w 484"/>
                  <a:gd name="T75" fmla="*/ 0 h 172"/>
                  <a:gd name="T76" fmla="*/ 0 w 484"/>
                  <a:gd name="T77" fmla="*/ 0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84"/>
                  <a:gd name="T118" fmla="*/ 0 h 172"/>
                  <a:gd name="T119" fmla="*/ 484 w 484"/>
                  <a:gd name="T120" fmla="*/ 172 h 17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8" name="Freeform 992"/>
              <p:cNvSpPr>
                <a:spLocks/>
              </p:cNvSpPr>
              <p:nvPr/>
            </p:nvSpPr>
            <p:spPr bwMode="auto">
              <a:xfrm>
                <a:off x="1043" y="1255"/>
                <a:ext cx="221" cy="79"/>
              </a:xfrm>
              <a:custGeom>
                <a:avLst/>
                <a:gdLst>
                  <a:gd name="T0" fmla="*/ 0 w 684"/>
                  <a:gd name="T1" fmla="*/ 0 h 240"/>
                  <a:gd name="T2" fmla="*/ 0 w 684"/>
                  <a:gd name="T3" fmla="*/ 0 h 240"/>
                  <a:gd name="T4" fmla="*/ 0 w 684"/>
                  <a:gd name="T5" fmla="*/ 0 h 240"/>
                  <a:gd name="T6" fmla="*/ 0 w 684"/>
                  <a:gd name="T7" fmla="*/ 0 h 240"/>
                  <a:gd name="T8" fmla="*/ 0 w 684"/>
                  <a:gd name="T9" fmla="*/ 0 h 240"/>
                  <a:gd name="T10" fmla="*/ 0 w 684"/>
                  <a:gd name="T11" fmla="*/ 0 h 240"/>
                  <a:gd name="T12" fmla="*/ 0 w 684"/>
                  <a:gd name="T13" fmla="*/ 0 h 240"/>
                  <a:gd name="T14" fmla="*/ 0 w 684"/>
                  <a:gd name="T15" fmla="*/ 0 h 240"/>
                  <a:gd name="T16" fmla="*/ 0 w 684"/>
                  <a:gd name="T17" fmla="*/ 0 h 240"/>
                  <a:gd name="T18" fmla="*/ 0 w 684"/>
                  <a:gd name="T19" fmla="*/ 0 h 240"/>
                  <a:gd name="T20" fmla="*/ 0 w 684"/>
                  <a:gd name="T21" fmla="*/ 0 h 240"/>
                  <a:gd name="T22" fmla="*/ 0 w 684"/>
                  <a:gd name="T23" fmla="*/ 0 h 240"/>
                  <a:gd name="T24" fmla="*/ 0 w 684"/>
                  <a:gd name="T25" fmla="*/ 0 h 240"/>
                  <a:gd name="T26" fmla="*/ 0 w 684"/>
                  <a:gd name="T27" fmla="*/ 0 h 240"/>
                  <a:gd name="T28" fmla="*/ 0 w 684"/>
                  <a:gd name="T29" fmla="*/ 0 h 240"/>
                  <a:gd name="T30" fmla="*/ 0 w 684"/>
                  <a:gd name="T31" fmla="*/ 0 h 240"/>
                  <a:gd name="T32" fmla="*/ 0 w 684"/>
                  <a:gd name="T33" fmla="*/ 0 h 240"/>
                  <a:gd name="T34" fmla="*/ 0 w 684"/>
                  <a:gd name="T35" fmla="*/ 0 h 240"/>
                  <a:gd name="T36" fmla="*/ 0 w 684"/>
                  <a:gd name="T37" fmla="*/ 0 h 240"/>
                  <a:gd name="T38" fmla="*/ 0 w 684"/>
                  <a:gd name="T39" fmla="*/ 0 h 240"/>
                  <a:gd name="T40" fmla="*/ 0 w 684"/>
                  <a:gd name="T41" fmla="*/ 0 h 240"/>
                  <a:gd name="T42" fmla="*/ 0 w 684"/>
                  <a:gd name="T43" fmla="*/ 0 h 240"/>
                  <a:gd name="T44" fmla="*/ 0 w 684"/>
                  <a:gd name="T45" fmla="*/ 0 h 240"/>
                  <a:gd name="T46" fmla="*/ 0 w 684"/>
                  <a:gd name="T47" fmla="*/ 0 h 240"/>
                  <a:gd name="T48" fmla="*/ 0 w 684"/>
                  <a:gd name="T49" fmla="*/ 0 h 240"/>
                  <a:gd name="T50" fmla="*/ 0 w 684"/>
                  <a:gd name="T51" fmla="*/ 0 h 240"/>
                  <a:gd name="T52" fmla="*/ 0 w 684"/>
                  <a:gd name="T53" fmla="*/ 0 h 240"/>
                  <a:gd name="T54" fmla="*/ 0 w 684"/>
                  <a:gd name="T55" fmla="*/ 0 h 240"/>
                  <a:gd name="T56" fmla="*/ 0 w 684"/>
                  <a:gd name="T57" fmla="*/ 0 h 240"/>
                  <a:gd name="T58" fmla="*/ 0 w 684"/>
                  <a:gd name="T59" fmla="*/ 0 h 240"/>
                  <a:gd name="T60" fmla="*/ 0 w 684"/>
                  <a:gd name="T61" fmla="*/ 0 h 240"/>
                  <a:gd name="T62" fmla="*/ 0 w 684"/>
                  <a:gd name="T63" fmla="*/ 0 h 240"/>
                  <a:gd name="T64" fmla="*/ 0 w 684"/>
                  <a:gd name="T65" fmla="*/ 0 h 240"/>
                  <a:gd name="T66" fmla="*/ 0 w 684"/>
                  <a:gd name="T67" fmla="*/ 0 h 240"/>
                  <a:gd name="T68" fmla="*/ 0 w 684"/>
                  <a:gd name="T69" fmla="*/ 0 h 240"/>
                  <a:gd name="T70" fmla="*/ 0 w 684"/>
                  <a:gd name="T71" fmla="*/ 0 h 240"/>
                  <a:gd name="T72" fmla="*/ 0 w 684"/>
                  <a:gd name="T73" fmla="*/ 0 h 240"/>
                  <a:gd name="T74" fmla="*/ 0 w 684"/>
                  <a:gd name="T75" fmla="*/ 0 h 240"/>
                  <a:gd name="T76" fmla="*/ 0 w 684"/>
                  <a:gd name="T77" fmla="*/ 0 h 240"/>
                  <a:gd name="T78" fmla="*/ 0 w 684"/>
                  <a:gd name="T79" fmla="*/ 0 h 240"/>
                  <a:gd name="T80" fmla="*/ 0 w 684"/>
                  <a:gd name="T81" fmla="*/ 0 h 240"/>
                  <a:gd name="T82" fmla="*/ 0 w 684"/>
                  <a:gd name="T83" fmla="*/ 0 h 240"/>
                  <a:gd name="T84" fmla="*/ 0 w 684"/>
                  <a:gd name="T85" fmla="*/ 0 h 240"/>
                  <a:gd name="T86" fmla="*/ 0 w 684"/>
                  <a:gd name="T87" fmla="*/ 0 h 240"/>
                  <a:gd name="T88" fmla="*/ 0 w 684"/>
                  <a:gd name="T89" fmla="*/ 0 h 240"/>
                  <a:gd name="T90" fmla="*/ 0 w 684"/>
                  <a:gd name="T91" fmla="*/ 0 h 240"/>
                  <a:gd name="T92" fmla="*/ 0 w 684"/>
                  <a:gd name="T93" fmla="*/ 0 h 240"/>
                  <a:gd name="T94" fmla="*/ 0 w 684"/>
                  <a:gd name="T95" fmla="*/ 0 h 240"/>
                  <a:gd name="T96" fmla="*/ 0 w 684"/>
                  <a:gd name="T97" fmla="*/ 0 h 240"/>
                  <a:gd name="T98" fmla="*/ 0 w 684"/>
                  <a:gd name="T99" fmla="*/ 0 h 240"/>
                  <a:gd name="T100" fmla="*/ 0 w 684"/>
                  <a:gd name="T101" fmla="*/ 0 h 240"/>
                  <a:gd name="T102" fmla="*/ 0 w 684"/>
                  <a:gd name="T103" fmla="*/ 0 h 240"/>
                  <a:gd name="T104" fmla="*/ 0 w 684"/>
                  <a:gd name="T105" fmla="*/ 0 h 240"/>
                  <a:gd name="T106" fmla="*/ 0 w 684"/>
                  <a:gd name="T107" fmla="*/ 0 h 240"/>
                  <a:gd name="T108" fmla="*/ 0 w 684"/>
                  <a:gd name="T109" fmla="*/ 0 h 240"/>
                  <a:gd name="T110" fmla="*/ 0 w 684"/>
                  <a:gd name="T111" fmla="*/ 0 h 240"/>
                  <a:gd name="T112" fmla="*/ 0 w 684"/>
                  <a:gd name="T113" fmla="*/ 0 h 240"/>
                  <a:gd name="T114" fmla="*/ 0 w 684"/>
                  <a:gd name="T115" fmla="*/ 0 h 240"/>
                  <a:gd name="T116" fmla="*/ 0 w 684"/>
                  <a:gd name="T117" fmla="*/ 0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4"/>
                  <a:gd name="T178" fmla="*/ 0 h 240"/>
                  <a:gd name="T179" fmla="*/ 684 w 684"/>
                  <a:gd name="T180" fmla="*/ 240 h 24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9" name="Freeform 993"/>
              <p:cNvSpPr>
                <a:spLocks/>
              </p:cNvSpPr>
              <p:nvPr/>
            </p:nvSpPr>
            <p:spPr bwMode="auto">
              <a:xfrm>
                <a:off x="1645" y="1643"/>
                <a:ext cx="108" cy="85"/>
              </a:xfrm>
              <a:custGeom>
                <a:avLst/>
                <a:gdLst>
                  <a:gd name="T0" fmla="*/ 0 w 332"/>
                  <a:gd name="T1" fmla="*/ 0 h 287"/>
                  <a:gd name="T2" fmla="*/ 0 w 332"/>
                  <a:gd name="T3" fmla="*/ 0 h 287"/>
                  <a:gd name="T4" fmla="*/ 0 w 332"/>
                  <a:gd name="T5" fmla="*/ 0 h 287"/>
                  <a:gd name="T6" fmla="*/ 0 w 332"/>
                  <a:gd name="T7" fmla="*/ 0 h 287"/>
                  <a:gd name="T8" fmla="*/ 0 w 332"/>
                  <a:gd name="T9" fmla="*/ 0 h 287"/>
                  <a:gd name="T10" fmla="*/ 0 w 332"/>
                  <a:gd name="T11" fmla="*/ 0 h 287"/>
                  <a:gd name="T12" fmla="*/ 0 w 332"/>
                  <a:gd name="T13" fmla="*/ 0 h 287"/>
                  <a:gd name="T14" fmla="*/ 0 w 332"/>
                  <a:gd name="T15" fmla="*/ 0 h 287"/>
                  <a:gd name="T16" fmla="*/ 0 w 332"/>
                  <a:gd name="T17" fmla="*/ 0 h 287"/>
                  <a:gd name="T18" fmla="*/ 0 w 332"/>
                  <a:gd name="T19" fmla="*/ 0 h 287"/>
                  <a:gd name="T20" fmla="*/ 0 w 332"/>
                  <a:gd name="T21" fmla="*/ 0 h 287"/>
                  <a:gd name="T22" fmla="*/ 0 w 332"/>
                  <a:gd name="T23" fmla="*/ 0 h 287"/>
                  <a:gd name="T24" fmla="*/ 0 w 332"/>
                  <a:gd name="T25" fmla="*/ 0 h 287"/>
                  <a:gd name="T26" fmla="*/ 0 w 332"/>
                  <a:gd name="T27" fmla="*/ 0 h 287"/>
                  <a:gd name="T28" fmla="*/ 0 w 332"/>
                  <a:gd name="T29" fmla="*/ 0 h 287"/>
                  <a:gd name="T30" fmla="*/ 0 w 332"/>
                  <a:gd name="T31" fmla="*/ 0 h 287"/>
                  <a:gd name="T32" fmla="*/ 0 w 332"/>
                  <a:gd name="T33" fmla="*/ 0 h 287"/>
                  <a:gd name="T34" fmla="*/ 0 w 332"/>
                  <a:gd name="T35" fmla="*/ 0 h 287"/>
                  <a:gd name="T36" fmla="*/ 0 w 332"/>
                  <a:gd name="T37" fmla="*/ 0 h 287"/>
                  <a:gd name="T38" fmla="*/ 0 w 332"/>
                  <a:gd name="T39" fmla="*/ 0 h 287"/>
                  <a:gd name="T40" fmla="*/ 0 w 332"/>
                  <a:gd name="T41" fmla="*/ 0 h 287"/>
                  <a:gd name="T42" fmla="*/ 0 w 332"/>
                  <a:gd name="T43" fmla="*/ 0 h 287"/>
                  <a:gd name="T44" fmla="*/ 0 w 332"/>
                  <a:gd name="T45" fmla="*/ 0 h 287"/>
                  <a:gd name="T46" fmla="*/ 0 w 332"/>
                  <a:gd name="T47" fmla="*/ 0 h 287"/>
                  <a:gd name="T48" fmla="*/ 0 w 332"/>
                  <a:gd name="T49" fmla="*/ 0 h 287"/>
                  <a:gd name="T50" fmla="*/ 0 w 332"/>
                  <a:gd name="T51" fmla="*/ 0 h 287"/>
                  <a:gd name="T52" fmla="*/ 0 w 332"/>
                  <a:gd name="T53" fmla="*/ 0 h 287"/>
                  <a:gd name="T54" fmla="*/ 0 w 332"/>
                  <a:gd name="T55" fmla="*/ 0 h 287"/>
                  <a:gd name="T56" fmla="*/ 0 w 332"/>
                  <a:gd name="T57" fmla="*/ 0 h 287"/>
                  <a:gd name="T58" fmla="*/ 0 w 332"/>
                  <a:gd name="T59" fmla="*/ 0 h 287"/>
                  <a:gd name="T60" fmla="*/ 0 w 332"/>
                  <a:gd name="T61" fmla="*/ 0 h 287"/>
                  <a:gd name="T62" fmla="*/ 0 w 332"/>
                  <a:gd name="T63" fmla="*/ 0 h 287"/>
                  <a:gd name="T64" fmla="*/ 0 w 332"/>
                  <a:gd name="T65" fmla="*/ 0 h 287"/>
                  <a:gd name="T66" fmla="*/ 0 w 332"/>
                  <a:gd name="T67" fmla="*/ 0 h 287"/>
                  <a:gd name="T68" fmla="*/ 0 w 332"/>
                  <a:gd name="T69" fmla="*/ 0 h 287"/>
                  <a:gd name="T70" fmla="*/ 0 w 332"/>
                  <a:gd name="T71" fmla="*/ 0 h 287"/>
                  <a:gd name="T72" fmla="*/ 0 w 332"/>
                  <a:gd name="T73" fmla="*/ 0 h 287"/>
                  <a:gd name="T74" fmla="*/ 0 w 332"/>
                  <a:gd name="T75" fmla="*/ 0 h 287"/>
                  <a:gd name="T76" fmla="*/ 0 w 332"/>
                  <a:gd name="T77" fmla="*/ 0 h 287"/>
                  <a:gd name="T78" fmla="*/ 0 w 332"/>
                  <a:gd name="T79" fmla="*/ 0 h 287"/>
                  <a:gd name="T80" fmla="*/ 0 w 332"/>
                  <a:gd name="T81" fmla="*/ 0 h 287"/>
                  <a:gd name="T82" fmla="*/ 0 w 332"/>
                  <a:gd name="T83" fmla="*/ 0 h 287"/>
                  <a:gd name="T84" fmla="*/ 0 w 332"/>
                  <a:gd name="T85" fmla="*/ 0 h 287"/>
                  <a:gd name="T86" fmla="*/ 0 w 332"/>
                  <a:gd name="T87" fmla="*/ 0 h 287"/>
                  <a:gd name="T88" fmla="*/ 0 w 332"/>
                  <a:gd name="T89" fmla="*/ 0 h 287"/>
                  <a:gd name="T90" fmla="*/ 0 w 332"/>
                  <a:gd name="T91" fmla="*/ 0 h 287"/>
                  <a:gd name="T92" fmla="*/ 0 w 332"/>
                  <a:gd name="T93" fmla="*/ 0 h 287"/>
                  <a:gd name="T94" fmla="*/ 0 w 332"/>
                  <a:gd name="T95" fmla="*/ 0 h 287"/>
                  <a:gd name="T96" fmla="*/ 0 w 332"/>
                  <a:gd name="T97" fmla="*/ 0 h 287"/>
                  <a:gd name="T98" fmla="*/ 0 w 332"/>
                  <a:gd name="T99" fmla="*/ 0 h 287"/>
                  <a:gd name="T100" fmla="*/ 0 w 332"/>
                  <a:gd name="T101" fmla="*/ 0 h 287"/>
                  <a:gd name="T102" fmla="*/ 0 w 332"/>
                  <a:gd name="T103" fmla="*/ 0 h 287"/>
                  <a:gd name="T104" fmla="*/ 0 w 332"/>
                  <a:gd name="T105" fmla="*/ 0 h 287"/>
                  <a:gd name="T106" fmla="*/ 0 w 332"/>
                  <a:gd name="T107" fmla="*/ 0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2"/>
                  <a:gd name="T163" fmla="*/ 0 h 287"/>
                  <a:gd name="T164" fmla="*/ 332 w 332"/>
                  <a:gd name="T165" fmla="*/ 287 h 2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0" name="Freeform 994"/>
              <p:cNvSpPr>
                <a:spLocks/>
              </p:cNvSpPr>
              <p:nvPr/>
            </p:nvSpPr>
            <p:spPr bwMode="auto">
              <a:xfrm>
                <a:off x="1102" y="1190"/>
                <a:ext cx="111" cy="27"/>
              </a:xfrm>
              <a:custGeom>
                <a:avLst/>
                <a:gdLst>
                  <a:gd name="T0" fmla="*/ 0 w 345"/>
                  <a:gd name="T1" fmla="*/ 0 h 86"/>
                  <a:gd name="T2" fmla="*/ 0 w 345"/>
                  <a:gd name="T3" fmla="*/ 0 h 86"/>
                  <a:gd name="T4" fmla="*/ 0 w 345"/>
                  <a:gd name="T5" fmla="*/ 0 h 86"/>
                  <a:gd name="T6" fmla="*/ 0 w 345"/>
                  <a:gd name="T7" fmla="*/ 0 h 86"/>
                  <a:gd name="T8" fmla="*/ 0 w 345"/>
                  <a:gd name="T9" fmla="*/ 0 h 86"/>
                  <a:gd name="T10" fmla="*/ 0 w 345"/>
                  <a:gd name="T11" fmla="*/ 0 h 86"/>
                  <a:gd name="T12" fmla="*/ 0 w 345"/>
                  <a:gd name="T13" fmla="*/ 0 h 86"/>
                  <a:gd name="T14" fmla="*/ 0 w 345"/>
                  <a:gd name="T15" fmla="*/ 0 h 86"/>
                  <a:gd name="T16" fmla="*/ 0 w 345"/>
                  <a:gd name="T17" fmla="*/ 0 h 86"/>
                  <a:gd name="T18" fmla="*/ 0 w 345"/>
                  <a:gd name="T19" fmla="*/ 0 h 86"/>
                  <a:gd name="T20" fmla="*/ 0 w 345"/>
                  <a:gd name="T21" fmla="*/ 0 h 86"/>
                  <a:gd name="T22" fmla="*/ 0 w 345"/>
                  <a:gd name="T23" fmla="*/ 0 h 86"/>
                  <a:gd name="T24" fmla="*/ 0 w 345"/>
                  <a:gd name="T25" fmla="*/ 0 h 86"/>
                  <a:gd name="T26" fmla="*/ 0 w 345"/>
                  <a:gd name="T27" fmla="*/ 0 h 86"/>
                  <a:gd name="T28" fmla="*/ 0 w 345"/>
                  <a:gd name="T29" fmla="*/ 0 h 86"/>
                  <a:gd name="T30" fmla="*/ 0 w 345"/>
                  <a:gd name="T31" fmla="*/ 0 h 86"/>
                  <a:gd name="T32" fmla="*/ 0 w 345"/>
                  <a:gd name="T33" fmla="*/ 0 h 86"/>
                  <a:gd name="T34" fmla="*/ 0 w 345"/>
                  <a:gd name="T35" fmla="*/ 0 h 86"/>
                  <a:gd name="T36" fmla="*/ 0 w 345"/>
                  <a:gd name="T37" fmla="*/ 0 h 86"/>
                  <a:gd name="T38" fmla="*/ 0 w 345"/>
                  <a:gd name="T39" fmla="*/ 0 h 86"/>
                  <a:gd name="T40" fmla="*/ 0 w 345"/>
                  <a:gd name="T41" fmla="*/ 0 h 86"/>
                  <a:gd name="T42" fmla="*/ 0 w 345"/>
                  <a:gd name="T43" fmla="*/ 0 h 86"/>
                  <a:gd name="T44" fmla="*/ 0 w 345"/>
                  <a:gd name="T45" fmla="*/ 0 h 86"/>
                  <a:gd name="T46" fmla="*/ 0 w 345"/>
                  <a:gd name="T47" fmla="*/ 0 h 86"/>
                  <a:gd name="T48" fmla="*/ 0 w 345"/>
                  <a:gd name="T49" fmla="*/ 0 h 86"/>
                  <a:gd name="T50" fmla="*/ 0 w 345"/>
                  <a:gd name="T51" fmla="*/ 0 h 86"/>
                  <a:gd name="T52" fmla="*/ 0 w 345"/>
                  <a:gd name="T53" fmla="*/ 0 h 86"/>
                  <a:gd name="T54" fmla="*/ 0 w 345"/>
                  <a:gd name="T55" fmla="*/ 0 h 86"/>
                  <a:gd name="T56" fmla="*/ 0 w 345"/>
                  <a:gd name="T57" fmla="*/ 0 h 86"/>
                  <a:gd name="T58" fmla="*/ 0 w 345"/>
                  <a:gd name="T59" fmla="*/ 0 h 86"/>
                  <a:gd name="T60" fmla="*/ 0 w 345"/>
                  <a:gd name="T61" fmla="*/ 0 h 86"/>
                  <a:gd name="T62" fmla="*/ 0 w 345"/>
                  <a:gd name="T63" fmla="*/ 0 h 86"/>
                  <a:gd name="T64" fmla="*/ 0 w 345"/>
                  <a:gd name="T65" fmla="*/ 0 h 86"/>
                  <a:gd name="T66" fmla="*/ 0 w 345"/>
                  <a:gd name="T67" fmla="*/ 0 h 86"/>
                  <a:gd name="T68" fmla="*/ 0 w 345"/>
                  <a:gd name="T69" fmla="*/ 0 h 86"/>
                  <a:gd name="T70" fmla="*/ 0 w 345"/>
                  <a:gd name="T71" fmla="*/ 0 h 86"/>
                  <a:gd name="T72" fmla="*/ 0 w 345"/>
                  <a:gd name="T73" fmla="*/ 0 h 86"/>
                  <a:gd name="T74" fmla="*/ 0 w 345"/>
                  <a:gd name="T75" fmla="*/ 0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5"/>
                  <a:gd name="T115" fmla="*/ 0 h 86"/>
                  <a:gd name="T116" fmla="*/ 345 w 345"/>
                  <a:gd name="T117" fmla="*/ 86 h 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1" name="Freeform 995"/>
              <p:cNvSpPr>
                <a:spLocks/>
              </p:cNvSpPr>
              <p:nvPr/>
            </p:nvSpPr>
            <p:spPr bwMode="auto">
              <a:xfrm>
                <a:off x="1159" y="1199"/>
                <a:ext cx="148" cy="43"/>
              </a:xfrm>
              <a:custGeom>
                <a:avLst/>
                <a:gdLst>
                  <a:gd name="T0" fmla="*/ 0 w 464"/>
                  <a:gd name="T1" fmla="*/ 0 h 130"/>
                  <a:gd name="T2" fmla="*/ 0 w 464"/>
                  <a:gd name="T3" fmla="*/ 0 h 130"/>
                  <a:gd name="T4" fmla="*/ 0 w 464"/>
                  <a:gd name="T5" fmla="*/ 0 h 130"/>
                  <a:gd name="T6" fmla="*/ 0 w 464"/>
                  <a:gd name="T7" fmla="*/ 0 h 130"/>
                  <a:gd name="T8" fmla="*/ 0 w 464"/>
                  <a:gd name="T9" fmla="*/ 0 h 130"/>
                  <a:gd name="T10" fmla="*/ 0 w 464"/>
                  <a:gd name="T11" fmla="*/ 0 h 130"/>
                  <a:gd name="T12" fmla="*/ 0 w 464"/>
                  <a:gd name="T13" fmla="*/ 0 h 130"/>
                  <a:gd name="T14" fmla="*/ 0 w 464"/>
                  <a:gd name="T15" fmla="*/ 0 h 130"/>
                  <a:gd name="T16" fmla="*/ 0 w 464"/>
                  <a:gd name="T17" fmla="*/ 0 h 130"/>
                  <a:gd name="T18" fmla="*/ 0 w 464"/>
                  <a:gd name="T19" fmla="*/ 0 h 130"/>
                  <a:gd name="T20" fmla="*/ 0 w 464"/>
                  <a:gd name="T21" fmla="*/ 0 h 130"/>
                  <a:gd name="T22" fmla="*/ 0 w 464"/>
                  <a:gd name="T23" fmla="*/ 0 h 130"/>
                  <a:gd name="T24" fmla="*/ 0 w 464"/>
                  <a:gd name="T25" fmla="*/ 0 h 130"/>
                  <a:gd name="T26" fmla="*/ 0 w 464"/>
                  <a:gd name="T27" fmla="*/ 0 h 130"/>
                  <a:gd name="T28" fmla="*/ 0 w 464"/>
                  <a:gd name="T29" fmla="*/ 0 h 130"/>
                  <a:gd name="T30" fmla="*/ 0 w 464"/>
                  <a:gd name="T31" fmla="*/ 0 h 130"/>
                  <a:gd name="T32" fmla="*/ 0 w 464"/>
                  <a:gd name="T33" fmla="*/ 0 h 130"/>
                  <a:gd name="T34" fmla="*/ 0 w 464"/>
                  <a:gd name="T35" fmla="*/ 0 h 130"/>
                  <a:gd name="T36" fmla="*/ 0 w 464"/>
                  <a:gd name="T37" fmla="*/ 0 h 130"/>
                  <a:gd name="T38" fmla="*/ 0 w 464"/>
                  <a:gd name="T39" fmla="*/ 0 h 130"/>
                  <a:gd name="T40" fmla="*/ 0 w 464"/>
                  <a:gd name="T41" fmla="*/ 0 h 130"/>
                  <a:gd name="T42" fmla="*/ 0 w 464"/>
                  <a:gd name="T43" fmla="*/ 0 h 130"/>
                  <a:gd name="T44" fmla="*/ 0 w 464"/>
                  <a:gd name="T45" fmla="*/ 0 h 130"/>
                  <a:gd name="T46" fmla="*/ 0 w 464"/>
                  <a:gd name="T47" fmla="*/ 0 h 130"/>
                  <a:gd name="T48" fmla="*/ 0 w 464"/>
                  <a:gd name="T49" fmla="*/ 0 h 130"/>
                  <a:gd name="T50" fmla="*/ 0 w 464"/>
                  <a:gd name="T51" fmla="*/ 0 h 130"/>
                  <a:gd name="T52" fmla="*/ 0 w 464"/>
                  <a:gd name="T53" fmla="*/ 0 h 130"/>
                  <a:gd name="T54" fmla="*/ 0 w 464"/>
                  <a:gd name="T55" fmla="*/ 0 h 130"/>
                  <a:gd name="T56" fmla="*/ 0 w 464"/>
                  <a:gd name="T57" fmla="*/ 0 h 130"/>
                  <a:gd name="T58" fmla="*/ 0 w 464"/>
                  <a:gd name="T59" fmla="*/ 0 h 130"/>
                  <a:gd name="T60" fmla="*/ 0 w 464"/>
                  <a:gd name="T61" fmla="*/ 0 h 130"/>
                  <a:gd name="T62" fmla="*/ 0 w 464"/>
                  <a:gd name="T63" fmla="*/ 0 h 130"/>
                  <a:gd name="T64" fmla="*/ 0 w 464"/>
                  <a:gd name="T65" fmla="*/ 0 h 130"/>
                  <a:gd name="T66" fmla="*/ 0 w 464"/>
                  <a:gd name="T67" fmla="*/ 0 h 130"/>
                  <a:gd name="T68" fmla="*/ 0 w 464"/>
                  <a:gd name="T69" fmla="*/ 0 h 130"/>
                  <a:gd name="T70" fmla="*/ 0 w 464"/>
                  <a:gd name="T71" fmla="*/ 0 h 130"/>
                  <a:gd name="T72" fmla="*/ 0 w 464"/>
                  <a:gd name="T73" fmla="*/ 0 h 130"/>
                  <a:gd name="T74" fmla="*/ 0 w 464"/>
                  <a:gd name="T75" fmla="*/ 0 h 130"/>
                  <a:gd name="T76" fmla="*/ 0 w 464"/>
                  <a:gd name="T77" fmla="*/ 0 h 130"/>
                  <a:gd name="T78" fmla="*/ 0 w 464"/>
                  <a:gd name="T79" fmla="*/ 0 h 130"/>
                  <a:gd name="T80" fmla="*/ 0 w 464"/>
                  <a:gd name="T81" fmla="*/ 0 h 130"/>
                  <a:gd name="T82" fmla="*/ 0 w 464"/>
                  <a:gd name="T83" fmla="*/ 0 h 130"/>
                  <a:gd name="T84" fmla="*/ 0 w 464"/>
                  <a:gd name="T85" fmla="*/ 0 h 130"/>
                  <a:gd name="T86" fmla="*/ 0 w 464"/>
                  <a:gd name="T87" fmla="*/ 0 h 130"/>
                  <a:gd name="T88" fmla="*/ 0 w 464"/>
                  <a:gd name="T89" fmla="*/ 0 h 130"/>
                  <a:gd name="T90" fmla="*/ 0 w 464"/>
                  <a:gd name="T91" fmla="*/ 0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4"/>
                  <a:gd name="T139" fmla="*/ 0 h 130"/>
                  <a:gd name="T140" fmla="*/ 464 w 464"/>
                  <a:gd name="T141" fmla="*/ 130 h 1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2" name="Freeform 996"/>
              <p:cNvSpPr>
                <a:spLocks/>
              </p:cNvSpPr>
              <p:nvPr/>
            </p:nvSpPr>
            <p:spPr bwMode="auto">
              <a:xfrm>
                <a:off x="1472" y="1205"/>
                <a:ext cx="152" cy="31"/>
              </a:xfrm>
              <a:custGeom>
                <a:avLst/>
                <a:gdLst>
                  <a:gd name="T0" fmla="*/ 0 w 472"/>
                  <a:gd name="T1" fmla="*/ 0 h 92"/>
                  <a:gd name="T2" fmla="*/ 0 w 472"/>
                  <a:gd name="T3" fmla="*/ 0 h 92"/>
                  <a:gd name="T4" fmla="*/ 0 w 472"/>
                  <a:gd name="T5" fmla="*/ 0 h 92"/>
                  <a:gd name="T6" fmla="*/ 0 w 472"/>
                  <a:gd name="T7" fmla="*/ 0 h 92"/>
                  <a:gd name="T8" fmla="*/ 0 w 472"/>
                  <a:gd name="T9" fmla="*/ 0 h 92"/>
                  <a:gd name="T10" fmla="*/ 0 w 472"/>
                  <a:gd name="T11" fmla="*/ 0 h 92"/>
                  <a:gd name="T12" fmla="*/ 0 w 472"/>
                  <a:gd name="T13" fmla="*/ 0 h 92"/>
                  <a:gd name="T14" fmla="*/ 0 w 472"/>
                  <a:gd name="T15" fmla="*/ 0 h 92"/>
                  <a:gd name="T16" fmla="*/ 0 w 472"/>
                  <a:gd name="T17" fmla="*/ 0 h 92"/>
                  <a:gd name="T18" fmla="*/ 0 w 472"/>
                  <a:gd name="T19" fmla="*/ 0 h 92"/>
                  <a:gd name="T20" fmla="*/ 0 w 472"/>
                  <a:gd name="T21" fmla="*/ 0 h 92"/>
                  <a:gd name="T22" fmla="*/ 0 w 472"/>
                  <a:gd name="T23" fmla="*/ 0 h 92"/>
                  <a:gd name="T24" fmla="*/ 0 w 472"/>
                  <a:gd name="T25" fmla="*/ 0 h 92"/>
                  <a:gd name="T26" fmla="*/ 0 w 472"/>
                  <a:gd name="T27" fmla="*/ 0 h 92"/>
                  <a:gd name="T28" fmla="*/ 0 w 472"/>
                  <a:gd name="T29" fmla="*/ 0 h 92"/>
                  <a:gd name="T30" fmla="*/ 0 w 472"/>
                  <a:gd name="T31" fmla="*/ 0 h 92"/>
                  <a:gd name="T32" fmla="*/ 0 w 472"/>
                  <a:gd name="T33" fmla="*/ 0 h 92"/>
                  <a:gd name="T34" fmla="*/ 0 w 472"/>
                  <a:gd name="T35" fmla="*/ 0 h 92"/>
                  <a:gd name="T36" fmla="*/ 0 w 472"/>
                  <a:gd name="T37" fmla="*/ 0 h 92"/>
                  <a:gd name="T38" fmla="*/ 0 w 472"/>
                  <a:gd name="T39" fmla="*/ 0 h 92"/>
                  <a:gd name="T40" fmla="*/ 0 w 472"/>
                  <a:gd name="T41" fmla="*/ 0 h 92"/>
                  <a:gd name="T42" fmla="*/ 0 w 472"/>
                  <a:gd name="T43" fmla="*/ 0 h 92"/>
                  <a:gd name="T44" fmla="*/ 0 w 472"/>
                  <a:gd name="T45" fmla="*/ 0 h 92"/>
                  <a:gd name="T46" fmla="*/ 0 w 472"/>
                  <a:gd name="T47" fmla="*/ 0 h 92"/>
                  <a:gd name="T48" fmla="*/ 0 w 472"/>
                  <a:gd name="T49" fmla="*/ 0 h 92"/>
                  <a:gd name="T50" fmla="*/ 0 w 472"/>
                  <a:gd name="T51" fmla="*/ 0 h 92"/>
                  <a:gd name="T52" fmla="*/ 0 w 472"/>
                  <a:gd name="T53" fmla="*/ 0 h 92"/>
                  <a:gd name="T54" fmla="*/ 0 w 472"/>
                  <a:gd name="T55" fmla="*/ 0 h 92"/>
                  <a:gd name="T56" fmla="*/ 0 w 472"/>
                  <a:gd name="T57" fmla="*/ 0 h 92"/>
                  <a:gd name="T58" fmla="*/ 0 w 472"/>
                  <a:gd name="T59" fmla="*/ 0 h 92"/>
                  <a:gd name="T60" fmla="*/ 0 w 472"/>
                  <a:gd name="T61" fmla="*/ 0 h 92"/>
                  <a:gd name="T62" fmla="*/ 0 w 472"/>
                  <a:gd name="T63" fmla="*/ 0 h 92"/>
                  <a:gd name="T64" fmla="*/ 0 w 472"/>
                  <a:gd name="T65" fmla="*/ 0 h 92"/>
                  <a:gd name="T66" fmla="*/ 0 w 472"/>
                  <a:gd name="T67" fmla="*/ 0 h 92"/>
                  <a:gd name="T68" fmla="*/ 0 w 472"/>
                  <a:gd name="T69" fmla="*/ 0 h 92"/>
                  <a:gd name="T70" fmla="*/ 0 w 472"/>
                  <a:gd name="T71" fmla="*/ 0 h 92"/>
                  <a:gd name="T72" fmla="*/ 0 w 472"/>
                  <a:gd name="T73" fmla="*/ 0 h 92"/>
                  <a:gd name="T74" fmla="*/ 0 w 472"/>
                  <a:gd name="T75" fmla="*/ 0 h 92"/>
                  <a:gd name="T76" fmla="*/ 0 w 472"/>
                  <a:gd name="T77" fmla="*/ 0 h 92"/>
                  <a:gd name="T78" fmla="*/ 0 w 472"/>
                  <a:gd name="T79" fmla="*/ 0 h 92"/>
                  <a:gd name="T80" fmla="*/ 0 w 472"/>
                  <a:gd name="T81" fmla="*/ 0 h 92"/>
                  <a:gd name="T82" fmla="*/ 0 w 472"/>
                  <a:gd name="T83" fmla="*/ 0 h 92"/>
                  <a:gd name="T84" fmla="*/ 0 w 472"/>
                  <a:gd name="T85" fmla="*/ 0 h 92"/>
                  <a:gd name="T86" fmla="*/ 0 w 472"/>
                  <a:gd name="T87" fmla="*/ 0 h 92"/>
                  <a:gd name="T88" fmla="*/ 0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72"/>
                  <a:gd name="T136" fmla="*/ 0 h 92"/>
                  <a:gd name="T137" fmla="*/ 472 w 472"/>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3" name="Freeform 997"/>
              <p:cNvSpPr>
                <a:spLocks/>
              </p:cNvSpPr>
              <p:nvPr/>
            </p:nvSpPr>
            <p:spPr bwMode="auto">
              <a:xfrm>
                <a:off x="1513" y="1136"/>
                <a:ext cx="106" cy="53"/>
              </a:xfrm>
              <a:custGeom>
                <a:avLst/>
                <a:gdLst>
                  <a:gd name="T0" fmla="*/ 0 w 326"/>
                  <a:gd name="T1" fmla="*/ 0 h 135"/>
                  <a:gd name="T2" fmla="*/ 0 w 326"/>
                  <a:gd name="T3" fmla="*/ 0 h 135"/>
                  <a:gd name="T4" fmla="*/ 0 w 326"/>
                  <a:gd name="T5" fmla="*/ 0 h 135"/>
                  <a:gd name="T6" fmla="*/ 0 w 326"/>
                  <a:gd name="T7" fmla="*/ 0 h 135"/>
                  <a:gd name="T8" fmla="*/ 0 w 326"/>
                  <a:gd name="T9" fmla="*/ 0 h 135"/>
                  <a:gd name="T10" fmla="*/ 0 w 326"/>
                  <a:gd name="T11" fmla="*/ 0 h 135"/>
                  <a:gd name="T12" fmla="*/ 0 w 326"/>
                  <a:gd name="T13" fmla="*/ 0 h 135"/>
                  <a:gd name="T14" fmla="*/ 0 w 326"/>
                  <a:gd name="T15" fmla="*/ 0 h 135"/>
                  <a:gd name="T16" fmla="*/ 0 w 326"/>
                  <a:gd name="T17" fmla="*/ 0 h 135"/>
                  <a:gd name="T18" fmla="*/ 0 w 326"/>
                  <a:gd name="T19" fmla="*/ 0 h 135"/>
                  <a:gd name="T20" fmla="*/ 0 w 326"/>
                  <a:gd name="T21" fmla="*/ 0 h 135"/>
                  <a:gd name="T22" fmla="*/ 0 w 326"/>
                  <a:gd name="T23" fmla="*/ 0 h 135"/>
                  <a:gd name="T24" fmla="*/ 0 w 326"/>
                  <a:gd name="T25" fmla="*/ 0 h 135"/>
                  <a:gd name="T26" fmla="*/ 0 w 326"/>
                  <a:gd name="T27" fmla="*/ 0 h 135"/>
                  <a:gd name="T28" fmla="*/ 0 w 326"/>
                  <a:gd name="T29" fmla="*/ 0 h 135"/>
                  <a:gd name="T30" fmla="*/ 0 w 326"/>
                  <a:gd name="T31" fmla="*/ 0 h 135"/>
                  <a:gd name="T32" fmla="*/ 0 w 326"/>
                  <a:gd name="T33" fmla="*/ 0 h 135"/>
                  <a:gd name="T34" fmla="*/ 0 w 326"/>
                  <a:gd name="T35" fmla="*/ 0 h 135"/>
                  <a:gd name="T36" fmla="*/ 0 w 326"/>
                  <a:gd name="T37" fmla="*/ 0 h 135"/>
                  <a:gd name="T38" fmla="*/ 0 w 326"/>
                  <a:gd name="T39" fmla="*/ 0 h 135"/>
                  <a:gd name="T40" fmla="*/ 0 w 326"/>
                  <a:gd name="T41" fmla="*/ 0 h 135"/>
                  <a:gd name="T42" fmla="*/ 0 w 326"/>
                  <a:gd name="T43" fmla="*/ 0 h 135"/>
                  <a:gd name="T44" fmla="*/ 0 w 326"/>
                  <a:gd name="T45" fmla="*/ 0 h 135"/>
                  <a:gd name="T46" fmla="*/ 0 w 326"/>
                  <a:gd name="T47" fmla="*/ 0 h 135"/>
                  <a:gd name="T48" fmla="*/ 0 w 326"/>
                  <a:gd name="T49" fmla="*/ 0 h 135"/>
                  <a:gd name="T50" fmla="*/ 0 w 326"/>
                  <a:gd name="T51" fmla="*/ 0 h 135"/>
                  <a:gd name="T52" fmla="*/ 0 w 326"/>
                  <a:gd name="T53" fmla="*/ 0 h 135"/>
                  <a:gd name="T54" fmla="*/ 0 w 326"/>
                  <a:gd name="T55" fmla="*/ 0 h 135"/>
                  <a:gd name="T56" fmla="*/ 0 w 326"/>
                  <a:gd name="T57" fmla="*/ 0 h 135"/>
                  <a:gd name="T58" fmla="*/ 0 w 326"/>
                  <a:gd name="T59" fmla="*/ 0 h 135"/>
                  <a:gd name="T60" fmla="*/ 0 w 326"/>
                  <a:gd name="T61" fmla="*/ 0 h 135"/>
                  <a:gd name="T62" fmla="*/ 0 w 326"/>
                  <a:gd name="T63" fmla="*/ 0 h 135"/>
                  <a:gd name="T64" fmla="*/ 0 w 326"/>
                  <a:gd name="T65" fmla="*/ 0 h 135"/>
                  <a:gd name="T66" fmla="*/ 0 w 326"/>
                  <a:gd name="T67" fmla="*/ 0 h 135"/>
                  <a:gd name="T68" fmla="*/ 0 w 326"/>
                  <a:gd name="T69" fmla="*/ 0 h 135"/>
                  <a:gd name="T70" fmla="*/ 0 w 326"/>
                  <a:gd name="T71" fmla="*/ 0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6"/>
                  <a:gd name="T109" fmla="*/ 0 h 135"/>
                  <a:gd name="T110" fmla="*/ 326 w 326"/>
                  <a:gd name="T111" fmla="*/ 135 h 1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4" name="Freeform 998"/>
              <p:cNvSpPr>
                <a:spLocks/>
              </p:cNvSpPr>
              <p:nvPr/>
            </p:nvSpPr>
            <p:spPr bwMode="auto">
              <a:xfrm>
                <a:off x="1584" y="1245"/>
                <a:ext cx="51" cy="18"/>
              </a:xfrm>
              <a:custGeom>
                <a:avLst/>
                <a:gdLst>
                  <a:gd name="T0" fmla="*/ 0 w 159"/>
                  <a:gd name="T1" fmla="*/ 0 h 56"/>
                  <a:gd name="T2" fmla="*/ 0 w 159"/>
                  <a:gd name="T3" fmla="*/ 0 h 56"/>
                  <a:gd name="T4" fmla="*/ 0 w 159"/>
                  <a:gd name="T5" fmla="*/ 0 h 56"/>
                  <a:gd name="T6" fmla="*/ 0 w 159"/>
                  <a:gd name="T7" fmla="*/ 0 h 56"/>
                  <a:gd name="T8" fmla="*/ 0 w 159"/>
                  <a:gd name="T9" fmla="*/ 0 h 56"/>
                  <a:gd name="T10" fmla="*/ 0 w 159"/>
                  <a:gd name="T11" fmla="*/ 0 h 56"/>
                  <a:gd name="T12" fmla="*/ 0 w 159"/>
                  <a:gd name="T13" fmla="*/ 0 h 56"/>
                  <a:gd name="T14" fmla="*/ 0 w 159"/>
                  <a:gd name="T15" fmla="*/ 0 h 56"/>
                  <a:gd name="T16" fmla="*/ 0 w 159"/>
                  <a:gd name="T17" fmla="*/ 0 h 56"/>
                  <a:gd name="T18" fmla="*/ 0 w 159"/>
                  <a:gd name="T19" fmla="*/ 0 h 56"/>
                  <a:gd name="T20" fmla="*/ 0 w 159"/>
                  <a:gd name="T21" fmla="*/ 0 h 56"/>
                  <a:gd name="T22" fmla="*/ 0 w 159"/>
                  <a:gd name="T23" fmla="*/ 0 h 56"/>
                  <a:gd name="T24" fmla="*/ 0 w 159"/>
                  <a:gd name="T25" fmla="*/ 0 h 56"/>
                  <a:gd name="T26" fmla="*/ 0 w 159"/>
                  <a:gd name="T27" fmla="*/ 0 h 56"/>
                  <a:gd name="T28" fmla="*/ 0 w 159"/>
                  <a:gd name="T29" fmla="*/ 0 h 56"/>
                  <a:gd name="T30" fmla="*/ 0 w 159"/>
                  <a:gd name="T31" fmla="*/ 0 h 56"/>
                  <a:gd name="T32" fmla="*/ 0 w 159"/>
                  <a:gd name="T33" fmla="*/ 0 h 56"/>
                  <a:gd name="T34" fmla="*/ 0 w 159"/>
                  <a:gd name="T35" fmla="*/ 0 h 56"/>
                  <a:gd name="T36" fmla="*/ 0 w 159"/>
                  <a:gd name="T37" fmla="*/ 0 h 56"/>
                  <a:gd name="T38" fmla="*/ 0 w 159"/>
                  <a:gd name="T39" fmla="*/ 0 h 56"/>
                  <a:gd name="T40" fmla="*/ 0 w 159"/>
                  <a:gd name="T41" fmla="*/ 0 h 56"/>
                  <a:gd name="T42" fmla="*/ 0 w 159"/>
                  <a:gd name="T43" fmla="*/ 0 h 56"/>
                  <a:gd name="T44" fmla="*/ 0 w 159"/>
                  <a:gd name="T45" fmla="*/ 0 h 56"/>
                  <a:gd name="T46" fmla="*/ 0 w 159"/>
                  <a:gd name="T47" fmla="*/ 0 h 56"/>
                  <a:gd name="T48" fmla="*/ 0 w 159"/>
                  <a:gd name="T49" fmla="*/ 0 h 56"/>
                  <a:gd name="T50" fmla="*/ 0 w 159"/>
                  <a:gd name="T51" fmla="*/ 0 h 56"/>
                  <a:gd name="T52" fmla="*/ 0 w 159"/>
                  <a:gd name="T53" fmla="*/ 0 h 56"/>
                  <a:gd name="T54" fmla="*/ 0 w 159"/>
                  <a:gd name="T55" fmla="*/ 0 h 56"/>
                  <a:gd name="T56" fmla="*/ 0 w 159"/>
                  <a:gd name="T57" fmla="*/ 0 h 56"/>
                  <a:gd name="T58" fmla="*/ 0 w 159"/>
                  <a:gd name="T59" fmla="*/ 0 h 56"/>
                  <a:gd name="T60" fmla="*/ 0 w 159"/>
                  <a:gd name="T61" fmla="*/ 0 h 56"/>
                  <a:gd name="T62" fmla="*/ 0 w 159"/>
                  <a:gd name="T63" fmla="*/ 0 h 56"/>
                  <a:gd name="T64" fmla="*/ 0 w 159"/>
                  <a:gd name="T65" fmla="*/ 0 h 56"/>
                  <a:gd name="T66" fmla="*/ 0 w 159"/>
                  <a:gd name="T67" fmla="*/ 0 h 56"/>
                  <a:gd name="T68" fmla="*/ 0 w 159"/>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9"/>
                  <a:gd name="T106" fmla="*/ 0 h 56"/>
                  <a:gd name="T107" fmla="*/ 159 w 159"/>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5" name="Freeform 999"/>
              <p:cNvSpPr>
                <a:spLocks/>
              </p:cNvSpPr>
              <p:nvPr/>
            </p:nvSpPr>
            <p:spPr bwMode="auto">
              <a:xfrm>
                <a:off x="534" y="1280"/>
                <a:ext cx="1205" cy="539"/>
              </a:xfrm>
              <a:custGeom>
                <a:avLst/>
                <a:gdLst>
                  <a:gd name="T0" fmla="*/ 0 w 3734"/>
                  <a:gd name="T1" fmla="*/ 0 h 1644"/>
                  <a:gd name="T2" fmla="*/ 0 w 3734"/>
                  <a:gd name="T3" fmla="*/ 0 h 1644"/>
                  <a:gd name="T4" fmla="*/ 0 w 3734"/>
                  <a:gd name="T5" fmla="*/ 0 h 1644"/>
                  <a:gd name="T6" fmla="*/ 0 w 3734"/>
                  <a:gd name="T7" fmla="*/ 0 h 1644"/>
                  <a:gd name="T8" fmla="*/ 0 w 3734"/>
                  <a:gd name="T9" fmla="*/ 0 h 1644"/>
                  <a:gd name="T10" fmla="*/ 0 w 3734"/>
                  <a:gd name="T11" fmla="*/ 0 h 1644"/>
                  <a:gd name="T12" fmla="*/ 0 w 3734"/>
                  <a:gd name="T13" fmla="*/ 0 h 1644"/>
                  <a:gd name="T14" fmla="*/ 0 w 3734"/>
                  <a:gd name="T15" fmla="*/ 0 h 1644"/>
                  <a:gd name="T16" fmla="*/ 0 w 3734"/>
                  <a:gd name="T17" fmla="*/ 0 h 1644"/>
                  <a:gd name="T18" fmla="*/ 0 w 3734"/>
                  <a:gd name="T19" fmla="*/ 0 h 1644"/>
                  <a:gd name="T20" fmla="*/ 0 w 3734"/>
                  <a:gd name="T21" fmla="*/ 0 h 1644"/>
                  <a:gd name="T22" fmla="*/ 0 w 3734"/>
                  <a:gd name="T23" fmla="*/ 0 h 1644"/>
                  <a:gd name="T24" fmla="*/ 0 w 3734"/>
                  <a:gd name="T25" fmla="*/ 0 h 1644"/>
                  <a:gd name="T26" fmla="*/ 0 w 3734"/>
                  <a:gd name="T27" fmla="*/ 0 h 1644"/>
                  <a:gd name="T28" fmla="*/ 0 w 3734"/>
                  <a:gd name="T29" fmla="*/ 0 h 1644"/>
                  <a:gd name="T30" fmla="*/ 0 w 3734"/>
                  <a:gd name="T31" fmla="*/ 0 h 1644"/>
                  <a:gd name="T32" fmla="*/ 0 w 3734"/>
                  <a:gd name="T33" fmla="*/ 0 h 1644"/>
                  <a:gd name="T34" fmla="*/ 0 w 3734"/>
                  <a:gd name="T35" fmla="*/ 0 h 1644"/>
                  <a:gd name="T36" fmla="*/ 0 w 3734"/>
                  <a:gd name="T37" fmla="*/ 0 h 1644"/>
                  <a:gd name="T38" fmla="*/ 0 w 3734"/>
                  <a:gd name="T39" fmla="*/ 0 h 1644"/>
                  <a:gd name="T40" fmla="*/ 0 w 3734"/>
                  <a:gd name="T41" fmla="*/ 0 h 1644"/>
                  <a:gd name="T42" fmla="*/ 0 w 3734"/>
                  <a:gd name="T43" fmla="*/ 0 h 1644"/>
                  <a:gd name="T44" fmla="*/ 0 w 3734"/>
                  <a:gd name="T45" fmla="*/ 0 h 1644"/>
                  <a:gd name="T46" fmla="*/ 0 w 3734"/>
                  <a:gd name="T47" fmla="*/ 0 h 1644"/>
                  <a:gd name="T48" fmla="*/ 0 w 3734"/>
                  <a:gd name="T49" fmla="*/ 0 h 1644"/>
                  <a:gd name="T50" fmla="*/ 0 w 3734"/>
                  <a:gd name="T51" fmla="*/ 0 h 1644"/>
                  <a:gd name="T52" fmla="*/ 0 w 3734"/>
                  <a:gd name="T53" fmla="*/ 0 h 1644"/>
                  <a:gd name="T54" fmla="*/ 0 w 3734"/>
                  <a:gd name="T55" fmla="*/ 0 h 1644"/>
                  <a:gd name="T56" fmla="*/ 0 w 3734"/>
                  <a:gd name="T57" fmla="*/ 0 h 1644"/>
                  <a:gd name="T58" fmla="*/ 0 w 3734"/>
                  <a:gd name="T59" fmla="*/ 0 h 1644"/>
                  <a:gd name="T60" fmla="*/ 0 w 3734"/>
                  <a:gd name="T61" fmla="*/ 0 h 1644"/>
                  <a:gd name="T62" fmla="*/ 0 w 3734"/>
                  <a:gd name="T63" fmla="*/ 0 h 1644"/>
                  <a:gd name="T64" fmla="*/ 0 w 3734"/>
                  <a:gd name="T65" fmla="*/ 0 h 1644"/>
                  <a:gd name="T66" fmla="*/ 0 w 3734"/>
                  <a:gd name="T67" fmla="*/ 0 h 1644"/>
                  <a:gd name="T68" fmla="*/ 0 w 3734"/>
                  <a:gd name="T69" fmla="*/ 0 h 1644"/>
                  <a:gd name="T70" fmla="*/ 0 w 3734"/>
                  <a:gd name="T71" fmla="*/ 0 h 1644"/>
                  <a:gd name="T72" fmla="*/ 0 w 3734"/>
                  <a:gd name="T73" fmla="*/ 0 h 1644"/>
                  <a:gd name="T74" fmla="*/ 0 w 3734"/>
                  <a:gd name="T75" fmla="*/ 0 h 1644"/>
                  <a:gd name="T76" fmla="*/ 0 w 3734"/>
                  <a:gd name="T77" fmla="*/ 0 h 1644"/>
                  <a:gd name="T78" fmla="*/ 0 w 3734"/>
                  <a:gd name="T79" fmla="*/ 0 h 1644"/>
                  <a:gd name="T80" fmla="*/ 0 w 3734"/>
                  <a:gd name="T81" fmla="*/ 0 h 1644"/>
                  <a:gd name="T82" fmla="*/ 0 w 3734"/>
                  <a:gd name="T83" fmla="*/ 0 h 1644"/>
                  <a:gd name="T84" fmla="*/ 0 w 3734"/>
                  <a:gd name="T85" fmla="*/ 0 h 1644"/>
                  <a:gd name="T86" fmla="*/ 0 w 3734"/>
                  <a:gd name="T87" fmla="*/ 0 h 1644"/>
                  <a:gd name="T88" fmla="*/ 0 w 3734"/>
                  <a:gd name="T89" fmla="*/ 0 h 1644"/>
                  <a:gd name="T90" fmla="*/ 0 w 3734"/>
                  <a:gd name="T91" fmla="*/ 0 h 1644"/>
                  <a:gd name="T92" fmla="*/ 0 w 3734"/>
                  <a:gd name="T93" fmla="*/ 0 h 1644"/>
                  <a:gd name="T94" fmla="*/ 0 w 3734"/>
                  <a:gd name="T95" fmla="*/ 0 h 1644"/>
                  <a:gd name="T96" fmla="*/ 0 w 3734"/>
                  <a:gd name="T97" fmla="*/ 0 h 1644"/>
                  <a:gd name="T98" fmla="*/ 0 w 3734"/>
                  <a:gd name="T99" fmla="*/ 0 h 1644"/>
                  <a:gd name="T100" fmla="*/ 0 w 3734"/>
                  <a:gd name="T101" fmla="*/ 0 h 1644"/>
                  <a:gd name="T102" fmla="*/ 0 w 3734"/>
                  <a:gd name="T103" fmla="*/ 0 h 1644"/>
                  <a:gd name="T104" fmla="*/ 0 w 3734"/>
                  <a:gd name="T105" fmla="*/ 0 h 1644"/>
                  <a:gd name="T106" fmla="*/ 0 w 3734"/>
                  <a:gd name="T107" fmla="*/ 0 h 1644"/>
                  <a:gd name="T108" fmla="*/ 0 w 3734"/>
                  <a:gd name="T109" fmla="*/ 0 h 1644"/>
                  <a:gd name="T110" fmla="*/ 0 w 3734"/>
                  <a:gd name="T111" fmla="*/ 0 h 1644"/>
                  <a:gd name="T112" fmla="*/ 0 w 3734"/>
                  <a:gd name="T113" fmla="*/ 0 h 1644"/>
                  <a:gd name="T114" fmla="*/ 0 w 3734"/>
                  <a:gd name="T115" fmla="*/ 0 h 1644"/>
                  <a:gd name="T116" fmla="*/ 0 w 3734"/>
                  <a:gd name="T117" fmla="*/ 0 h 1644"/>
                  <a:gd name="T118" fmla="*/ 0 w 3734"/>
                  <a:gd name="T119" fmla="*/ 0 h 1644"/>
                  <a:gd name="T120" fmla="*/ 0 w 3734"/>
                  <a:gd name="T121" fmla="*/ 0 h 1644"/>
                  <a:gd name="T122" fmla="*/ 0 w 3734"/>
                  <a:gd name="T123" fmla="*/ 0 h 1644"/>
                  <a:gd name="T124" fmla="*/ 0 w 3734"/>
                  <a:gd name="T125" fmla="*/ 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734"/>
                  <a:gd name="T190" fmla="*/ 0 h 1644"/>
                  <a:gd name="T191" fmla="*/ 3734 w 3734"/>
                  <a:gd name="T192" fmla="*/ 1644 h 16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7" name="Freeform 1000"/>
            <p:cNvSpPr>
              <a:spLocks/>
            </p:cNvSpPr>
            <p:nvPr>
              <p:custDataLst>
                <p:tags r:id="rId275"/>
              </p:custDataLst>
            </p:nvPr>
          </p:nvSpPr>
          <p:spPr bwMode="auto">
            <a:xfrm>
              <a:off x="3247" y="2231"/>
              <a:ext cx="86" cy="100"/>
            </a:xfrm>
            <a:custGeom>
              <a:avLst/>
              <a:gdLst>
                <a:gd name="T0" fmla="*/ 0 w 292"/>
                <a:gd name="T1" fmla="*/ 0 h 308"/>
                <a:gd name="T2" fmla="*/ 0 w 292"/>
                <a:gd name="T3" fmla="*/ 0 h 308"/>
                <a:gd name="T4" fmla="*/ 0 w 292"/>
                <a:gd name="T5" fmla="*/ 0 h 308"/>
                <a:gd name="T6" fmla="*/ 0 w 292"/>
                <a:gd name="T7" fmla="*/ 0 h 308"/>
                <a:gd name="T8" fmla="*/ 0 w 292"/>
                <a:gd name="T9" fmla="*/ 0 h 308"/>
                <a:gd name="T10" fmla="*/ 0 w 292"/>
                <a:gd name="T11" fmla="*/ 0 h 308"/>
                <a:gd name="T12" fmla="*/ 0 w 292"/>
                <a:gd name="T13" fmla="*/ 0 h 308"/>
                <a:gd name="T14" fmla="*/ 0 w 292"/>
                <a:gd name="T15" fmla="*/ 0 h 308"/>
                <a:gd name="T16" fmla="*/ 0 w 292"/>
                <a:gd name="T17" fmla="*/ 0 h 308"/>
                <a:gd name="T18" fmla="*/ 0 w 292"/>
                <a:gd name="T19" fmla="*/ 0 h 308"/>
                <a:gd name="T20" fmla="*/ 0 w 292"/>
                <a:gd name="T21" fmla="*/ 0 h 308"/>
                <a:gd name="T22" fmla="*/ 0 w 292"/>
                <a:gd name="T23" fmla="*/ 0 h 308"/>
                <a:gd name="T24" fmla="*/ 0 w 292"/>
                <a:gd name="T25" fmla="*/ 0 h 308"/>
                <a:gd name="T26" fmla="*/ 0 w 292"/>
                <a:gd name="T27" fmla="*/ 0 h 308"/>
                <a:gd name="T28" fmla="*/ 0 w 292"/>
                <a:gd name="T29" fmla="*/ 0 h 308"/>
                <a:gd name="T30" fmla="*/ 0 w 292"/>
                <a:gd name="T31" fmla="*/ 0 h 308"/>
                <a:gd name="T32" fmla="*/ 0 w 292"/>
                <a:gd name="T33" fmla="*/ 0 h 308"/>
                <a:gd name="T34" fmla="*/ 0 w 292"/>
                <a:gd name="T35" fmla="*/ 0 h 308"/>
                <a:gd name="T36" fmla="*/ 0 w 292"/>
                <a:gd name="T37" fmla="*/ 0 h 308"/>
                <a:gd name="T38" fmla="*/ 0 w 292"/>
                <a:gd name="T39" fmla="*/ 0 h 308"/>
                <a:gd name="T40" fmla="*/ 0 w 292"/>
                <a:gd name="T41" fmla="*/ 0 h 308"/>
                <a:gd name="T42" fmla="*/ 0 w 292"/>
                <a:gd name="T43" fmla="*/ 0 h 308"/>
                <a:gd name="T44" fmla="*/ 0 w 292"/>
                <a:gd name="T45" fmla="*/ 0 h 308"/>
                <a:gd name="T46" fmla="*/ 0 w 292"/>
                <a:gd name="T47" fmla="*/ 0 h 308"/>
                <a:gd name="T48" fmla="*/ 0 w 292"/>
                <a:gd name="T49" fmla="*/ 0 h 308"/>
                <a:gd name="T50" fmla="*/ 0 w 292"/>
                <a:gd name="T51" fmla="*/ 0 h 308"/>
                <a:gd name="T52" fmla="*/ 0 w 292"/>
                <a:gd name="T53" fmla="*/ 0 h 308"/>
                <a:gd name="T54" fmla="*/ 0 w 292"/>
                <a:gd name="T55" fmla="*/ 0 h 308"/>
                <a:gd name="T56" fmla="*/ 0 w 292"/>
                <a:gd name="T57" fmla="*/ 0 h 308"/>
                <a:gd name="T58" fmla="*/ 0 w 292"/>
                <a:gd name="T59" fmla="*/ 0 h 308"/>
                <a:gd name="T60" fmla="*/ 0 w 292"/>
                <a:gd name="T61" fmla="*/ 0 h 308"/>
                <a:gd name="T62" fmla="*/ 0 w 292"/>
                <a:gd name="T63" fmla="*/ 0 h 308"/>
                <a:gd name="T64" fmla="*/ 0 w 292"/>
                <a:gd name="T65" fmla="*/ 0 h 308"/>
                <a:gd name="T66" fmla="*/ 0 w 292"/>
                <a:gd name="T67" fmla="*/ 0 h 308"/>
                <a:gd name="T68" fmla="*/ 0 w 292"/>
                <a:gd name="T69" fmla="*/ 0 h 308"/>
                <a:gd name="T70" fmla="*/ 0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8" name="Freeform 1001"/>
            <p:cNvSpPr>
              <a:spLocks/>
            </p:cNvSpPr>
            <p:nvPr>
              <p:custDataLst>
                <p:tags r:id="rId276"/>
              </p:custDataLst>
            </p:nvPr>
          </p:nvSpPr>
          <p:spPr bwMode="auto">
            <a:xfrm>
              <a:off x="3319" y="2326"/>
              <a:ext cx="5" cy="36"/>
            </a:xfrm>
            <a:custGeom>
              <a:avLst/>
              <a:gdLst>
                <a:gd name="T0" fmla="*/ 0 w 14"/>
                <a:gd name="T1" fmla="*/ 0 h 7"/>
                <a:gd name="T2" fmla="*/ 0 w 14"/>
                <a:gd name="T3" fmla="*/ 2147483647 h 7"/>
                <a:gd name="T4" fmla="*/ 0 w 14"/>
                <a:gd name="T5" fmla="*/ 2147483647 h 7"/>
                <a:gd name="T6" fmla="*/ 0 w 14"/>
                <a:gd name="T7" fmla="*/ 2147483647 h 7"/>
                <a:gd name="T8" fmla="*/ 0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9" name="Freeform 1002"/>
            <p:cNvSpPr>
              <a:spLocks/>
            </p:cNvSpPr>
            <p:nvPr>
              <p:custDataLst>
                <p:tags r:id="rId277"/>
              </p:custDataLst>
            </p:nvPr>
          </p:nvSpPr>
          <p:spPr bwMode="auto">
            <a:xfrm>
              <a:off x="2972" y="1845"/>
              <a:ext cx="170" cy="315"/>
            </a:xfrm>
            <a:custGeom>
              <a:avLst/>
              <a:gdLst>
                <a:gd name="T0" fmla="*/ 0 w 581"/>
                <a:gd name="T1" fmla="*/ 0 h 955"/>
                <a:gd name="T2" fmla="*/ 0 w 581"/>
                <a:gd name="T3" fmla="*/ 0 h 955"/>
                <a:gd name="T4" fmla="*/ 0 w 581"/>
                <a:gd name="T5" fmla="*/ 0 h 955"/>
                <a:gd name="T6" fmla="*/ 0 w 581"/>
                <a:gd name="T7" fmla="*/ 0 h 955"/>
                <a:gd name="T8" fmla="*/ 0 w 581"/>
                <a:gd name="T9" fmla="*/ 0 h 955"/>
                <a:gd name="T10" fmla="*/ 0 w 581"/>
                <a:gd name="T11" fmla="*/ 0 h 955"/>
                <a:gd name="T12" fmla="*/ 0 w 581"/>
                <a:gd name="T13" fmla="*/ 0 h 955"/>
                <a:gd name="T14" fmla="*/ 0 w 581"/>
                <a:gd name="T15" fmla="*/ 0 h 955"/>
                <a:gd name="T16" fmla="*/ 0 w 581"/>
                <a:gd name="T17" fmla="*/ 0 h 955"/>
                <a:gd name="T18" fmla="*/ 0 w 581"/>
                <a:gd name="T19" fmla="*/ 0 h 955"/>
                <a:gd name="T20" fmla="*/ 0 w 581"/>
                <a:gd name="T21" fmla="*/ 0 h 955"/>
                <a:gd name="T22" fmla="*/ 0 w 581"/>
                <a:gd name="T23" fmla="*/ 0 h 955"/>
                <a:gd name="T24" fmla="*/ 0 w 581"/>
                <a:gd name="T25" fmla="*/ 0 h 955"/>
                <a:gd name="T26" fmla="*/ 0 w 581"/>
                <a:gd name="T27" fmla="*/ 0 h 955"/>
                <a:gd name="T28" fmla="*/ 0 w 581"/>
                <a:gd name="T29" fmla="*/ 0 h 955"/>
                <a:gd name="T30" fmla="*/ 0 w 581"/>
                <a:gd name="T31" fmla="*/ 0 h 955"/>
                <a:gd name="T32" fmla="*/ 0 w 581"/>
                <a:gd name="T33" fmla="*/ 0 h 955"/>
                <a:gd name="T34" fmla="*/ 0 w 581"/>
                <a:gd name="T35" fmla="*/ 0 h 955"/>
                <a:gd name="T36" fmla="*/ 0 w 581"/>
                <a:gd name="T37" fmla="*/ 0 h 955"/>
                <a:gd name="T38" fmla="*/ 0 w 581"/>
                <a:gd name="T39" fmla="*/ 0 h 955"/>
                <a:gd name="T40" fmla="*/ 0 w 581"/>
                <a:gd name="T41" fmla="*/ 0 h 955"/>
                <a:gd name="T42" fmla="*/ 0 w 581"/>
                <a:gd name="T43" fmla="*/ 0 h 955"/>
                <a:gd name="T44" fmla="*/ 0 w 581"/>
                <a:gd name="T45" fmla="*/ 0 h 955"/>
                <a:gd name="T46" fmla="*/ 0 w 581"/>
                <a:gd name="T47" fmla="*/ 0 h 955"/>
                <a:gd name="T48" fmla="*/ 0 w 581"/>
                <a:gd name="T49" fmla="*/ 0 h 955"/>
                <a:gd name="T50" fmla="*/ 0 w 581"/>
                <a:gd name="T51" fmla="*/ 0 h 955"/>
                <a:gd name="T52" fmla="*/ 0 w 581"/>
                <a:gd name="T53" fmla="*/ 0 h 955"/>
                <a:gd name="T54" fmla="*/ 0 w 581"/>
                <a:gd name="T55" fmla="*/ 0 h 955"/>
                <a:gd name="T56" fmla="*/ 0 w 581"/>
                <a:gd name="T57" fmla="*/ 0 h 955"/>
                <a:gd name="T58" fmla="*/ 0 w 581"/>
                <a:gd name="T59" fmla="*/ 0 h 955"/>
                <a:gd name="T60" fmla="*/ 0 w 581"/>
                <a:gd name="T61" fmla="*/ 0 h 955"/>
                <a:gd name="T62" fmla="*/ 0 w 581"/>
                <a:gd name="T63" fmla="*/ 0 h 955"/>
                <a:gd name="T64" fmla="*/ 0 w 581"/>
                <a:gd name="T65" fmla="*/ 0 h 955"/>
                <a:gd name="T66" fmla="*/ 0 w 581"/>
                <a:gd name="T67" fmla="*/ 0 h 955"/>
                <a:gd name="T68" fmla="*/ 0 w 581"/>
                <a:gd name="T69" fmla="*/ 0 h 955"/>
                <a:gd name="T70" fmla="*/ 0 w 581"/>
                <a:gd name="T71" fmla="*/ 0 h 955"/>
                <a:gd name="T72" fmla="*/ 0 w 581"/>
                <a:gd name="T73" fmla="*/ 0 h 955"/>
                <a:gd name="T74" fmla="*/ 0 w 581"/>
                <a:gd name="T75" fmla="*/ 0 h 955"/>
                <a:gd name="T76" fmla="*/ 0 w 581"/>
                <a:gd name="T77" fmla="*/ 0 h 955"/>
                <a:gd name="T78" fmla="*/ 0 w 581"/>
                <a:gd name="T79" fmla="*/ 0 h 955"/>
                <a:gd name="T80" fmla="*/ 0 w 581"/>
                <a:gd name="T81" fmla="*/ 0 h 955"/>
                <a:gd name="T82" fmla="*/ 0 w 581"/>
                <a:gd name="T83" fmla="*/ 0 h 955"/>
                <a:gd name="T84" fmla="*/ 0 w 581"/>
                <a:gd name="T85" fmla="*/ 0 h 955"/>
                <a:gd name="T86" fmla="*/ 0 w 581"/>
                <a:gd name="T87" fmla="*/ 0 h 955"/>
                <a:gd name="T88" fmla="*/ 0 w 581"/>
                <a:gd name="T89" fmla="*/ 0 h 955"/>
                <a:gd name="T90" fmla="*/ 0 w 581"/>
                <a:gd name="T91" fmla="*/ 0 h 955"/>
                <a:gd name="T92" fmla="*/ 0 w 581"/>
                <a:gd name="T93" fmla="*/ 0 h 955"/>
                <a:gd name="T94" fmla="*/ 0 w 581"/>
                <a:gd name="T95" fmla="*/ 0 h 955"/>
                <a:gd name="T96" fmla="*/ 0 w 581"/>
                <a:gd name="T97" fmla="*/ 0 h 955"/>
                <a:gd name="T98" fmla="*/ 0 w 581"/>
                <a:gd name="T99" fmla="*/ 0 h 955"/>
                <a:gd name="T100" fmla="*/ 0 w 581"/>
                <a:gd name="T101" fmla="*/ 0 h 955"/>
                <a:gd name="T102" fmla="*/ 0 w 581"/>
                <a:gd name="T103" fmla="*/ 0 h 955"/>
                <a:gd name="T104" fmla="*/ 0 w 581"/>
                <a:gd name="T105" fmla="*/ 0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0" name="Freeform 1003"/>
            <p:cNvSpPr>
              <a:spLocks/>
            </p:cNvSpPr>
            <p:nvPr>
              <p:custDataLst>
                <p:tags r:id="rId278"/>
              </p:custDataLst>
            </p:nvPr>
          </p:nvSpPr>
          <p:spPr bwMode="auto">
            <a:xfrm>
              <a:off x="2751" y="1456"/>
              <a:ext cx="10" cy="36"/>
            </a:xfrm>
            <a:custGeom>
              <a:avLst/>
              <a:gdLst>
                <a:gd name="T0" fmla="*/ 0 w 45"/>
                <a:gd name="T1" fmla="*/ 0 h 36"/>
                <a:gd name="T2" fmla="*/ 0 w 45"/>
                <a:gd name="T3" fmla="*/ 18 h 36"/>
                <a:gd name="T4" fmla="*/ 0 w 45"/>
                <a:gd name="T5" fmla="*/ 36 h 36"/>
                <a:gd name="T6" fmla="*/ 0 w 45"/>
                <a:gd name="T7" fmla="*/ 15 h 36"/>
                <a:gd name="T8" fmla="*/ 0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6" name="Group 1004"/>
            <p:cNvGrpSpPr>
              <a:grpSpLocks/>
            </p:cNvGrpSpPr>
            <p:nvPr>
              <p:custDataLst>
                <p:tags r:id="rId279"/>
              </p:custDataLst>
            </p:nvPr>
          </p:nvGrpSpPr>
          <p:grpSpPr bwMode="auto">
            <a:xfrm>
              <a:off x="1590" y="2754"/>
              <a:ext cx="263" cy="650"/>
              <a:chOff x="1589" y="3126"/>
              <a:chExt cx="290" cy="657"/>
            </a:xfrm>
            <a:grpFill/>
          </p:grpSpPr>
          <p:sp>
            <p:nvSpPr>
              <p:cNvPr id="18841" name="Freeform 1005"/>
              <p:cNvSpPr>
                <a:spLocks/>
              </p:cNvSpPr>
              <p:nvPr/>
            </p:nvSpPr>
            <p:spPr bwMode="auto">
              <a:xfrm>
                <a:off x="1748" y="3531"/>
                <a:ext cx="15" cy="17"/>
              </a:xfrm>
              <a:custGeom>
                <a:avLst/>
                <a:gdLst>
                  <a:gd name="T0" fmla="*/ 0 w 46"/>
                  <a:gd name="T1" fmla="*/ 0 h 51"/>
                  <a:gd name="T2" fmla="*/ 0 w 46"/>
                  <a:gd name="T3" fmla="*/ 0 h 51"/>
                  <a:gd name="T4" fmla="*/ 0 w 46"/>
                  <a:gd name="T5" fmla="*/ 0 h 51"/>
                  <a:gd name="T6" fmla="*/ 0 w 46"/>
                  <a:gd name="T7" fmla="*/ 0 h 51"/>
                  <a:gd name="T8" fmla="*/ 0 w 46"/>
                  <a:gd name="T9" fmla="*/ 0 h 51"/>
                  <a:gd name="T10" fmla="*/ 0 w 46"/>
                  <a:gd name="T11" fmla="*/ 0 h 51"/>
                  <a:gd name="T12" fmla="*/ 0 w 46"/>
                  <a:gd name="T13" fmla="*/ 0 h 51"/>
                  <a:gd name="T14" fmla="*/ 0 w 46"/>
                  <a:gd name="T15" fmla="*/ 0 h 51"/>
                  <a:gd name="T16" fmla="*/ 0 w 46"/>
                  <a:gd name="T17" fmla="*/ 0 h 51"/>
                  <a:gd name="T18" fmla="*/ 0 w 46"/>
                  <a:gd name="T19" fmla="*/ 0 h 51"/>
                  <a:gd name="T20" fmla="*/ 0 w 46"/>
                  <a:gd name="T21" fmla="*/ 0 h 51"/>
                  <a:gd name="T22" fmla="*/ 0 w 46"/>
                  <a:gd name="T23" fmla="*/ 0 h 51"/>
                  <a:gd name="T24" fmla="*/ 0 w 46"/>
                  <a:gd name="T25" fmla="*/ 0 h 51"/>
                  <a:gd name="T26" fmla="*/ 0 w 46"/>
                  <a:gd name="T27" fmla="*/ 0 h 51"/>
                  <a:gd name="T28" fmla="*/ 0 w 46"/>
                  <a:gd name="T29" fmla="*/ 0 h 51"/>
                  <a:gd name="T30" fmla="*/ 0 w 46"/>
                  <a:gd name="T31" fmla="*/ 0 h 51"/>
                  <a:gd name="T32" fmla="*/ 0 w 46"/>
                  <a:gd name="T33" fmla="*/ 0 h 51"/>
                  <a:gd name="T34" fmla="*/ 0 w 46"/>
                  <a:gd name="T35" fmla="*/ 0 h 51"/>
                  <a:gd name="T36" fmla="*/ 0 w 46"/>
                  <a:gd name="T37" fmla="*/ 0 h 51"/>
                  <a:gd name="T38" fmla="*/ 0 w 46"/>
                  <a:gd name="T39" fmla="*/ 0 h 51"/>
                  <a:gd name="T40" fmla="*/ 0 w 46"/>
                  <a:gd name="T41" fmla="*/ 0 h 51"/>
                  <a:gd name="T42" fmla="*/ 0 w 46"/>
                  <a:gd name="T43" fmla="*/ 0 h 51"/>
                  <a:gd name="T44" fmla="*/ 0 w 46"/>
                  <a:gd name="T45" fmla="*/ 0 h 51"/>
                  <a:gd name="T46" fmla="*/ 0 w 46"/>
                  <a:gd name="T47" fmla="*/ 0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6"/>
                  <a:gd name="T73" fmla="*/ 0 h 51"/>
                  <a:gd name="T74" fmla="*/ 46 w 46"/>
                  <a:gd name="T75" fmla="*/ 51 h 5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2" name="Freeform 1006"/>
              <p:cNvSpPr>
                <a:spLocks/>
              </p:cNvSpPr>
              <p:nvPr/>
            </p:nvSpPr>
            <p:spPr bwMode="auto">
              <a:xfrm>
                <a:off x="1759" y="3730"/>
                <a:ext cx="63" cy="53"/>
              </a:xfrm>
              <a:custGeom>
                <a:avLst/>
                <a:gdLst>
                  <a:gd name="T0" fmla="*/ 0 w 192"/>
                  <a:gd name="T1" fmla="*/ 0 h 158"/>
                  <a:gd name="T2" fmla="*/ 0 w 192"/>
                  <a:gd name="T3" fmla="*/ 0 h 158"/>
                  <a:gd name="T4" fmla="*/ 0 w 192"/>
                  <a:gd name="T5" fmla="*/ 0 h 158"/>
                  <a:gd name="T6" fmla="*/ 0 w 192"/>
                  <a:gd name="T7" fmla="*/ 0 h 158"/>
                  <a:gd name="T8" fmla="*/ 0 w 192"/>
                  <a:gd name="T9" fmla="*/ 0 h 158"/>
                  <a:gd name="T10" fmla="*/ 0 w 192"/>
                  <a:gd name="T11" fmla="*/ 0 h 158"/>
                  <a:gd name="T12" fmla="*/ 0 w 192"/>
                  <a:gd name="T13" fmla="*/ 0 h 158"/>
                  <a:gd name="T14" fmla="*/ 0 w 192"/>
                  <a:gd name="T15" fmla="*/ 0 h 158"/>
                  <a:gd name="T16" fmla="*/ 0 w 192"/>
                  <a:gd name="T17" fmla="*/ 0 h 158"/>
                  <a:gd name="T18" fmla="*/ 0 w 192"/>
                  <a:gd name="T19" fmla="*/ 0 h 158"/>
                  <a:gd name="T20" fmla="*/ 0 w 192"/>
                  <a:gd name="T21" fmla="*/ 0 h 158"/>
                  <a:gd name="T22" fmla="*/ 0 w 192"/>
                  <a:gd name="T23" fmla="*/ 0 h 158"/>
                  <a:gd name="T24" fmla="*/ 0 w 192"/>
                  <a:gd name="T25" fmla="*/ 0 h 158"/>
                  <a:gd name="T26" fmla="*/ 0 w 192"/>
                  <a:gd name="T27" fmla="*/ 0 h 158"/>
                  <a:gd name="T28" fmla="*/ 0 w 192"/>
                  <a:gd name="T29" fmla="*/ 0 h 158"/>
                  <a:gd name="T30" fmla="*/ 0 w 192"/>
                  <a:gd name="T31" fmla="*/ 0 h 158"/>
                  <a:gd name="T32" fmla="*/ 0 w 192"/>
                  <a:gd name="T33" fmla="*/ 0 h 158"/>
                  <a:gd name="T34" fmla="*/ 0 w 192"/>
                  <a:gd name="T35" fmla="*/ 0 h 158"/>
                  <a:gd name="T36" fmla="*/ 0 w 192"/>
                  <a:gd name="T37" fmla="*/ 0 h 158"/>
                  <a:gd name="T38" fmla="*/ 0 w 192"/>
                  <a:gd name="T39" fmla="*/ 0 h 158"/>
                  <a:gd name="T40" fmla="*/ 0 w 192"/>
                  <a:gd name="T41" fmla="*/ 0 h 158"/>
                  <a:gd name="T42" fmla="*/ 0 w 192"/>
                  <a:gd name="T43" fmla="*/ 0 h 158"/>
                  <a:gd name="T44" fmla="*/ 0 w 192"/>
                  <a:gd name="T45" fmla="*/ 0 h 158"/>
                  <a:gd name="T46" fmla="*/ 0 w 192"/>
                  <a:gd name="T47" fmla="*/ 0 h 158"/>
                  <a:gd name="T48" fmla="*/ 0 w 192"/>
                  <a:gd name="T49" fmla="*/ 0 h 158"/>
                  <a:gd name="T50" fmla="*/ 0 w 192"/>
                  <a:gd name="T51" fmla="*/ 0 h 158"/>
                  <a:gd name="T52" fmla="*/ 0 w 192"/>
                  <a:gd name="T53" fmla="*/ 0 h 158"/>
                  <a:gd name="T54" fmla="*/ 0 w 192"/>
                  <a:gd name="T55" fmla="*/ 0 h 158"/>
                  <a:gd name="T56" fmla="*/ 0 w 192"/>
                  <a:gd name="T57" fmla="*/ 0 h 158"/>
                  <a:gd name="T58" fmla="*/ 0 w 192"/>
                  <a:gd name="T59" fmla="*/ 0 h 158"/>
                  <a:gd name="T60" fmla="*/ 0 w 192"/>
                  <a:gd name="T61" fmla="*/ 0 h 158"/>
                  <a:gd name="T62" fmla="*/ 0 w 192"/>
                  <a:gd name="T63" fmla="*/ 0 h 158"/>
                  <a:gd name="T64" fmla="*/ 0 w 192"/>
                  <a:gd name="T65" fmla="*/ 0 h 158"/>
                  <a:gd name="T66" fmla="*/ 0 w 192"/>
                  <a:gd name="T67" fmla="*/ 0 h 158"/>
                  <a:gd name="T68" fmla="*/ 0 w 192"/>
                  <a:gd name="T69" fmla="*/ 0 h 158"/>
                  <a:gd name="T70" fmla="*/ 0 w 192"/>
                  <a:gd name="T71" fmla="*/ 0 h 158"/>
                  <a:gd name="T72" fmla="*/ 0 w 192"/>
                  <a:gd name="T73" fmla="*/ 0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2"/>
                  <a:gd name="T115" fmla="*/ 0 h 158"/>
                  <a:gd name="T116" fmla="*/ 192 w 192"/>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3" name="Freeform 1007"/>
              <p:cNvSpPr>
                <a:spLocks/>
              </p:cNvSpPr>
              <p:nvPr/>
            </p:nvSpPr>
            <p:spPr bwMode="auto">
              <a:xfrm>
                <a:off x="1589" y="3126"/>
                <a:ext cx="290" cy="606"/>
              </a:xfrm>
              <a:custGeom>
                <a:avLst/>
                <a:gdLst>
                  <a:gd name="T0" fmla="*/ 0 w 884"/>
                  <a:gd name="T1" fmla="*/ 0 h 1818"/>
                  <a:gd name="T2" fmla="*/ 0 w 884"/>
                  <a:gd name="T3" fmla="*/ 0 h 1818"/>
                  <a:gd name="T4" fmla="*/ 0 w 884"/>
                  <a:gd name="T5" fmla="*/ 0 h 1818"/>
                  <a:gd name="T6" fmla="*/ 0 w 884"/>
                  <a:gd name="T7" fmla="*/ 0 h 1818"/>
                  <a:gd name="T8" fmla="*/ 0 w 884"/>
                  <a:gd name="T9" fmla="*/ 0 h 1818"/>
                  <a:gd name="T10" fmla="*/ 0 w 884"/>
                  <a:gd name="T11" fmla="*/ 0 h 1818"/>
                  <a:gd name="T12" fmla="*/ 0 w 884"/>
                  <a:gd name="T13" fmla="*/ 0 h 1818"/>
                  <a:gd name="T14" fmla="*/ 0 w 884"/>
                  <a:gd name="T15" fmla="*/ 0 h 1818"/>
                  <a:gd name="T16" fmla="*/ 0 w 884"/>
                  <a:gd name="T17" fmla="*/ 0 h 1818"/>
                  <a:gd name="T18" fmla="*/ 0 w 884"/>
                  <a:gd name="T19" fmla="*/ 0 h 1818"/>
                  <a:gd name="T20" fmla="*/ 0 w 884"/>
                  <a:gd name="T21" fmla="*/ 0 h 1818"/>
                  <a:gd name="T22" fmla="*/ 0 w 884"/>
                  <a:gd name="T23" fmla="*/ 0 h 1818"/>
                  <a:gd name="T24" fmla="*/ 0 w 884"/>
                  <a:gd name="T25" fmla="*/ 0 h 1818"/>
                  <a:gd name="T26" fmla="*/ 0 w 884"/>
                  <a:gd name="T27" fmla="*/ 0 h 1818"/>
                  <a:gd name="T28" fmla="*/ 0 w 884"/>
                  <a:gd name="T29" fmla="*/ 0 h 1818"/>
                  <a:gd name="T30" fmla="*/ 0 w 884"/>
                  <a:gd name="T31" fmla="*/ 0 h 1818"/>
                  <a:gd name="T32" fmla="*/ 0 w 884"/>
                  <a:gd name="T33" fmla="*/ 0 h 1818"/>
                  <a:gd name="T34" fmla="*/ 0 w 884"/>
                  <a:gd name="T35" fmla="*/ 0 h 1818"/>
                  <a:gd name="T36" fmla="*/ 0 w 884"/>
                  <a:gd name="T37" fmla="*/ 0 h 1818"/>
                  <a:gd name="T38" fmla="*/ 0 w 884"/>
                  <a:gd name="T39" fmla="*/ 0 h 1818"/>
                  <a:gd name="T40" fmla="*/ 0 w 884"/>
                  <a:gd name="T41" fmla="*/ 0 h 1818"/>
                  <a:gd name="T42" fmla="*/ 0 w 884"/>
                  <a:gd name="T43" fmla="*/ 0 h 1818"/>
                  <a:gd name="T44" fmla="*/ 0 w 884"/>
                  <a:gd name="T45" fmla="*/ 0 h 1818"/>
                  <a:gd name="T46" fmla="*/ 0 w 884"/>
                  <a:gd name="T47" fmla="*/ 0 h 1818"/>
                  <a:gd name="T48" fmla="*/ 0 w 884"/>
                  <a:gd name="T49" fmla="*/ 0 h 1818"/>
                  <a:gd name="T50" fmla="*/ 0 w 884"/>
                  <a:gd name="T51" fmla="*/ 0 h 1818"/>
                  <a:gd name="T52" fmla="*/ 0 w 884"/>
                  <a:gd name="T53" fmla="*/ 0 h 1818"/>
                  <a:gd name="T54" fmla="*/ 0 w 884"/>
                  <a:gd name="T55" fmla="*/ 0 h 1818"/>
                  <a:gd name="T56" fmla="*/ 0 w 884"/>
                  <a:gd name="T57" fmla="*/ 0 h 1818"/>
                  <a:gd name="T58" fmla="*/ 0 w 884"/>
                  <a:gd name="T59" fmla="*/ 0 h 1818"/>
                  <a:gd name="T60" fmla="*/ 0 w 884"/>
                  <a:gd name="T61" fmla="*/ 0 h 1818"/>
                  <a:gd name="T62" fmla="*/ 0 w 884"/>
                  <a:gd name="T63" fmla="*/ 0 h 1818"/>
                  <a:gd name="T64" fmla="*/ 0 w 884"/>
                  <a:gd name="T65" fmla="*/ 0 h 1818"/>
                  <a:gd name="T66" fmla="*/ 0 w 884"/>
                  <a:gd name="T67" fmla="*/ 0 h 1818"/>
                  <a:gd name="T68" fmla="*/ 0 w 884"/>
                  <a:gd name="T69" fmla="*/ 0 h 1818"/>
                  <a:gd name="T70" fmla="*/ 0 w 884"/>
                  <a:gd name="T71" fmla="*/ 0 h 1818"/>
                  <a:gd name="T72" fmla="*/ 0 w 884"/>
                  <a:gd name="T73" fmla="*/ 0 h 1818"/>
                  <a:gd name="T74" fmla="*/ 0 w 884"/>
                  <a:gd name="T75" fmla="*/ 0 h 1818"/>
                  <a:gd name="T76" fmla="*/ 0 w 884"/>
                  <a:gd name="T77" fmla="*/ 0 h 1818"/>
                  <a:gd name="T78" fmla="*/ 0 w 884"/>
                  <a:gd name="T79" fmla="*/ 0 h 1818"/>
                  <a:gd name="T80" fmla="*/ 0 w 884"/>
                  <a:gd name="T81" fmla="*/ 0 h 1818"/>
                  <a:gd name="T82" fmla="*/ 0 w 884"/>
                  <a:gd name="T83" fmla="*/ 0 h 1818"/>
                  <a:gd name="T84" fmla="*/ 0 w 884"/>
                  <a:gd name="T85" fmla="*/ 0 h 1818"/>
                  <a:gd name="T86" fmla="*/ 0 w 884"/>
                  <a:gd name="T87" fmla="*/ 0 h 1818"/>
                  <a:gd name="T88" fmla="*/ 0 w 884"/>
                  <a:gd name="T89" fmla="*/ 0 h 1818"/>
                  <a:gd name="T90" fmla="*/ 0 w 884"/>
                  <a:gd name="T91" fmla="*/ 0 h 1818"/>
                  <a:gd name="T92" fmla="*/ 0 w 884"/>
                  <a:gd name="T93" fmla="*/ 0 h 1818"/>
                  <a:gd name="T94" fmla="*/ 0 w 884"/>
                  <a:gd name="T95" fmla="*/ 0 h 1818"/>
                  <a:gd name="T96" fmla="*/ 0 w 884"/>
                  <a:gd name="T97" fmla="*/ 0 h 1818"/>
                  <a:gd name="T98" fmla="*/ 0 w 884"/>
                  <a:gd name="T99" fmla="*/ 0 h 1818"/>
                  <a:gd name="T100" fmla="*/ 0 w 884"/>
                  <a:gd name="T101" fmla="*/ 0 h 1818"/>
                  <a:gd name="T102" fmla="*/ 0 w 884"/>
                  <a:gd name="T103" fmla="*/ 0 h 1818"/>
                  <a:gd name="T104" fmla="*/ 0 w 884"/>
                  <a:gd name="T105" fmla="*/ 0 h 1818"/>
                  <a:gd name="T106" fmla="*/ 0 w 884"/>
                  <a:gd name="T107" fmla="*/ 0 h 1818"/>
                  <a:gd name="T108" fmla="*/ 0 w 884"/>
                  <a:gd name="T109" fmla="*/ 0 h 1818"/>
                  <a:gd name="T110" fmla="*/ 0 w 884"/>
                  <a:gd name="T111" fmla="*/ 0 h 1818"/>
                  <a:gd name="T112" fmla="*/ 0 w 884"/>
                  <a:gd name="T113" fmla="*/ 0 h 1818"/>
                  <a:gd name="T114" fmla="*/ 0 w 884"/>
                  <a:gd name="T115" fmla="*/ 0 h 1818"/>
                  <a:gd name="T116" fmla="*/ 0 w 884"/>
                  <a:gd name="T117" fmla="*/ 0 h 1818"/>
                  <a:gd name="T118" fmla="*/ 0 w 884"/>
                  <a:gd name="T119" fmla="*/ 0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4"/>
                  <a:gd name="T181" fmla="*/ 0 h 1818"/>
                  <a:gd name="T182" fmla="*/ 884 w 884"/>
                  <a:gd name="T183" fmla="*/ 1818 h 18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32" name="Freeform 1008"/>
            <p:cNvSpPr>
              <a:spLocks/>
            </p:cNvSpPr>
            <p:nvPr>
              <p:custDataLst>
                <p:tags r:id="rId280"/>
              </p:custDataLst>
            </p:nvPr>
          </p:nvSpPr>
          <p:spPr bwMode="auto">
            <a:xfrm>
              <a:off x="3440" y="1464"/>
              <a:ext cx="84" cy="69"/>
            </a:xfrm>
            <a:custGeom>
              <a:avLst/>
              <a:gdLst>
                <a:gd name="T0" fmla="*/ 0 w 279"/>
                <a:gd name="T1" fmla="*/ 0 h 204"/>
                <a:gd name="T2" fmla="*/ 0 w 279"/>
                <a:gd name="T3" fmla="*/ 0 h 204"/>
                <a:gd name="T4" fmla="*/ 0 w 279"/>
                <a:gd name="T5" fmla="*/ 0 h 204"/>
                <a:gd name="T6" fmla="*/ 0 w 279"/>
                <a:gd name="T7" fmla="*/ 0 h 204"/>
                <a:gd name="T8" fmla="*/ 0 w 279"/>
                <a:gd name="T9" fmla="*/ 0 h 204"/>
                <a:gd name="T10" fmla="*/ 0 w 279"/>
                <a:gd name="T11" fmla="*/ 0 h 204"/>
                <a:gd name="T12" fmla="*/ 0 w 279"/>
                <a:gd name="T13" fmla="*/ 0 h 204"/>
                <a:gd name="T14" fmla="*/ 0 w 279"/>
                <a:gd name="T15" fmla="*/ 0 h 204"/>
                <a:gd name="T16" fmla="*/ 0 w 279"/>
                <a:gd name="T17" fmla="*/ 0 h 204"/>
                <a:gd name="T18" fmla="*/ 0 w 279"/>
                <a:gd name="T19" fmla="*/ 0 h 204"/>
                <a:gd name="T20" fmla="*/ 0 w 279"/>
                <a:gd name="T21" fmla="*/ 0 h 204"/>
                <a:gd name="T22" fmla="*/ 0 w 279"/>
                <a:gd name="T23" fmla="*/ 0 h 204"/>
                <a:gd name="T24" fmla="*/ 0 w 279"/>
                <a:gd name="T25" fmla="*/ 0 h 204"/>
                <a:gd name="T26" fmla="*/ 0 w 279"/>
                <a:gd name="T27" fmla="*/ 0 h 204"/>
                <a:gd name="T28" fmla="*/ 0 w 279"/>
                <a:gd name="T29" fmla="*/ 0 h 204"/>
                <a:gd name="T30" fmla="*/ 0 w 279"/>
                <a:gd name="T31" fmla="*/ 0 h 204"/>
                <a:gd name="T32" fmla="*/ 0 w 279"/>
                <a:gd name="T33" fmla="*/ 0 h 204"/>
                <a:gd name="T34" fmla="*/ 0 w 279"/>
                <a:gd name="T35" fmla="*/ 0 h 204"/>
                <a:gd name="T36" fmla="*/ 0 w 279"/>
                <a:gd name="T37" fmla="*/ 0 h 204"/>
                <a:gd name="T38" fmla="*/ 0 w 279"/>
                <a:gd name="T39" fmla="*/ 0 h 204"/>
                <a:gd name="T40" fmla="*/ 0 w 279"/>
                <a:gd name="T41" fmla="*/ 0 h 204"/>
                <a:gd name="T42" fmla="*/ 0 w 279"/>
                <a:gd name="T43" fmla="*/ 0 h 204"/>
                <a:gd name="T44" fmla="*/ 0 w 279"/>
                <a:gd name="T45" fmla="*/ 0 h 204"/>
                <a:gd name="T46" fmla="*/ 0 w 279"/>
                <a:gd name="T47" fmla="*/ 0 h 204"/>
                <a:gd name="T48" fmla="*/ 0 w 279"/>
                <a:gd name="T49" fmla="*/ 0 h 204"/>
                <a:gd name="T50" fmla="*/ 0 w 279"/>
                <a:gd name="T51" fmla="*/ 0 h 204"/>
                <a:gd name="T52" fmla="*/ 0 w 279"/>
                <a:gd name="T53" fmla="*/ 0 h 204"/>
                <a:gd name="T54" fmla="*/ 0 w 279"/>
                <a:gd name="T55" fmla="*/ 0 h 204"/>
                <a:gd name="T56" fmla="*/ 0 w 279"/>
                <a:gd name="T57" fmla="*/ 0 h 204"/>
                <a:gd name="T58" fmla="*/ 0 w 279"/>
                <a:gd name="T59" fmla="*/ 0 h 204"/>
                <a:gd name="T60" fmla="*/ 0 w 279"/>
                <a:gd name="T61" fmla="*/ 0 h 204"/>
                <a:gd name="T62" fmla="*/ 0 w 279"/>
                <a:gd name="T63" fmla="*/ 0 h 204"/>
                <a:gd name="T64" fmla="*/ 0 w 279"/>
                <a:gd name="T65" fmla="*/ 0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3" name="Freeform 1009"/>
            <p:cNvSpPr>
              <a:spLocks/>
            </p:cNvSpPr>
            <p:nvPr>
              <p:custDataLst>
                <p:tags r:id="rId281"/>
              </p:custDataLst>
            </p:nvPr>
          </p:nvSpPr>
          <p:spPr bwMode="auto">
            <a:xfrm>
              <a:off x="3076" y="1195"/>
              <a:ext cx="143" cy="95"/>
            </a:xfrm>
            <a:custGeom>
              <a:avLst/>
              <a:gdLst>
                <a:gd name="T0" fmla="*/ 0 w 485"/>
                <a:gd name="T1" fmla="*/ 0 h 291"/>
                <a:gd name="T2" fmla="*/ 0 w 485"/>
                <a:gd name="T3" fmla="*/ 0 h 291"/>
                <a:gd name="T4" fmla="*/ 0 w 485"/>
                <a:gd name="T5" fmla="*/ 0 h 291"/>
                <a:gd name="T6" fmla="*/ 0 w 485"/>
                <a:gd name="T7" fmla="*/ 0 h 291"/>
                <a:gd name="T8" fmla="*/ 0 w 485"/>
                <a:gd name="T9" fmla="*/ 0 h 291"/>
                <a:gd name="T10" fmla="*/ 0 w 485"/>
                <a:gd name="T11" fmla="*/ 0 h 291"/>
                <a:gd name="T12" fmla="*/ 0 w 485"/>
                <a:gd name="T13" fmla="*/ 0 h 291"/>
                <a:gd name="T14" fmla="*/ 0 w 485"/>
                <a:gd name="T15" fmla="*/ 0 h 291"/>
                <a:gd name="T16" fmla="*/ 0 w 485"/>
                <a:gd name="T17" fmla="*/ 0 h 291"/>
                <a:gd name="T18" fmla="*/ 0 w 485"/>
                <a:gd name="T19" fmla="*/ 0 h 291"/>
                <a:gd name="T20" fmla="*/ 0 w 485"/>
                <a:gd name="T21" fmla="*/ 0 h 291"/>
                <a:gd name="T22" fmla="*/ 0 w 485"/>
                <a:gd name="T23" fmla="*/ 0 h 291"/>
                <a:gd name="T24" fmla="*/ 0 w 485"/>
                <a:gd name="T25" fmla="*/ 0 h 291"/>
                <a:gd name="T26" fmla="*/ 0 w 485"/>
                <a:gd name="T27" fmla="*/ 0 h 291"/>
                <a:gd name="T28" fmla="*/ 0 w 485"/>
                <a:gd name="T29" fmla="*/ 0 h 291"/>
                <a:gd name="T30" fmla="*/ 0 w 485"/>
                <a:gd name="T31" fmla="*/ 0 h 291"/>
                <a:gd name="T32" fmla="*/ 0 w 485"/>
                <a:gd name="T33" fmla="*/ 0 h 291"/>
                <a:gd name="T34" fmla="*/ 0 w 485"/>
                <a:gd name="T35" fmla="*/ 0 h 291"/>
                <a:gd name="T36" fmla="*/ 0 w 485"/>
                <a:gd name="T37" fmla="*/ 0 h 291"/>
                <a:gd name="T38" fmla="*/ 0 w 485"/>
                <a:gd name="T39" fmla="*/ 0 h 291"/>
                <a:gd name="T40" fmla="*/ 0 w 485"/>
                <a:gd name="T41" fmla="*/ 0 h 291"/>
                <a:gd name="T42" fmla="*/ 0 w 485"/>
                <a:gd name="T43" fmla="*/ 0 h 291"/>
                <a:gd name="T44" fmla="*/ 0 w 485"/>
                <a:gd name="T45" fmla="*/ 0 h 291"/>
                <a:gd name="T46" fmla="*/ 0 w 485"/>
                <a:gd name="T47" fmla="*/ 0 h 291"/>
                <a:gd name="T48" fmla="*/ 0 w 485"/>
                <a:gd name="T49" fmla="*/ 0 h 291"/>
                <a:gd name="T50" fmla="*/ 0 w 485"/>
                <a:gd name="T51" fmla="*/ 0 h 291"/>
                <a:gd name="T52" fmla="*/ 0 w 485"/>
                <a:gd name="T53" fmla="*/ 0 h 291"/>
                <a:gd name="T54" fmla="*/ 0 w 485"/>
                <a:gd name="T55" fmla="*/ 0 h 291"/>
                <a:gd name="T56" fmla="*/ 0 w 485"/>
                <a:gd name="T57" fmla="*/ 0 h 291"/>
                <a:gd name="T58" fmla="*/ 0 w 485"/>
                <a:gd name="T59" fmla="*/ 0 h 291"/>
                <a:gd name="T60" fmla="*/ 0 w 485"/>
                <a:gd name="T61" fmla="*/ 0 h 291"/>
                <a:gd name="T62" fmla="*/ 0 w 485"/>
                <a:gd name="T63" fmla="*/ 0 h 291"/>
                <a:gd name="T64" fmla="*/ 0 w 485"/>
                <a:gd name="T65" fmla="*/ 0 h 291"/>
                <a:gd name="T66" fmla="*/ 0 w 485"/>
                <a:gd name="T67" fmla="*/ 0 h 291"/>
                <a:gd name="T68" fmla="*/ 0 w 485"/>
                <a:gd name="T69" fmla="*/ 0 h 291"/>
                <a:gd name="T70" fmla="*/ 0 w 485"/>
                <a:gd name="T71" fmla="*/ 0 h 291"/>
                <a:gd name="T72" fmla="*/ 0 w 485"/>
                <a:gd name="T73" fmla="*/ 0 h 291"/>
                <a:gd name="T74" fmla="*/ 0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4" name="Freeform 1010"/>
            <p:cNvSpPr>
              <a:spLocks/>
            </p:cNvSpPr>
            <p:nvPr>
              <p:custDataLst>
                <p:tags r:id="rId282"/>
              </p:custDataLst>
            </p:nvPr>
          </p:nvSpPr>
          <p:spPr bwMode="auto">
            <a:xfrm>
              <a:off x="2978" y="1404"/>
              <a:ext cx="56" cy="55"/>
            </a:xfrm>
            <a:custGeom>
              <a:avLst/>
              <a:gdLst>
                <a:gd name="T0" fmla="*/ 0 w 186"/>
                <a:gd name="T1" fmla="*/ 0 h 166"/>
                <a:gd name="T2" fmla="*/ 0 w 186"/>
                <a:gd name="T3" fmla="*/ 0 h 166"/>
                <a:gd name="T4" fmla="*/ 0 w 186"/>
                <a:gd name="T5" fmla="*/ 0 h 166"/>
                <a:gd name="T6" fmla="*/ 0 w 186"/>
                <a:gd name="T7" fmla="*/ 0 h 166"/>
                <a:gd name="T8" fmla="*/ 0 w 186"/>
                <a:gd name="T9" fmla="*/ 0 h 166"/>
                <a:gd name="T10" fmla="*/ 0 w 186"/>
                <a:gd name="T11" fmla="*/ 0 h 166"/>
                <a:gd name="T12" fmla="*/ 0 w 186"/>
                <a:gd name="T13" fmla="*/ 0 h 166"/>
                <a:gd name="T14" fmla="*/ 0 w 186"/>
                <a:gd name="T15" fmla="*/ 0 h 166"/>
                <a:gd name="T16" fmla="*/ 0 w 186"/>
                <a:gd name="T17" fmla="*/ 0 h 166"/>
                <a:gd name="T18" fmla="*/ 0 w 186"/>
                <a:gd name="T19" fmla="*/ 0 h 166"/>
                <a:gd name="T20" fmla="*/ 0 w 186"/>
                <a:gd name="T21" fmla="*/ 0 h 166"/>
                <a:gd name="T22" fmla="*/ 0 w 186"/>
                <a:gd name="T23" fmla="*/ 0 h 166"/>
                <a:gd name="T24" fmla="*/ 0 w 186"/>
                <a:gd name="T25" fmla="*/ 0 h 166"/>
                <a:gd name="T26" fmla="*/ 0 w 186"/>
                <a:gd name="T27" fmla="*/ 0 h 166"/>
                <a:gd name="T28" fmla="*/ 0 w 186"/>
                <a:gd name="T29" fmla="*/ 0 h 166"/>
                <a:gd name="T30" fmla="*/ 0 w 186"/>
                <a:gd name="T31" fmla="*/ 0 h 166"/>
                <a:gd name="T32" fmla="*/ 0 w 186"/>
                <a:gd name="T33" fmla="*/ 0 h 166"/>
                <a:gd name="T34" fmla="*/ 0 w 186"/>
                <a:gd name="T35" fmla="*/ 0 h 166"/>
                <a:gd name="T36" fmla="*/ 0 w 186"/>
                <a:gd name="T37" fmla="*/ 0 h 166"/>
                <a:gd name="T38" fmla="*/ 0 w 186"/>
                <a:gd name="T39" fmla="*/ 0 h 166"/>
                <a:gd name="T40" fmla="*/ 0 w 186"/>
                <a:gd name="T41" fmla="*/ 0 h 166"/>
                <a:gd name="T42" fmla="*/ 0 w 186"/>
                <a:gd name="T43" fmla="*/ 0 h 166"/>
                <a:gd name="T44" fmla="*/ 0 w 186"/>
                <a:gd name="T45" fmla="*/ 0 h 166"/>
                <a:gd name="T46" fmla="*/ 0 w 186"/>
                <a:gd name="T47" fmla="*/ 0 h 166"/>
                <a:gd name="T48" fmla="*/ 0 w 186"/>
                <a:gd name="T49" fmla="*/ 0 h 166"/>
                <a:gd name="T50" fmla="*/ 0 w 186"/>
                <a:gd name="T51" fmla="*/ 0 h 166"/>
                <a:gd name="T52" fmla="*/ 0 w 186"/>
                <a:gd name="T53" fmla="*/ 0 h 166"/>
                <a:gd name="T54" fmla="*/ 0 w 186"/>
                <a:gd name="T55" fmla="*/ 0 h 166"/>
                <a:gd name="T56" fmla="*/ 0 w 186"/>
                <a:gd name="T57" fmla="*/ 0 h 166"/>
                <a:gd name="T58" fmla="*/ 0 w 186"/>
                <a:gd name="T59" fmla="*/ 0 h 166"/>
                <a:gd name="T60" fmla="*/ 0 w 186"/>
                <a:gd name="T61" fmla="*/ 0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5" name="Freeform 1011"/>
            <p:cNvSpPr>
              <a:spLocks/>
            </p:cNvSpPr>
            <p:nvPr>
              <p:custDataLst>
                <p:tags r:id="rId283"/>
              </p:custDataLst>
            </p:nvPr>
          </p:nvSpPr>
          <p:spPr bwMode="auto">
            <a:xfrm>
              <a:off x="1862" y="2309"/>
              <a:ext cx="57" cy="36"/>
            </a:xfrm>
            <a:custGeom>
              <a:avLst/>
              <a:gdLst>
                <a:gd name="T0" fmla="*/ 0 w 186"/>
                <a:gd name="T1" fmla="*/ 0 h 104"/>
                <a:gd name="T2" fmla="*/ 0 w 186"/>
                <a:gd name="T3" fmla="*/ 0 h 104"/>
                <a:gd name="T4" fmla="*/ 0 w 186"/>
                <a:gd name="T5" fmla="*/ 0 h 104"/>
                <a:gd name="T6" fmla="*/ 0 w 186"/>
                <a:gd name="T7" fmla="*/ 0 h 104"/>
                <a:gd name="T8" fmla="*/ 0 w 186"/>
                <a:gd name="T9" fmla="*/ 0 h 104"/>
                <a:gd name="T10" fmla="*/ 0 w 186"/>
                <a:gd name="T11" fmla="*/ 0 h 104"/>
                <a:gd name="T12" fmla="*/ 0 w 186"/>
                <a:gd name="T13" fmla="*/ 0 h 104"/>
                <a:gd name="T14" fmla="*/ 0 w 186"/>
                <a:gd name="T15" fmla="*/ 0 h 104"/>
                <a:gd name="T16" fmla="*/ 0 w 186"/>
                <a:gd name="T17" fmla="*/ 0 h 104"/>
                <a:gd name="T18" fmla="*/ 0 w 186"/>
                <a:gd name="T19" fmla="*/ 0 h 104"/>
                <a:gd name="T20" fmla="*/ 0 w 186"/>
                <a:gd name="T21" fmla="*/ 0 h 104"/>
                <a:gd name="T22" fmla="*/ 0 w 186"/>
                <a:gd name="T23" fmla="*/ 0 h 104"/>
                <a:gd name="T24" fmla="*/ 0 w 186"/>
                <a:gd name="T25" fmla="*/ 0 h 104"/>
                <a:gd name="T26" fmla="*/ 0 w 186"/>
                <a:gd name="T27" fmla="*/ 0 h 104"/>
                <a:gd name="T28" fmla="*/ 0 w 186"/>
                <a:gd name="T29" fmla="*/ 0 h 104"/>
                <a:gd name="T30" fmla="*/ 0 w 186"/>
                <a:gd name="T31" fmla="*/ 0 h 104"/>
                <a:gd name="T32" fmla="*/ 0 w 186"/>
                <a:gd name="T33" fmla="*/ 0 h 104"/>
                <a:gd name="T34" fmla="*/ 0 w 186"/>
                <a:gd name="T35" fmla="*/ 0 h 104"/>
                <a:gd name="T36" fmla="*/ 0 w 186"/>
                <a:gd name="T37" fmla="*/ 0 h 104"/>
                <a:gd name="T38" fmla="*/ 0 w 186"/>
                <a:gd name="T39" fmla="*/ 0 h 104"/>
                <a:gd name="T40" fmla="*/ 0 w 186"/>
                <a:gd name="T41" fmla="*/ 0 h 104"/>
                <a:gd name="T42" fmla="*/ 0 w 186"/>
                <a:gd name="T43" fmla="*/ 0 h 104"/>
                <a:gd name="T44" fmla="*/ 0 w 186"/>
                <a:gd name="T45" fmla="*/ 0 h 104"/>
                <a:gd name="T46" fmla="*/ 0 w 186"/>
                <a:gd name="T47" fmla="*/ 0 h 104"/>
                <a:gd name="T48" fmla="*/ 0 w 186"/>
                <a:gd name="T49" fmla="*/ 0 h 104"/>
                <a:gd name="T50" fmla="*/ 0 w 186"/>
                <a:gd name="T51" fmla="*/ 0 h 104"/>
                <a:gd name="T52" fmla="*/ 0 w 186"/>
                <a:gd name="T53" fmla="*/ 0 h 104"/>
                <a:gd name="T54" fmla="*/ 0 w 186"/>
                <a:gd name="T55" fmla="*/ 0 h 104"/>
                <a:gd name="T56" fmla="*/ 0 w 186"/>
                <a:gd name="T57" fmla="*/ 0 h 104"/>
                <a:gd name="T58" fmla="*/ 0 w 186"/>
                <a:gd name="T59" fmla="*/ 0 h 104"/>
                <a:gd name="T60" fmla="*/ 0 w 186"/>
                <a:gd name="T61" fmla="*/ 0 h 104"/>
                <a:gd name="T62" fmla="*/ 0 w 186"/>
                <a:gd name="T63" fmla="*/ 0 h 104"/>
                <a:gd name="T64" fmla="*/ 0 w 186"/>
                <a:gd name="T65" fmla="*/ 0 h 104"/>
                <a:gd name="T66" fmla="*/ 0 w 186"/>
                <a:gd name="T67" fmla="*/ 0 h 104"/>
                <a:gd name="T68" fmla="*/ 0 w 186"/>
                <a:gd name="T69" fmla="*/ 0 h 104"/>
                <a:gd name="T70" fmla="*/ 0 w 186"/>
                <a:gd name="T71" fmla="*/ 0 h 104"/>
                <a:gd name="T72" fmla="*/ 0 w 186"/>
                <a:gd name="T73" fmla="*/ 0 h 104"/>
                <a:gd name="T74" fmla="*/ 0 w 186"/>
                <a:gd name="T75" fmla="*/ 0 h 104"/>
                <a:gd name="T76" fmla="*/ 0 w 186"/>
                <a:gd name="T77" fmla="*/ 0 h 104"/>
                <a:gd name="T78" fmla="*/ 0 w 186"/>
                <a:gd name="T79" fmla="*/ 0 h 104"/>
                <a:gd name="T80" fmla="*/ 0 w 186"/>
                <a:gd name="T81" fmla="*/ 0 h 104"/>
                <a:gd name="T82" fmla="*/ 0 w 186"/>
                <a:gd name="T83" fmla="*/ 0 h 104"/>
                <a:gd name="T84" fmla="*/ 0 w 186"/>
                <a:gd name="T85" fmla="*/ 0 h 104"/>
                <a:gd name="T86" fmla="*/ 0 w 186"/>
                <a:gd name="T87" fmla="*/ 0 h 104"/>
                <a:gd name="T88" fmla="*/ 0 w 186"/>
                <a:gd name="T89" fmla="*/ 0 h 104"/>
                <a:gd name="T90" fmla="*/ 0 w 186"/>
                <a:gd name="T91" fmla="*/ 0 h 104"/>
                <a:gd name="T92" fmla="*/ 0 w 186"/>
                <a:gd name="T93" fmla="*/ 0 h 104"/>
                <a:gd name="T94" fmla="*/ 0 w 186"/>
                <a:gd name="T95" fmla="*/ 0 h 104"/>
                <a:gd name="T96" fmla="*/ 0 w 186"/>
                <a:gd name="T97" fmla="*/ 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6" name="Freeform 1012"/>
            <p:cNvSpPr>
              <a:spLocks/>
            </p:cNvSpPr>
            <p:nvPr>
              <p:custDataLst>
                <p:tags r:id="rId284"/>
              </p:custDataLst>
            </p:nvPr>
          </p:nvSpPr>
          <p:spPr bwMode="auto">
            <a:xfrm>
              <a:off x="3086" y="1426"/>
              <a:ext cx="91" cy="61"/>
            </a:xfrm>
            <a:custGeom>
              <a:avLst/>
              <a:gdLst>
                <a:gd name="T0" fmla="*/ 0 w 311"/>
                <a:gd name="T1" fmla="*/ 0 h 179"/>
                <a:gd name="T2" fmla="*/ 0 w 311"/>
                <a:gd name="T3" fmla="*/ 0 h 179"/>
                <a:gd name="T4" fmla="*/ 0 w 311"/>
                <a:gd name="T5" fmla="*/ 0 h 179"/>
                <a:gd name="T6" fmla="*/ 0 w 311"/>
                <a:gd name="T7" fmla="*/ 0 h 179"/>
                <a:gd name="T8" fmla="*/ 0 w 311"/>
                <a:gd name="T9" fmla="*/ 0 h 179"/>
                <a:gd name="T10" fmla="*/ 0 w 311"/>
                <a:gd name="T11" fmla="*/ 0 h 179"/>
                <a:gd name="T12" fmla="*/ 0 w 311"/>
                <a:gd name="T13" fmla="*/ 0 h 179"/>
                <a:gd name="T14" fmla="*/ 0 w 311"/>
                <a:gd name="T15" fmla="*/ 0 h 179"/>
                <a:gd name="T16" fmla="*/ 0 w 311"/>
                <a:gd name="T17" fmla="*/ 0 h 179"/>
                <a:gd name="T18" fmla="*/ 0 w 311"/>
                <a:gd name="T19" fmla="*/ 0 h 179"/>
                <a:gd name="T20" fmla="*/ 0 w 311"/>
                <a:gd name="T21" fmla="*/ 0 h 179"/>
                <a:gd name="T22" fmla="*/ 0 w 311"/>
                <a:gd name="T23" fmla="*/ 0 h 179"/>
                <a:gd name="T24" fmla="*/ 0 w 311"/>
                <a:gd name="T25" fmla="*/ 0 h 179"/>
                <a:gd name="T26" fmla="*/ 0 w 311"/>
                <a:gd name="T27" fmla="*/ 0 h 179"/>
                <a:gd name="T28" fmla="*/ 0 w 311"/>
                <a:gd name="T29" fmla="*/ 0 h 179"/>
                <a:gd name="T30" fmla="*/ 0 w 311"/>
                <a:gd name="T31" fmla="*/ 0 h 179"/>
                <a:gd name="T32" fmla="*/ 0 w 311"/>
                <a:gd name="T33" fmla="*/ 0 h 179"/>
                <a:gd name="T34" fmla="*/ 0 w 311"/>
                <a:gd name="T35" fmla="*/ 0 h 179"/>
                <a:gd name="T36" fmla="*/ 0 w 311"/>
                <a:gd name="T37" fmla="*/ 0 h 179"/>
                <a:gd name="T38" fmla="*/ 0 w 311"/>
                <a:gd name="T39" fmla="*/ 0 h 179"/>
                <a:gd name="T40" fmla="*/ 0 w 311"/>
                <a:gd name="T41" fmla="*/ 0 h 179"/>
                <a:gd name="T42" fmla="*/ 0 w 311"/>
                <a:gd name="T43" fmla="*/ 0 h 179"/>
                <a:gd name="T44" fmla="*/ 0 w 311"/>
                <a:gd name="T45" fmla="*/ 0 h 179"/>
                <a:gd name="T46" fmla="*/ 0 w 311"/>
                <a:gd name="T47" fmla="*/ 0 h 179"/>
                <a:gd name="T48" fmla="*/ 0 w 311"/>
                <a:gd name="T49" fmla="*/ 0 h 179"/>
                <a:gd name="T50" fmla="*/ 0 w 311"/>
                <a:gd name="T51" fmla="*/ 0 h 179"/>
                <a:gd name="T52" fmla="*/ 0 w 311"/>
                <a:gd name="T53" fmla="*/ 0 h 179"/>
                <a:gd name="T54" fmla="*/ 0 w 311"/>
                <a:gd name="T55" fmla="*/ 0 h 179"/>
                <a:gd name="T56" fmla="*/ 0 w 311"/>
                <a:gd name="T57" fmla="*/ 0 h 179"/>
                <a:gd name="T58" fmla="*/ 0 w 311"/>
                <a:gd name="T59" fmla="*/ 0 h 179"/>
                <a:gd name="T60" fmla="*/ 0 w 311"/>
                <a:gd name="T61" fmla="*/ 0 h 179"/>
                <a:gd name="T62" fmla="*/ 0 w 311"/>
                <a:gd name="T63" fmla="*/ 0 h 179"/>
                <a:gd name="T64" fmla="*/ 0 w 311"/>
                <a:gd name="T65" fmla="*/ 0 h 179"/>
                <a:gd name="T66" fmla="*/ 0 w 311"/>
                <a:gd name="T67" fmla="*/ 0 h 179"/>
                <a:gd name="T68" fmla="*/ 0 w 311"/>
                <a:gd name="T69" fmla="*/ 0 h 179"/>
                <a:gd name="T70" fmla="*/ 0 w 311"/>
                <a:gd name="T71" fmla="*/ 0 h 179"/>
                <a:gd name="T72" fmla="*/ 0 w 311"/>
                <a:gd name="T73" fmla="*/ 0 h 179"/>
                <a:gd name="T74" fmla="*/ 0 w 311"/>
                <a:gd name="T75" fmla="*/ 0 h 179"/>
                <a:gd name="T76" fmla="*/ 0 w 311"/>
                <a:gd name="T77" fmla="*/ 0 h 179"/>
                <a:gd name="T78" fmla="*/ 0 w 311"/>
                <a:gd name="T79" fmla="*/ 0 h 179"/>
                <a:gd name="T80" fmla="*/ 0 w 311"/>
                <a:gd name="T81" fmla="*/ 0 h 179"/>
                <a:gd name="T82" fmla="*/ 0 w 311"/>
                <a:gd name="T83" fmla="*/ 0 h 179"/>
                <a:gd name="T84" fmla="*/ 0 w 311"/>
                <a:gd name="T85" fmla="*/ 0 h 179"/>
                <a:gd name="T86" fmla="*/ 0 w 311"/>
                <a:gd name="T87" fmla="*/ 0 h 179"/>
                <a:gd name="T88" fmla="*/ 0 w 311"/>
                <a:gd name="T89" fmla="*/ 0 h 179"/>
                <a:gd name="T90" fmla="*/ 0 w 311"/>
                <a:gd name="T91" fmla="*/ 0 h 179"/>
                <a:gd name="T92" fmla="*/ 0 w 311"/>
                <a:gd name="T93" fmla="*/ 0 h 179"/>
                <a:gd name="T94" fmla="*/ 0 w 311"/>
                <a:gd name="T95" fmla="*/ 0 h 179"/>
                <a:gd name="T96" fmla="*/ 0 w 311"/>
                <a:gd name="T97" fmla="*/ 0 h 179"/>
                <a:gd name="T98" fmla="*/ 0 w 311"/>
                <a:gd name="T99" fmla="*/ 0 h 179"/>
                <a:gd name="T100" fmla="*/ 0 w 311"/>
                <a:gd name="T101" fmla="*/ 0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7" name="Freeform 1013"/>
            <p:cNvSpPr>
              <a:spLocks/>
            </p:cNvSpPr>
            <p:nvPr>
              <p:custDataLst>
                <p:tags r:id="rId285"/>
              </p:custDataLst>
            </p:nvPr>
          </p:nvSpPr>
          <p:spPr bwMode="auto">
            <a:xfrm>
              <a:off x="2647" y="2010"/>
              <a:ext cx="121" cy="104"/>
            </a:xfrm>
            <a:custGeom>
              <a:avLst/>
              <a:gdLst>
                <a:gd name="T0" fmla="*/ 0 w 405"/>
                <a:gd name="T1" fmla="*/ 0 h 314"/>
                <a:gd name="T2" fmla="*/ 0 w 405"/>
                <a:gd name="T3" fmla="*/ 0 h 314"/>
                <a:gd name="T4" fmla="*/ 0 w 405"/>
                <a:gd name="T5" fmla="*/ 0 h 314"/>
                <a:gd name="T6" fmla="*/ 0 w 405"/>
                <a:gd name="T7" fmla="*/ 0 h 314"/>
                <a:gd name="T8" fmla="*/ 0 w 405"/>
                <a:gd name="T9" fmla="*/ 0 h 314"/>
                <a:gd name="T10" fmla="*/ 0 w 405"/>
                <a:gd name="T11" fmla="*/ 0 h 314"/>
                <a:gd name="T12" fmla="*/ 0 w 405"/>
                <a:gd name="T13" fmla="*/ 0 h 314"/>
                <a:gd name="T14" fmla="*/ 0 w 405"/>
                <a:gd name="T15" fmla="*/ 0 h 314"/>
                <a:gd name="T16" fmla="*/ 0 w 405"/>
                <a:gd name="T17" fmla="*/ 0 h 314"/>
                <a:gd name="T18" fmla="*/ 0 w 405"/>
                <a:gd name="T19" fmla="*/ 0 h 314"/>
                <a:gd name="T20" fmla="*/ 0 w 405"/>
                <a:gd name="T21" fmla="*/ 0 h 314"/>
                <a:gd name="T22" fmla="*/ 0 w 405"/>
                <a:gd name="T23" fmla="*/ 0 h 314"/>
                <a:gd name="T24" fmla="*/ 0 w 405"/>
                <a:gd name="T25" fmla="*/ 0 h 314"/>
                <a:gd name="T26" fmla="*/ 0 w 405"/>
                <a:gd name="T27" fmla="*/ 0 h 314"/>
                <a:gd name="T28" fmla="*/ 0 w 405"/>
                <a:gd name="T29" fmla="*/ 0 h 314"/>
                <a:gd name="T30" fmla="*/ 0 w 405"/>
                <a:gd name="T31" fmla="*/ 0 h 314"/>
                <a:gd name="T32" fmla="*/ 0 w 405"/>
                <a:gd name="T33" fmla="*/ 0 h 314"/>
                <a:gd name="T34" fmla="*/ 0 w 405"/>
                <a:gd name="T35" fmla="*/ 0 h 314"/>
                <a:gd name="T36" fmla="*/ 0 w 405"/>
                <a:gd name="T37" fmla="*/ 0 h 314"/>
                <a:gd name="T38" fmla="*/ 0 w 405"/>
                <a:gd name="T39" fmla="*/ 0 h 314"/>
                <a:gd name="T40" fmla="*/ 0 w 405"/>
                <a:gd name="T41" fmla="*/ 0 h 314"/>
                <a:gd name="T42" fmla="*/ 0 w 405"/>
                <a:gd name="T43" fmla="*/ 0 h 314"/>
                <a:gd name="T44" fmla="*/ 0 w 405"/>
                <a:gd name="T45" fmla="*/ 0 h 314"/>
                <a:gd name="T46" fmla="*/ 0 w 405"/>
                <a:gd name="T47" fmla="*/ 0 h 314"/>
                <a:gd name="T48" fmla="*/ 0 w 405"/>
                <a:gd name="T49" fmla="*/ 0 h 314"/>
                <a:gd name="T50" fmla="*/ 0 w 405"/>
                <a:gd name="T51" fmla="*/ 0 h 314"/>
                <a:gd name="T52" fmla="*/ 0 w 405"/>
                <a:gd name="T53" fmla="*/ 0 h 314"/>
                <a:gd name="T54" fmla="*/ 0 w 405"/>
                <a:gd name="T55" fmla="*/ 0 h 314"/>
                <a:gd name="T56" fmla="*/ 0 w 405"/>
                <a:gd name="T57" fmla="*/ 0 h 314"/>
                <a:gd name="T58" fmla="*/ 0 w 405"/>
                <a:gd name="T59" fmla="*/ 0 h 314"/>
                <a:gd name="T60" fmla="*/ 0 w 405"/>
                <a:gd name="T61" fmla="*/ 0 h 314"/>
                <a:gd name="T62" fmla="*/ 0 w 405"/>
                <a:gd name="T63" fmla="*/ 0 h 314"/>
                <a:gd name="T64" fmla="*/ 0 w 405"/>
                <a:gd name="T65" fmla="*/ 0 h 314"/>
                <a:gd name="T66" fmla="*/ 0 w 405"/>
                <a:gd name="T67" fmla="*/ 0 h 314"/>
                <a:gd name="T68" fmla="*/ 0 w 405"/>
                <a:gd name="T69" fmla="*/ 0 h 314"/>
                <a:gd name="T70" fmla="*/ 0 w 405"/>
                <a:gd name="T71" fmla="*/ 0 h 314"/>
                <a:gd name="T72" fmla="*/ 0 w 405"/>
                <a:gd name="T73" fmla="*/ 0 h 314"/>
                <a:gd name="T74" fmla="*/ 0 w 405"/>
                <a:gd name="T75" fmla="*/ 0 h 314"/>
                <a:gd name="T76" fmla="*/ 0 w 405"/>
                <a:gd name="T77" fmla="*/ 0 h 314"/>
                <a:gd name="T78" fmla="*/ 0 w 405"/>
                <a:gd name="T79" fmla="*/ 0 h 314"/>
                <a:gd name="T80" fmla="*/ 0 w 405"/>
                <a:gd name="T81" fmla="*/ 0 h 314"/>
                <a:gd name="T82" fmla="*/ 0 w 405"/>
                <a:gd name="T83" fmla="*/ 0 h 314"/>
                <a:gd name="T84" fmla="*/ 0 w 405"/>
                <a:gd name="T85" fmla="*/ 0 h 314"/>
                <a:gd name="T86" fmla="*/ 0 w 405"/>
                <a:gd name="T87" fmla="*/ 0 h 314"/>
                <a:gd name="T88" fmla="*/ 0 w 405"/>
                <a:gd name="T89" fmla="*/ 0 h 314"/>
                <a:gd name="T90" fmla="*/ 0 w 405"/>
                <a:gd name="T91" fmla="*/ 0 h 314"/>
                <a:gd name="T92" fmla="*/ 0 w 405"/>
                <a:gd name="T93" fmla="*/ 0 h 314"/>
                <a:gd name="T94" fmla="*/ 0 w 405"/>
                <a:gd name="T95" fmla="*/ 0 h 314"/>
                <a:gd name="T96" fmla="*/ 0 w 405"/>
                <a:gd name="T97" fmla="*/ 0 h 314"/>
                <a:gd name="T98" fmla="*/ 0 w 405"/>
                <a:gd name="T99" fmla="*/ 0 h 314"/>
                <a:gd name="T100" fmla="*/ 0 w 405"/>
                <a:gd name="T101" fmla="*/ 0 h 314"/>
                <a:gd name="T102" fmla="*/ 0 w 405"/>
                <a:gd name="T103" fmla="*/ 0 h 314"/>
                <a:gd name="T104" fmla="*/ 0 w 405"/>
                <a:gd name="T105" fmla="*/ 0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8" name="Freeform 1014"/>
            <p:cNvSpPr>
              <a:spLocks/>
            </p:cNvSpPr>
            <p:nvPr>
              <p:custDataLst>
                <p:tags r:id="rId286"/>
              </p:custDataLst>
            </p:nvPr>
          </p:nvSpPr>
          <p:spPr bwMode="auto">
            <a:xfrm>
              <a:off x="2884" y="2053"/>
              <a:ext cx="132" cy="220"/>
            </a:xfrm>
            <a:custGeom>
              <a:avLst/>
              <a:gdLst>
                <a:gd name="T0" fmla="*/ 0 w 453"/>
                <a:gd name="T1" fmla="*/ 0 h 661"/>
                <a:gd name="T2" fmla="*/ 0 w 453"/>
                <a:gd name="T3" fmla="*/ 0 h 661"/>
                <a:gd name="T4" fmla="*/ 0 w 453"/>
                <a:gd name="T5" fmla="*/ 0 h 661"/>
                <a:gd name="T6" fmla="*/ 0 w 453"/>
                <a:gd name="T7" fmla="*/ 0 h 661"/>
                <a:gd name="T8" fmla="*/ 0 w 453"/>
                <a:gd name="T9" fmla="*/ 0 h 661"/>
                <a:gd name="T10" fmla="*/ 0 w 453"/>
                <a:gd name="T11" fmla="*/ 0 h 661"/>
                <a:gd name="T12" fmla="*/ 0 w 453"/>
                <a:gd name="T13" fmla="*/ 0 h 661"/>
                <a:gd name="T14" fmla="*/ 0 w 453"/>
                <a:gd name="T15" fmla="*/ 0 h 661"/>
                <a:gd name="T16" fmla="*/ 0 w 453"/>
                <a:gd name="T17" fmla="*/ 0 h 661"/>
                <a:gd name="T18" fmla="*/ 0 w 453"/>
                <a:gd name="T19" fmla="*/ 0 h 661"/>
                <a:gd name="T20" fmla="*/ 0 w 453"/>
                <a:gd name="T21" fmla="*/ 0 h 661"/>
                <a:gd name="T22" fmla="*/ 0 w 453"/>
                <a:gd name="T23" fmla="*/ 0 h 661"/>
                <a:gd name="T24" fmla="*/ 0 w 453"/>
                <a:gd name="T25" fmla="*/ 0 h 661"/>
                <a:gd name="T26" fmla="*/ 0 w 453"/>
                <a:gd name="T27" fmla="*/ 0 h 661"/>
                <a:gd name="T28" fmla="*/ 0 w 453"/>
                <a:gd name="T29" fmla="*/ 0 h 661"/>
                <a:gd name="T30" fmla="*/ 0 w 453"/>
                <a:gd name="T31" fmla="*/ 0 h 661"/>
                <a:gd name="T32" fmla="*/ 0 w 453"/>
                <a:gd name="T33" fmla="*/ 0 h 661"/>
                <a:gd name="T34" fmla="*/ 0 w 453"/>
                <a:gd name="T35" fmla="*/ 0 h 661"/>
                <a:gd name="T36" fmla="*/ 0 w 453"/>
                <a:gd name="T37" fmla="*/ 0 h 661"/>
                <a:gd name="T38" fmla="*/ 0 w 453"/>
                <a:gd name="T39" fmla="*/ 0 h 661"/>
                <a:gd name="T40" fmla="*/ 0 w 453"/>
                <a:gd name="T41" fmla="*/ 0 h 661"/>
                <a:gd name="T42" fmla="*/ 0 w 453"/>
                <a:gd name="T43" fmla="*/ 0 h 661"/>
                <a:gd name="T44" fmla="*/ 0 w 453"/>
                <a:gd name="T45" fmla="*/ 0 h 661"/>
                <a:gd name="T46" fmla="*/ 0 w 453"/>
                <a:gd name="T47" fmla="*/ 0 h 661"/>
                <a:gd name="T48" fmla="*/ 0 w 453"/>
                <a:gd name="T49" fmla="*/ 0 h 661"/>
                <a:gd name="T50" fmla="*/ 0 w 453"/>
                <a:gd name="T51" fmla="*/ 0 h 661"/>
                <a:gd name="T52" fmla="*/ 0 w 453"/>
                <a:gd name="T53" fmla="*/ 0 h 661"/>
                <a:gd name="T54" fmla="*/ 0 w 453"/>
                <a:gd name="T55" fmla="*/ 0 h 661"/>
                <a:gd name="T56" fmla="*/ 0 w 453"/>
                <a:gd name="T57" fmla="*/ 0 h 661"/>
                <a:gd name="T58" fmla="*/ 0 w 453"/>
                <a:gd name="T59" fmla="*/ 0 h 661"/>
                <a:gd name="T60" fmla="*/ 0 w 453"/>
                <a:gd name="T61" fmla="*/ 0 h 661"/>
                <a:gd name="T62" fmla="*/ 0 w 453"/>
                <a:gd name="T63" fmla="*/ 0 h 661"/>
                <a:gd name="T64" fmla="*/ 0 w 453"/>
                <a:gd name="T65" fmla="*/ 0 h 661"/>
                <a:gd name="T66" fmla="*/ 0 w 453"/>
                <a:gd name="T67" fmla="*/ 0 h 661"/>
                <a:gd name="T68" fmla="*/ 0 w 453"/>
                <a:gd name="T69" fmla="*/ 0 h 661"/>
                <a:gd name="T70" fmla="*/ 0 w 453"/>
                <a:gd name="T71" fmla="*/ 0 h 661"/>
                <a:gd name="T72" fmla="*/ 0 w 453"/>
                <a:gd name="T73" fmla="*/ 0 h 661"/>
                <a:gd name="T74" fmla="*/ 0 w 453"/>
                <a:gd name="T75" fmla="*/ 0 h 661"/>
                <a:gd name="T76" fmla="*/ 0 w 453"/>
                <a:gd name="T77" fmla="*/ 0 h 661"/>
                <a:gd name="T78" fmla="*/ 0 w 453"/>
                <a:gd name="T79" fmla="*/ 0 h 661"/>
                <a:gd name="T80" fmla="*/ 0 w 453"/>
                <a:gd name="T81" fmla="*/ 0 h 661"/>
                <a:gd name="T82" fmla="*/ 0 w 453"/>
                <a:gd name="T83" fmla="*/ 0 h 661"/>
                <a:gd name="T84" fmla="*/ 0 w 453"/>
                <a:gd name="T85" fmla="*/ 0 h 661"/>
                <a:gd name="T86" fmla="*/ 0 w 453"/>
                <a:gd name="T87" fmla="*/ 0 h 661"/>
                <a:gd name="T88" fmla="*/ 0 w 453"/>
                <a:gd name="T89" fmla="*/ 0 h 661"/>
                <a:gd name="T90" fmla="*/ 0 w 453"/>
                <a:gd name="T91" fmla="*/ 0 h 661"/>
                <a:gd name="T92" fmla="*/ 0 w 453"/>
                <a:gd name="T93" fmla="*/ 0 h 661"/>
                <a:gd name="T94" fmla="*/ 0 w 453"/>
                <a:gd name="T95" fmla="*/ 0 h 661"/>
                <a:gd name="T96" fmla="*/ 0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9" name="Freeform 1015"/>
            <p:cNvSpPr>
              <a:spLocks/>
            </p:cNvSpPr>
            <p:nvPr>
              <p:custDataLst>
                <p:tags r:id="rId287"/>
              </p:custDataLst>
            </p:nvPr>
          </p:nvSpPr>
          <p:spPr bwMode="auto">
            <a:xfrm>
              <a:off x="4557" y="1901"/>
              <a:ext cx="37" cy="36"/>
            </a:xfrm>
            <a:custGeom>
              <a:avLst/>
              <a:gdLst>
                <a:gd name="T0" fmla="*/ 0 w 126"/>
                <a:gd name="T1" fmla="*/ 0 h 105"/>
                <a:gd name="T2" fmla="*/ 0 w 126"/>
                <a:gd name="T3" fmla="*/ 0 h 105"/>
                <a:gd name="T4" fmla="*/ 0 w 126"/>
                <a:gd name="T5" fmla="*/ 0 h 105"/>
                <a:gd name="T6" fmla="*/ 0 w 126"/>
                <a:gd name="T7" fmla="*/ 0 h 105"/>
                <a:gd name="T8" fmla="*/ 0 w 126"/>
                <a:gd name="T9" fmla="*/ 0 h 105"/>
                <a:gd name="T10" fmla="*/ 0 w 126"/>
                <a:gd name="T11" fmla="*/ 0 h 105"/>
                <a:gd name="T12" fmla="*/ 0 w 126"/>
                <a:gd name="T13" fmla="*/ 0 h 105"/>
                <a:gd name="T14" fmla="*/ 0 w 126"/>
                <a:gd name="T15" fmla="*/ 0 h 105"/>
                <a:gd name="T16" fmla="*/ 0 w 126"/>
                <a:gd name="T17" fmla="*/ 0 h 105"/>
                <a:gd name="T18" fmla="*/ 0 w 126"/>
                <a:gd name="T19" fmla="*/ 0 h 105"/>
                <a:gd name="T20" fmla="*/ 0 w 126"/>
                <a:gd name="T21" fmla="*/ 0 h 105"/>
                <a:gd name="T22" fmla="*/ 0 w 126"/>
                <a:gd name="T23" fmla="*/ 0 h 105"/>
                <a:gd name="T24" fmla="*/ 0 w 126"/>
                <a:gd name="T25" fmla="*/ 0 h 105"/>
                <a:gd name="T26" fmla="*/ 0 w 126"/>
                <a:gd name="T27" fmla="*/ 0 h 105"/>
                <a:gd name="T28" fmla="*/ 0 w 126"/>
                <a:gd name="T29" fmla="*/ 0 h 105"/>
                <a:gd name="T30" fmla="*/ 0 w 126"/>
                <a:gd name="T31" fmla="*/ 0 h 105"/>
                <a:gd name="T32" fmla="*/ 0 w 126"/>
                <a:gd name="T33" fmla="*/ 0 h 105"/>
                <a:gd name="T34" fmla="*/ 0 w 126"/>
                <a:gd name="T35" fmla="*/ 0 h 105"/>
                <a:gd name="T36" fmla="*/ 0 w 126"/>
                <a:gd name="T37" fmla="*/ 0 h 105"/>
                <a:gd name="T38" fmla="*/ 0 w 126"/>
                <a:gd name="T39" fmla="*/ 0 h 105"/>
                <a:gd name="T40" fmla="*/ 0 w 126"/>
                <a:gd name="T41" fmla="*/ 0 h 105"/>
                <a:gd name="T42" fmla="*/ 0 w 126"/>
                <a:gd name="T43" fmla="*/ 0 h 105"/>
                <a:gd name="T44" fmla="*/ 0 w 126"/>
                <a:gd name="T45" fmla="*/ 0 h 105"/>
                <a:gd name="T46" fmla="*/ 0 w 126"/>
                <a:gd name="T47" fmla="*/ 0 h 105"/>
                <a:gd name="T48" fmla="*/ 0 w 126"/>
                <a:gd name="T49" fmla="*/ 0 h 105"/>
                <a:gd name="T50" fmla="*/ 0 w 126"/>
                <a:gd name="T51" fmla="*/ 0 h 105"/>
                <a:gd name="T52" fmla="*/ 0 w 126"/>
                <a:gd name="T53" fmla="*/ 0 h 105"/>
                <a:gd name="T54" fmla="*/ 0 w 126"/>
                <a:gd name="T55" fmla="*/ 0 h 105"/>
                <a:gd name="T56" fmla="*/ 0 w 126"/>
                <a:gd name="T57" fmla="*/ 0 h 105"/>
                <a:gd name="T58" fmla="*/ 0 w 126"/>
                <a:gd name="T59" fmla="*/ 0 h 105"/>
                <a:gd name="T60" fmla="*/ 0 w 126"/>
                <a:gd name="T61" fmla="*/ 0 h 105"/>
                <a:gd name="T62" fmla="*/ 0 w 126"/>
                <a:gd name="T63" fmla="*/ 0 h 105"/>
                <a:gd name="T64" fmla="*/ 0 w 126"/>
                <a:gd name="T65" fmla="*/ 0 h 105"/>
                <a:gd name="T66" fmla="*/ 0 w 126"/>
                <a:gd name="T67" fmla="*/ 0 h 105"/>
                <a:gd name="T68" fmla="*/ 0 w 126"/>
                <a:gd name="T69" fmla="*/ 0 h 105"/>
                <a:gd name="T70" fmla="*/ 0 w 126"/>
                <a:gd name="T71" fmla="*/ 0 h 105"/>
                <a:gd name="T72" fmla="*/ 0 w 126"/>
                <a:gd name="T73" fmla="*/ 0 h 105"/>
                <a:gd name="T74" fmla="*/ 0 w 126"/>
                <a:gd name="T75" fmla="*/ 0 h 105"/>
                <a:gd name="T76" fmla="*/ 0 w 126"/>
                <a:gd name="T77" fmla="*/ 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0" name="Freeform 1016"/>
            <p:cNvSpPr>
              <a:spLocks/>
            </p:cNvSpPr>
            <p:nvPr>
              <p:custDataLst>
                <p:tags r:id="rId288"/>
              </p:custDataLst>
            </p:nvPr>
          </p:nvSpPr>
          <p:spPr bwMode="auto">
            <a:xfrm>
              <a:off x="1387" y="2067"/>
              <a:ext cx="203" cy="330"/>
            </a:xfrm>
            <a:custGeom>
              <a:avLst/>
              <a:gdLst>
                <a:gd name="T0" fmla="*/ 0 w 684"/>
                <a:gd name="T1" fmla="*/ 0 h 998"/>
                <a:gd name="T2" fmla="*/ 0 w 684"/>
                <a:gd name="T3" fmla="*/ 0 h 998"/>
                <a:gd name="T4" fmla="*/ 0 w 684"/>
                <a:gd name="T5" fmla="*/ 0 h 998"/>
                <a:gd name="T6" fmla="*/ 0 w 684"/>
                <a:gd name="T7" fmla="*/ 0 h 998"/>
                <a:gd name="T8" fmla="*/ 0 w 684"/>
                <a:gd name="T9" fmla="*/ 0 h 998"/>
                <a:gd name="T10" fmla="*/ 0 w 684"/>
                <a:gd name="T11" fmla="*/ 0 h 998"/>
                <a:gd name="T12" fmla="*/ 0 w 684"/>
                <a:gd name="T13" fmla="*/ 0 h 998"/>
                <a:gd name="T14" fmla="*/ 0 w 684"/>
                <a:gd name="T15" fmla="*/ 0 h 998"/>
                <a:gd name="T16" fmla="*/ 0 w 684"/>
                <a:gd name="T17" fmla="*/ 0 h 998"/>
                <a:gd name="T18" fmla="*/ 0 w 684"/>
                <a:gd name="T19" fmla="*/ 0 h 998"/>
                <a:gd name="T20" fmla="*/ 0 w 684"/>
                <a:gd name="T21" fmla="*/ 0 h 998"/>
                <a:gd name="T22" fmla="*/ 0 w 684"/>
                <a:gd name="T23" fmla="*/ 0 h 998"/>
                <a:gd name="T24" fmla="*/ 0 w 684"/>
                <a:gd name="T25" fmla="*/ 0 h 998"/>
                <a:gd name="T26" fmla="*/ 0 w 684"/>
                <a:gd name="T27" fmla="*/ 0 h 998"/>
                <a:gd name="T28" fmla="*/ 0 w 684"/>
                <a:gd name="T29" fmla="*/ 0 h 998"/>
                <a:gd name="T30" fmla="*/ 0 w 684"/>
                <a:gd name="T31" fmla="*/ 0 h 998"/>
                <a:gd name="T32" fmla="*/ 0 w 684"/>
                <a:gd name="T33" fmla="*/ 0 h 998"/>
                <a:gd name="T34" fmla="*/ 0 w 684"/>
                <a:gd name="T35" fmla="*/ 0 h 998"/>
                <a:gd name="T36" fmla="*/ 0 w 684"/>
                <a:gd name="T37" fmla="*/ 0 h 998"/>
                <a:gd name="T38" fmla="*/ 0 w 684"/>
                <a:gd name="T39" fmla="*/ 0 h 998"/>
                <a:gd name="T40" fmla="*/ 0 w 684"/>
                <a:gd name="T41" fmla="*/ 0 h 998"/>
                <a:gd name="T42" fmla="*/ 0 w 684"/>
                <a:gd name="T43" fmla="*/ 0 h 998"/>
                <a:gd name="T44" fmla="*/ 0 w 684"/>
                <a:gd name="T45" fmla="*/ 0 h 998"/>
                <a:gd name="T46" fmla="*/ 0 w 684"/>
                <a:gd name="T47" fmla="*/ 0 h 998"/>
                <a:gd name="T48" fmla="*/ 0 w 684"/>
                <a:gd name="T49" fmla="*/ 0 h 998"/>
                <a:gd name="T50" fmla="*/ 0 w 684"/>
                <a:gd name="T51" fmla="*/ 0 h 998"/>
                <a:gd name="T52" fmla="*/ 0 w 684"/>
                <a:gd name="T53" fmla="*/ 0 h 998"/>
                <a:gd name="T54" fmla="*/ 0 w 684"/>
                <a:gd name="T55" fmla="*/ 0 h 998"/>
                <a:gd name="T56" fmla="*/ 0 w 684"/>
                <a:gd name="T57" fmla="*/ 0 h 998"/>
                <a:gd name="T58" fmla="*/ 0 w 684"/>
                <a:gd name="T59" fmla="*/ 0 h 998"/>
                <a:gd name="T60" fmla="*/ 0 w 684"/>
                <a:gd name="T61" fmla="*/ 0 h 998"/>
                <a:gd name="T62" fmla="*/ 0 w 684"/>
                <a:gd name="T63" fmla="*/ 0 h 998"/>
                <a:gd name="T64" fmla="*/ 0 w 684"/>
                <a:gd name="T65" fmla="*/ 0 h 998"/>
                <a:gd name="T66" fmla="*/ 0 w 684"/>
                <a:gd name="T67" fmla="*/ 0 h 998"/>
                <a:gd name="T68" fmla="*/ 0 w 684"/>
                <a:gd name="T69" fmla="*/ 0 h 998"/>
                <a:gd name="T70" fmla="*/ 0 w 684"/>
                <a:gd name="T71" fmla="*/ 0 h 998"/>
                <a:gd name="T72" fmla="*/ 0 w 684"/>
                <a:gd name="T73" fmla="*/ 0 h 998"/>
                <a:gd name="T74" fmla="*/ 0 w 684"/>
                <a:gd name="T75" fmla="*/ 0 h 998"/>
                <a:gd name="T76" fmla="*/ 0 w 684"/>
                <a:gd name="T77" fmla="*/ 0 h 998"/>
                <a:gd name="T78" fmla="*/ 0 w 684"/>
                <a:gd name="T79" fmla="*/ 0 h 998"/>
                <a:gd name="T80" fmla="*/ 0 w 684"/>
                <a:gd name="T81" fmla="*/ 0 h 998"/>
                <a:gd name="T82" fmla="*/ 0 w 684"/>
                <a:gd name="T83" fmla="*/ 0 h 998"/>
                <a:gd name="T84" fmla="*/ 0 w 684"/>
                <a:gd name="T85" fmla="*/ 0 h 998"/>
                <a:gd name="T86" fmla="*/ 0 w 684"/>
                <a:gd name="T87" fmla="*/ 0 h 998"/>
                <a:gd name="T88" fmla="*/ 0 w 684"/>
                <a:gd name="T89" fmla="*/ 0 h 998"/>
                <a:gd name="T90" fmla="*/ 0 w 684"/>
                <a:gd name="T91" fmla="*/ 0 h 998"/>
                <a:gd name="T92" fmla="*/ 0 w 684"/>
                <a:gd name="T93" fmla="*/ 0 h 998"/>
                <a:gd name="T94" fmla="*/ 0 w 684"/>
                <a:gd name="T95" fmla="*/ 0 h 998"/>
                <a:gd name="T96" fmla="*/ 0 w 684"/>
                <a:gd name="T97" fmla="*/ 0 h 998"/>
                <a:gd name="T98" fmla="*/ 0 w 684"/>
                <a:gd name="T99" fmla="*/ 0 h 998"/>
                <a:gd name="T100" fmla="*/ 0 w 684"/>
                <a:gd name="T101" fmla="*/ 0 h 998"/>
                <a:gd name="T102" fmla="*/ 0 w 684"/>
                <a:gd name="T103" fmla="*/ 0 h 998"/>
                <a:gd name="T104" fmla="*/ 0 w 684"/>
                <a:gd name="T105" fmla="*/ 0 h 998"/>
                <a:gd name="T106" fmla="*/ 0 w 684"/>
                <a:gd name="T107" fmla="*/ 0 h 998"/>
                <a:gd name="T108" fmla="*/ 0 w 684"/>
                <a:gd name="T109" fmla="*/ 0 h 998"/>
                <a:gd name="T110" fmla="*/ 0 w 684"/>
                <a:gd name="T111" fmla="*/ 0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1" name="Freeform 1017"/>
            <p:cNvSpPr>
              <a:spLocks/>
            </p:cNvSpPr>
            <p:nvPr>
              <p:custDataLst>
                <p:tags r:id="rId289"/>
              </p:custDataLst>
            </p:nvPr>
          </p:nvSpPr>
          <p:spPr bwMode="auto">
            <a:xfrm>
              <a:off x="2924" y="2236"/>
              <a:ext cx="128" cy="173"/>
            </a:xfrm>
            <a:custGeom>
              <a:avLst/>
              <a:gdLst>
                <a:gd name="T0" fmla="*/ 0 w 429"/>
                <a:gd name="T1" fmla="*/ 0 h 524"/>
                <a:gd name="T2" fmla="*/ 0 w 429"/>
                <a:gd name="T3" fmla="*/ 0 h 524"/>
                <a:gd name="T4" fmla="*/ 0 w 429"/>
                <a:gd name="T5" fmla="*/ 0 h 524"/>
                <a:gd name="T6" fmla="*/ 0 w 429"/>
                <a:gd name="T7" fmla="*/ 0 h 524"/>
                <a:gd name="T8" fmla="*/ 0 w 429"/>
                <a:gd name="T9" fmla="*/ 0 h 524"/>
                <a:gd name="T10" fmla="*/ 0 w 429"/>
                <a:gd name="T11" fmla="*/ 0 h 524"/>
                <a:gd name="T12" fmla="*/ 0 w 429"/>
                <a:gd name="T13" fmla="*/ 0 h 524"/>
                <a:gd name="T14" fmla="*/ 0 w 429"/>
                <a:gd name="T15" fmla="*/ 0 h 524"/>
                <a:gd name="T16" fmla="*/ 0 w 429"/>
                <a:gd name="T17" fmla="*/ 0 h 524"/>
                <a:gd name="T18" fmla="*/ 0 w 429"/>
                <a:gd name="T19" fmla="*/ 0 h 524"/>
                <a:gd name="T20" fmla="*/ 0 w 429"/>
                <a:gd name="T21" fmla="*/ 0 h 524"/>
                <a:gd name="T22" fmla="*/ 0 w 429"/>
                <a:gd name="T23" fmla="*/ 0 h 524"/>
                <a:gd name="T24" fmla="*/ 0 w 429"/>
                <a:gd name="T25" fmla="*/ 0 h 524"/>
                <a:gd name="T26" fmla="*/ 0 w 429"/>
                <a:gd name="T27" fmla="*/ 0 h 524"/>
                <a:gd name="T28" fmla="*/ 0 w 429"/>
                <a:gd name="T29" fmla="*/ 0 h 524"/>
                <a:gd name="T30" fmla="*/ 0 w 429"/>
                <a:gd name="T31" fmla="*/ 0 h 524"/>
                <a:gd name="T32" fmla="*/ 0 w 429"/>
                <a:gd name="T33" fmla="*/ 0 h 524"/>
                <a:gd name="T34" fmla="*/ 0 w 429"/>
                <a:gd name="T35" fmla="*/ 0 h 524"/>
                <a:gd name="T36" fmla="*/ 0 w 429"/>
                <a:gd name="T37" fmla="*/ 0 h 524"/>
                <a:gd name="T38" fmla="*/ 0 w 429"/>
                <a:gd name="T39" fmla="*/ 0 h 524"/>
                <a:gd name="T40" fmla="*/ 0 w 429"/>
                <a:gd name="T41" fmla="*/ 0 h 524"/>
                <a:gd name="T42" fmla="*/ 0 w 429"/>
                <a:gd name="T43" fmla="*/ 0 h 524"/>
                <a:gd name="T44" fmla="*/ 0 w 429"/>
                <a:gd name="T45" fmla="*/ 0 h 524"/>
                <a:gd name="T46" fmla="*/ 0 w 429"/>
                <a:gd name="T47" fmla="*/ 0 h 524"/>
                <a:gd name="T48" fmla="*/ 0 w 429"/>
                <a:gd name="T49" fmla="*/ 0 h 524"/>
                <a:gd name="T50" fmla="*/ 0 w 429"/>
                <a:gd name="T51" fmla="*/ 0 h 524"/>
                <a:gd name="T52" fmla="*/ 0 w 429"/>
                <a:gd name="T53" fmla="*/ 0 h 524"/>
                <a:gd name="T54" fmla="*/ 0 w 429"/>
                <a:gd name="T55" fmla="*/ 0 h 524"/>
                <a:gd name="T56" fmla="*/ 0 w 429"/>
                <a:gd name="T57" fmla="*/ 0 h 524"/>
                <a:gd name="T58" fmla="*/ 0 w 429"/>
                <a:gd name="T59" fmla="*/ 0 h 524"/>
                <a:gd name="T60" fmla="*/ 0 w 429"/>
                <a:gd name="T61" fmla="*/ 0 h 524"/>
                <a:gd name="T62" fmla="*/ 0 w 429"/>
                <a:gd name="T63" fmla="*/ 0 h 524"/>
                <a:gd name="T64" fmla="*/ 0 w 429"/>
                <a:gd name="T65" fmla="*/ 0 h 524"/>
                <a:gd name="T66" fmla="*/ 0 w 429"/>
                <a:gd name="T67" fmla="*/ 0 h 524"/>
                <a:gd name="T68" fmla="*/ 0 w 429"/>
                <a:gd name="T69" fmla="*/ 0 h 524"/>
                <a:gd name="T70" fmla="*/ 0 w 429"/>
                <a:gd name="T71" fmla="*/ 0 h 524"/>
                <a:gd name="T72" fmla="*/ 0 w 429"/>
                <a:gd name="T73" fmla="*/ 0 h 524"/>
                <a:gd name="T74" fmla="*/ 0 w 429"/>
                <a:gd name="T75" fmla="*/ 0 h 524"/>
                <a:gd name="T76" fmla="*/ 0 w 429"/>
                <a:gd name="T77" fmla="*/ 0 h 524"/>
                <a:gd name="T78" fmla="*/ 0 w 429"/>
                <a:gd name="T79" fmla="*/ 0 h 524"/>
                <a:gd name="T80" fmla="*/ 0 w 429"/>
                <a:gd name="T81" fmla="*/ 0 h 524"/>
                <a:gd name="T82" fmla="*/ 0 w 429"/>
                <a:gd name="T83" fmla="*/ 0 h 524"/>
                <a:gd name="T84" fmla="*/ 0 w 429"/>
                <a:gd name="T85" fmla="*/ 0 h 524"/>
                <a:gd name="T86" fmla="*/ 0 w 429"/>
                <a:gd name="T87" fmla="*/ 0 h 524"/>
                <a:gd name="T88" fmla="*/ 0 w 429"/>
                <a:gd name="T89" fmla="*/ 0 h 524"/>
                <a:gd name="T90" fmla="*/ 0 w 429"/>
                <a:gd name="T91" fmla="*/ 0 h 524"/>
                <a:gd name="T92" fmla="*/ 0 w 429"/>
                <a:gd name="T93" fmla="*/ 0 h 524"/>
                <a:gd name="T94" fmla="*/ 0 w 429"/>
                <a:gd name="T95" fmla="*/ 0 h 524"/>
                <a:gd name="T96" fmla="*/ 0 w 429"/>
                <a:gd name="T97" fmla="*/ 0 h 524"/>
                <a:gd name="T98" fmla="*/ 0 w 429"/>
                <a:gd name="T99" fmla="*/ 0 h 524"/>
                <a:gd name="T100" fmla="*/ 0 w 429"/>
                <a:gd name="T101" fmla="*/ 0 h 524"/>
                <a:gd name="T102" fmla="*/ 0 w 429"/>
                <a:gd name="T103" fmla="*/ 0 h 524"/>
                <a:gd name="T104" fmla="*/ 0 w 429"/>
                <a:gd name="T105" fmla="*/ 0 h 524"/>
                <a:gd name="T106" fmla="*/ 0 w 429"/>
                <a:gd name="T107" fmla="*/ 0 h 524"/>
                <a:gd name="T108" fmla="*/ 0 w 429"/>
                <a:gd name="T109" fmla="*/ 0 h 524"/>
                <a:gd name="T110" fmla="*/ 0 w 429"/>
                <a:gd name="T111" fmla="*/ 0 h 524"/>
                <a:gd name="T112" fmla="*/ 0 w 429"/>
                <a:gd name="T113" fmla="*/ 0 h 524"/>
                <a:gd name="T114" fmla="*/ 0 w 429"/>
                <a:gd name="T115" fmla="*/ 0 h 524"/>
                <a:gd name="T116" fmla="*/ 0 w 429"/>
                <a:gd name="T117" fmla="*/ 0 h 524"/>
                <a:gd name="T118" fmla="*/ 0 w 429"/>
                <a:gd name="T119" fmla="*/ 0 h 524"/>
                <a:gd name="T120" fmla="*/ 0 w 429"/>
                <a:gd name="T121" fmla="*/ 0 h 524"/>
                <a:gd name="T122" fmla="*/ 0 w 429"/>
                <a:gd name="T123" fmla="*/ 0 h 524"/>
                <a:gd name="T124" fmla="*/ 0 w 429"/>
                <a:gd name="T125" fmla="*/ 0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2" name="Freeform 1018"/>
            <p:cNvSpPr>
              <a:spLocks/>
            </p:cNvSpPr>
            <p:nvPr>
              <p:custDataLst>
                <p:tags r:id="rId290"/>
              </p:custDataLst>
            </p:nvPr>
          </p:nvSpPr>
          <p:spPr bwMode="auto">
            <a:xfrm>
              <a:off x="2946" y="1381"/>
              <a:ext cx="86" cy="72"/>
            </a:xfrm>
            <a:custGeom>
              <a:avLst/>
              <a:gdLst>
                <a:gd name="T0" fmla="*/ 0 w 292"/>
                <a:gd name="T1" fmla="*/ 0 h 223"/>
                <a:gd name="T2" fmla="*/ 0 w 292"/>
                <a:gd name="T3" fmla="*/ 0 h 223"/>
                <a:gd name="T4" fmla="*/ 0 w 292"/>
                <a:gd name="T5" fmla="*/ 0 h 223"/>
                <a:gd name="T6" fmla="*/ 0 w 292"/>
                <a:gd name="T7" fmla="*/ 0 h 223"/>
                <a:gd name="T8" fmla="*/ 0 w 292"/>
                <a:gd name="T9" fmla="*/ 0 h 223"/>
                <a:gd name="T10" fmla="*/ 0 w 292"/>
                <a:gd name="T11" fmla="*/ 0 h 223"/>
                <a:gd name="T12" fmla="*/ 0 w 292"/>
                <a:gd name="T13" fmla="*/ 0 h 223"/>
                <a:gd name="T14" fmla="*/ 0 w 292"/>
                <a:gd name="T15" fmla="*/ 0 h 223"/>
                <a:gd name="T16" fmla="*/ 0 w 292"/>
                <a:gd name="T17" fmla="*/ 0 h 223"/>
                <a:gd name="T18" fmla="*/ 0 w 292"/>
                <a:gd name="T19" fmla="*/ 0 h 223"/>
                <a:gd name="T20" fmla="*/ 0 w 292"/>
                <a:gd name="T21" fmla="*/ 0 h 223"/>
                <a:gd name="T22" fmla="*/ 0 w 292"/>
                <a:gd name="T23" fmla="*/ 0 h 223"/>
                <a:gd name="T24" fmla="*/ 0 w 292"/>
                <a:gd name="T25" fmla="*/ 0 h 223"/>
                <a:gd name="T26" fmla="*/ 0 w 292"/>
                <a:gd name="T27" fmla="*/ 0 h 223"/>
                <a:gd name="T28" fmla="*/ 0 w 292"/>
                <a:gd name="T29" fmla="*/ 0 h 223"/>
                <a:gd name="T30" fmla="*/ 0 w 292"/>
                <a:gd name="T31" fmla="*/ 0 h 223"/>
                <a:gd name="T32" fmla="*/ 0 w 292"/>
                <a:gd name="T33" fmla="*/ 0 h 223"/>
                <a:gd name="T34" fmla="*/ 0 w 292"/>
                <a:gd name="T35" fmla="*/ 0 h 223"/>
                <a:gd name="T36" fmla="*/ 0 w 292"/>
                <a:gd name="T37" fmla="*/ 0 h 223"/>
                <a:gd name="T38" fmla="*/ 0 w 292"/>
                <a:gd name="T39" fmla="*/ 0 h 223"/>
                <a:gd name="T40" fmla="*/ 0 w 292"/>
                <a:gd name="T41" fmla="*/ 0 h 223"/>
                <a:gd name="T42" fmla="*/ 0 w 292"/>
                <a:gd name="T43" fmla="*/ 0 h 223"/>
                <a:gd name="T44" fmla="*/ 0 w 292"/>
                <a:gd name="T45" fmla="*/ 0 h 223"/>
                <a:gd name="T46" fmla="*/ 0 w 292"/>
                <a:gd name="T47" fmla="*/ 0 h 223"/>
                <a:gd name="T48" fmla="*/ 0 w 292"/>
                <a:gd name="T49" fmla="*/ 0 h 223"/>
                <a:gd name="T50" fmla="*/ 0 w 292"/>
                <a:gd name="T51" fmla="*/ 0 h 223"/>
                <a:gd name="T52" fmla="*/ 0 w 292"/>
                <a:gd name="T53" fmla="*/ 0 h 223"/>
                <a:gd name="T54" fmla="*/ 0 w 292"/>
                <a:gd name="T55" fmla="*/ 0 h 223"/>
                <a:gd name="T56" fmla="*/ 0 w 292"/>
                <a:gd name="T57" fmla="*/ 0 h 223"/>
                <a:gd name="T58" fmla="*/ 0 w 292"/>
                <a:gd name="T59" fmla="*/ 0 h 223"/>
                <a:gd name="T60" fmla="*/ 0 w 292"/>
                <a:gd name="T61" fmla="*/ 0 h 223"/>
                <a:gd name="T62" fmla="*/ 0 w 292"/>
                <a:gd name="T63" fmla="*/ 0 h 223"/>
                <a:gd name="T64" fmla="*/ 0 w 292"/>
                <a:gd name="T65" fmla="*/ 0 h 223"/>
                <a:gd name="T66" fmla="*/ 0 w 292"/>
                <a:gd name="T67" fmla="*/ 0 h 223"/>
                <a:gd name="T68" fmla="*/ 0 w 292"/>
                <a:gd name="T69" fmla="*/ 0 h 223"/>
                <a:gd name="T70" fmla="*/ 0 w 292"/>
                <a:gd name="T71" fmla="*/ 0 h 223"/>
                <a:gd name="T72" fmla="*/ 0 w 292"/>
                <a:gd name="T73" fmla="*/ 0 h 223"/>
                <a:gd name="T74" fmla="*/ 0 w 292"/>
                <a:gd name="T75" fmla="*/ 0 h 223"/>
                <a:gd name="T76" fmla="*/ 0 w 292"/>
                <a:gd name="T77" fmla="*/ 0 h 223"/>
                <a:gd name="T78" fmla="*/ 0 w 292"/>
                <a:gd name="T79" fmla="*/ 0 h 223"/>
                <a:gd name="T80" fmla="*/ 0 w 292"/>
                <a:gd name="T81" fmla="*/ 0 h 223"/>
                <a:gd name="T82" fmla="*/ 0 w 292"/>
                <a:gd name="T83" fmla="*/ 0 h 223"/>
                <a:gd name="T84" fmla="*/ 0 w 292"/>
                <a:gd name="T85" fmla="*/ 0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3" name="Freeform 1019"/>
            <p:cNvSpPr>
              <a:spLocks/>
            </p:cNvSpPr>
            <p:nvPr>
              <p:custDataLst>
                <p:tags r:id="rId291"/>
              </p:custDataLst>
            </p:nvPr>
          </p:nvSpPr>
          <p:spPr bwMode="auto">
            <a:xfrm>
              <a:off x="2912" y="1292"/>
              <a:ext cx="115" cy="49"/>
            </a:xfrm>
            <a:custGeom>
              <a:avLst/>
              <a:gdLst>
                <a:gd name="T0" fmla="*/ 0 w 379"/>
                <a:gd name="T1" fmla="*/ 0 h 147"/>
                <a:gd name="T2" fmla="*/ 0 w 379"/>
                <a:gd name="T3" fmla="*/ 0 h 147"/>
                <a:gd name="T4" fmla="*/ 0 w 379"/>
                <a:gd name="T5" fmla="*/ 0 h 147"/>
                <a:gd name="T6" fmla="*/ 0 w 379"/>
                <a:gd name="T7" fmla="*/ 0 h 147"/>
                <a:gd name="T8" fmla="*/ 0 w 379"/>
                <a:gd name="T9" fmla="*/ 0 h 147"/>
                <a:gd name="T10" fmla="*/ 0 w 379"/>
                <a:gd name="T11" fmla="*/ 0 h 147"/>
                <a:gd name="T12" fmla="*/ 0 w 379"/>
                <a:gd name="T13" fmla="*/ 0 h 147"/>
                <a:gd name="T14" fmla="*/ 0 w 379"/>
                <a:gd name="T15" fmla="*/ 0 h 147"/>
                <a:gd name="T16" fmla="*/ 0 w 379"/>
                <a:gd name="T17" fmla="*/ 0 h 147"/>
                <a:gd name="T18" fmla="*/ 0 w 379"/>
                <a:gd name="T19" fmla="*/ 0 h 147"/>
                <a:gd name="T20" fmla="*/ 0 w 379"/>
                <a:gd name="T21" fmla="*/ 0 h 147"/>
                <a:gd name="T22" fmla="*/ 0 w 379"/>
                <a:gd name="T23" fmla="*/ 0 h 147"/>
                <a:gd name="T24" fmla="*/ 0 w 379"/>
                <a:gd name="T25" fmla="*/ 0 h 147"/>
                <a:gd name="T26" fmla="*/ 0 w 379"/>
                <a:gd name="T27" fmla="*/ 0 h 147"/>
                <a:gd name="T28" fmla="*/ 0 w 379"/>
                <a:gd name="T29" fmla="*/ 0 h 147"/>
                <a:gd name="T30" fmla="*/ 0 w 379"/>
                <a:gd name="T31" fmla="*/ 0 h 147"/>
                <a:gd name="T32" fmla="*/ 0 w 379"/>
                <a:gd name="T33" fmla="*/ 0 h 147"/>
                <a:gd name="T34" fmla="*/ 0 w 379"/>
                <a:gd name="T35" fmla="*/ 0 h 147"/>
                <a:gd name="T36" fmla="*/ 0 w 379"/>
                <a:gd name="T37" fmla="*/ 0 h 147"/>
                <a:gd name="T38" fmla="*/ 0 w 379"/>
                <a:gd name="T39" fmla="*/ 0 h 147"/>
                <a:gd name="T40" fmla="*/ 0 w 379"/>
                <a:gd name="T41" fmla="*/ 0 h 147"/>
                <a:gd name="T42" fmla="*/ 0 w 379"/>
                <a:gd name="T43" fmla="*/ 0 h 147"/>
                <a:gd name="T44" fmla="*/ 0 w 379"/>
                <a:gd name="T45" fmla="*/ 0 h 147"/>
                <a:gd name="T46" fmla="*/ 0 w 379"/>
                <a:gd name="T47" fmla="*/ 0 h 147"/>
                <a:gd name="T48" fmla="*/ 0 w 379"/>
                <a:gd name="T49" fmla="*/ 0 h 147"/>
                <a:gd name="T50" fmla="*/ 0 w 379"/>
                <a:gd name="T51" fmla="*/ 0 h 147"/>
                <a:gd name="T52" fmla="*/ 0 w 379"/>
                <a:gd name="T53" fmla="*/ 0 h 147"/>
                <a:gd name="T54" fmla="*/ 0 w 379"/>
                <a:gd name="T55" fmla="*/ 0 h 147"/>
                <a:gd name="T56" fmla="*/ 0 w 379"/>
                <a:gd name="T57" fmla="*/ 0 h 147"/>
                <a:gd name="T58" fmla="*/ 0 w 379"/>
                <a:gd name="T59" fmla="*/ 0 h 147"/>
                <a:gd name="T60" fmla="*/ 0 w 379"/>
                <a:gd name="T61" fmla="*/ 0 h 147"/>
                <a:gd name="T62" fmla="*/ 0 w 379"/>
                <a:gd name="T63" fmla="*/ 0 h 147"/>
                <a:gd name="T64" fmla="*/ 0 w 379"/>
                <a:gd name="T65" fmla="*/ 0 h 147"/>
                <a:gd name="T66" fmla="*/ 0 w 379"/>
                <a:gd name="T67" fmla="*/ 0 h 147"/>
                <a:gd name="T68" fmla="*/ 0 w 379"/>
                <a:gd name="T69" fmla="*/ 0 h 147"/>
                <a:gd name="T70" fmla="*/ 0 w 379"/>
                <a:gd name="T71" fmla="*/ 0 h 147"/>
                <a:gd name="T72" fmla="*/ 0 w 379"/>
                <a:gd name="T73" fmla="*/ 0 h 147"/>
                <a:gd name="T74" fmla="*/ 0 w 379"/>
                <a:gd name="T75" fmla="*/ 0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4" name="Freeform 1020"/>
            <p:cNvSpPr>
              <a:spLocks/>
            </p:cNvSpPr>
            <p:nvPr>
              <p:custDataLst>
                <p:tags r:id="rId292"/>
              </p:custDataLst>
            </p:nvPr>
          </p:nvSpPr>
          <p:spPr bwMode="auto">
            <a:xfrm>
              <a:off x="2887" y="1201"/>
              <a:ext cx="21" cy="38"/>
            </a:xfrm>
            <a:custGeom>
              <a:avLst/>
              <a:gdLst>
                <a:gd name="T0" fmla="*/ 0 w 61"/>
                <a:gd name="T1" fmla="*/ 0 h 67"/>
                <a:gd name="T2" fmla="*/ 0 w 61"/>
                <a:gd name="T3" fmla="*/ 1 h 67"/>
                <a:gd name="T4" fmla="*/ 0 w 61"/>
                <a:gd name="T5" fmla="*/ 1 h 67"/>
                <a:gd name="T6" fmla="*/ 0 w 61"/>
                <a:gd name="T7" fmla="*/ 1 h 67"/>
                <a:gd name="T8" fmla="*/ 0 w 61"/>
                <a:gd name="T9" fmla="*/ 1 h 67"/>
                <a:gd name="T10" fmla="*/ 0 w 61"/>
                <a:gd name="T11" fmla="*/ 1 h 67"/>
                <a:gd name="T12" fmla="*/ 0 w 61"/>
                <a:gd name="T13" fmla="*/ 1 h 67"/>
                <a:gd name="T14" fmla="*/ 0 w 61"/>
                <a:gd name="T15" fmla="*/ 1 h 67"/>
                <a:gd name="T16" fmla="*/ 0 w 61"/>
                <a:gd name="T17" fmla="*/ 1 h 67"/>
                <a:gd name="T18" fmla="*/ 0 w 61"/>
                <a:gd name="T19" fmla="*/ 1 h 67"/>
                <a:gd name="T20" fmla="*/ 0 w 61"/>
                <a:gd name="T21" fmla="*/ 1 h 67"/>
                <a:gd name="T22" fmla="*/ 0 w 61"/>
                <a:gd name="T23" fmla="*/ 1 h 67"/>
                <a:gd name="T24" fmla="*/ 0 w 61"/>
                <a:gd name="T25" fmla="*/ 1 h 67"/>
                <a:gd name="T26" fmla="*/ 0 w 61"/>
                <a:gd name="T27" fmla="*/ 1 h 67"/>
                <a:gd name="T28" fmla="*/ 0 w 61"/>
                <a:gd name="T29" fmla="*/ 1 h 67"/>
                <a:gd name="T30" fmla="*/ 0 w 61"/>
                <a:gd name="T31" fmla="*/ 1 h 67"/>
                <a:gd name="T32" fmla="*/ 0 w 61"/>
                <a:gd name="T33" fmla="*/ 1 h 67"/>
                <a:gd name="T34" fmla="*/ 0 w 61"/>
                <a:gd name="T35" fmla="*/ 1 h 67"/>
                <a:gd name="T36" fmla="*/ 0 w 61"/>
                <a:gd name="T37" fmla="*/ 0 h 67"/>
                <a:gd name="T38" fmla="*/ 0 w 61"/>
                <a:gd name="T39" fmla="*/ 1 h 67"/>
                <a:gd name="T40" fmla="*/ 0 w 61"/>
                <a:gd name="T41" fmla="*/ 1 h 67"/>
                <a:gd name="T42" fmla="*/ 0 w 61"/>
                <a:gd name="T43" fmla="*/ 1 h 67"/>
                <a:gd name="T44" fmla="*/ 0 w 61"/>
                <a:gd name="T45" fmla="*/ 1 h 67"/>
                <a:gd name="T46" fmla="*/ 0 w 61"/>
                <a:gd name="T47" fmla="*/ 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5" name="Freeform 1021"/>
            <p:cNvSpPr>
              <a:spLocks/>
            </p:cNvSpPr>
            <p:nvPr>
              <p:custDataLst>
                <p:tags r:id="rId293"/>
              </p:custDataLst>
            </p:nvPr>
          </p:nvSpPr>
          <p:spPr bwMode="auto">
            <a:xfrm>
              <a:off x="2868" y="1204"/>
              <a:ext cx="17" cy="37"/>
            </a:xfrm>
            <a:custGeom>
              <a:avLst/>
              <a:gdLst>
                <a:gd name="T0" fmla="*/ 0 w 60"/>
                <a:gd name="T1" fmla="*/ 1 h 55"/>
                <a:gd name="T2" fmla="*/ 0 w 60"/>
                <a:gd name="T3" fmla="*/ 1 h 55"/>
                <a:gd name="T4" fmla="*/ 0 w 60"/>
                <a:gd name="T5" fmla="*/ 1 h 55"/>
                <a:gd name="T6" fmla="*/ 0 w 60"/>
                <a:gd name="T7" fmla="*/ 1 h 55"/>
                <a:gd name="T8" fmla="*/ 0 w 60"/>
                <a:gd name="T9" fmla="*/ 1 h 55"/>
                <a:gd name="T10" fmla="*/ 0 w 60"/>
                <a:gd name="T11" fmla="*/ 1 h 55"/>
                <a:gd name="T12" fmla="*/ 0 w 60"/>
                <a:gd name="T13" fmla="*/ 1 h 55"/>
                <a:gd name="T14" fmla="*/ 0 w 60"/>
                <a:gd name="T15" fmla="*/ 1 h 55"/>
                <a:gd name="T16" fmla="*/ 0 w 60"/>
                <a:gd name="T17" fmla="*/ 1 h 55"/>
                <a:gd name="T18" fmla="*/ 0 w 60"/>
                <a:gd name="T19" fmla="*/ 1 h 55"/>
                <a:gd name="T20" fmla="*/ 0 w 60"/>
                <a:gd name="T21" fmla="*/ 1 h 55"/>
                <a:gd name="T22" fmla="*/ 0 w 60"/>
                <a:gd name="T23" fmla="*/ 1 h 55"/>
                <a:gd name="T24" fmla="*/ 0 w 60"/>
                <a:gd name="T25" fmla="*/ 1 h 55"/>
                <a:gd name="T26" fmla="*/ 0 w 60"/>
                <a:gd name="T27" fmla="*/ 1 h 55"/>
                <a:gd name="T28" fmla="*/ 0 w 60"/>
                <a:gd name="T29" fmla="*/ 1 h 55"/>
                <a:gd name="T30" fmla="*/ 0 w 60"/>
                <a:gd name="T31" fmla="*/ 1 h 55"/>
                <a:gd name="T32" fmla="*/ 0 w 60"/>
                <a:gd name="T33" fmla="*/ 1 h 55"/>
                <a:gd name="T34" fmla="*/ 0 w 60"/>
                <a:gd name="T35" fmla="*/ 0 h 55"/>
                <a:gd name="T36" fmla="*/ 0 w 60"/>
                <a:gd name="T37" fmla="*/ 1 h 55"/>
                <a:gd name="T38" fmla="*/ 0 w 60"/>
                <a:gd name="T39" fmla="*/ 1 h 55"/>
                <a:gd name="T40" fmla="*/ 0 w 60"/>
                <a:gd name="T41" fmla="*/ 1 h 55"/>
                <a:gd name="T42" fmla="*/ 0 w 60"/>
                <a:gd name="T43" fmla="*/ 1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6" name="Freeform 1022"/>
            <p:cNvSpPr>
              <a:spLocks/>
            </p:cNvSpPr>
            <p:nvPr>
              <p:custDataLst>
                <p:tags r:id="rId294"/>
              </p:custDataLst>
            </p:nvPr>
          </p:nvSpPr>
          <p:spPr bwMode="auto">
            <a:xfrm>
              <a:off x="2847" y="1170"/>
              <a:ext cx="36" cy="49"/>
            </a:xfrm>
            <a:custGeom>
              <a:avLst/>
              <a:gdLst>
                <a:gd name="T0" fmla="*/ 0 w 120"/>
                <a:gd name="T1" fmla="*/ 0 h 148"/>
                <a:gd name="T2" fmla="*/ 0 w 120"/>
                <a:gd name="T3" fmla="*/ 0 h 148"/>
                <a:gd name="T4" fmla="*/ 0 w 120"/>
                <a:gd name="T5" fmla="*/ 0 h 148"/>
                <a:gd name="T6" fmla="*/ 0 w 120"/>
                <a:gd name="T7" fmla="*/ 0 h 148"/>
                <a:gd name="T8" fmla="*/ 0 w 120"/>
                <a:gd name="T9" fmla="*/ 0 h 148"/>
                <a:gd name="T10" fmla="*/ 0 w 120"/>
                <a:gd name="T11" fmla="*/ 0 h 148"/>
                <a:gd name="T12" fmla="*/ 0 w 120"/>
                <a:gd name="T13" fmla="*/ 0 h 148"/>
                <a:gd name="T14" fmla="*/ 0 w 120"/>
                <a:gd name="T15" fmla="*/ 0 h 148"/>
                <a:gd name="T16" fmla="*/ 0 w 120"/>
                <a:gd name="T17" fmla="*/ 0 h 148"/>
                <a:gd name="T18" fmla="*/ 0 w 120"/>
                <a:gd name="T19" fmla="*/ 0 h 148"/>
                <a:gd name="T20" fmla="*/ 0 w 120"/>
                <a:gd name="T21" fmla="*/ 0 h 148"/>
                <a:gd name="T22" fmla="*/ 0 w 120"/>
                <a:gd name="T23" fmla="*/ 0 h 148"/>
                <a:gd name="T24" fmla="*/ 0 w 120"/>
                <a:gd name="T25" fmla="*/ 0 h 148"/>
                <a:gd name="T26" fmla="*/ 0 w 120"/>
                <a:gd name="T27" fmla="*/ 0 h 148"/>
                <a:gd name="T28" fmla="*/ 0 w 120"/>
                <a:gd name="T29" fmla="*/ 0 h 148"/>
                <a:gd name="T30" fmla="*/ 0 w 120"/>
                <a:gd name="T31" fmla="*/ 0 h 148"/>
                <a:gd name="T32" fmla="*/ 0 w 120"/>
                <a:gd name="T33" fmla="*/ 0 h 148"/>
                <a:gd name="T34" fmla="*/ 0 w 120"/>
                <a:gd name="T35" fmla="*/ 0 h 148"/>
                <a:gd name="T36" fmla="*/ 0 w 120"/>
                <a:gd name="T37" fmla="*/ 0 h 148"/>
                <a:gd name="T38" fmla="*/ 0 w 120"/>
                <a:gd name="T39" fmla="*/ 0 h 148"/>
                <a:gd name="T40" fmla="*/ 0 w 120"/>
                <a:gd name="T41" fmla="*/ 0 h 148"/>
                <a:gd name="T42" fmla="*/ 0 w 120"/>
                <a:gd name="T43" fmla="*/ 0 h 148"/>
                <a:gd name="T44" fmla="*/ 0 w 120"/>
                <a:gd name="T45" fmla="*/ 0 h 148"/>
                <a:gd name="T46" fmla="*/ 0 w 120"/>
                <a:gd name="T47" fmla="*/ 0 h 148"/>
                <a:gd name="T48" fmla="*/ 0 w 120"/>
                <a:gd name="T49" fmla="*/ 0 h 148"/>
                <a:gd name="T50" fmla="*/ 0 w 120"/>
                <a:gd name="T51" fmla="*/ 0 h 148"/>
                <a:gd name="T52" fmla="*/ 0 w 120"/>
                <a:gd name="T53" fmla="*/ 0 h 148"/>
                <a:gd name="T54" fmla="*/ 0 w 120"/>
                <a:gd name="T55" fmla="*/ 0 h 148"/>
                <a:gd name="T56" fmla="*/ 0 w 120"/>
                <a:gd name="T57" fmla="*/ 0 h 148"/>
                <a:gd name="T58" fmla="*/ 0 w 120"/>
                <a:gd name="T59" fmla="*/ 0 h 148"/>
                <a:gd name="T60" fmla="*/ 0 w 120"/>
                <a:gd name="T61" fmla="*/ 0 h 148"/>
                <a:gd name="T62" fmla="*/ 0 w 120"/>
                <a:gd name="T63" fmla="*/ 0 h 148"/>
                <a:gd name="T64" fmla="*/ 0 w 120"/>
                <a:gd name="T65" fmla="*/ 0 h 148"/>
                <a:gd name="T66" fmla="*/ 0 w 120"/>
                <a:gd name="T67" fmla="*/ 0 h 148"/>
                <a:gd name="T68" fmla="*/ 0 w 120"/>
                <a:gd name="T69" fmla="*/ 0 h 148"/>
                <a:gd name="T70" fmla="*/ 0 w 120"/>
                <a:gd name="T71" fmla="*/ 0 h 148"/>
                <a:gd name="T72" fmla="*/ 0 w 120"/>
                <a:gd name="T73" fmla="*/ 0 h 148"/>
                <a:gd name="T74" fmla="*/ 0 w 120"/>
                <a:gd name="T75" fmla="*/ 0 h 148"/>
                <a:gd name="T76" fmla="*/ 0 w 120"/>
                <a:gd name="T77" fmla="*/ 0 h 148"/>
                <a:gd name="T78" fmla="*/ 0 w 120"/>
                <a:gd name="T79" fmla="*/ 0 h 148"/>
                <a:gd name="T80" fmla="*/ 0 w 120"/>
                <a:gd name="T81" fmla="*/ 0 h 148"/>
                <a:gd name="T82" fmla="*/ 0 w 120"/>
                <a:gd name="T83" fmla="*/ 0 h 148"/>
                <a:gd name="T84" fmla="*/ 0 w 120"/>
                <a:gd name="T85" fmla="*/ 0 h 148"/>
                <a:gd name="T86" fmla="*/ 0 w 120"/>
                <a:gd name="T87" fmla="*/ 0 h 148"/>
                <a:gd name="T88" fmla="*/ 0 w 120"/>
                <a:gd name="T89" fmla="*/ 0 h 148"/>
                <a:gd name="T90" fmla="*/ 0 w 120"/>
                <a:gd name="T91" fmla="*/ 0 h 148"/>
                <a:gd name="T92" fmla="*/ 0 w 120"/>
                <a:gd name="T93" fmla="*/ 0 h 148"/>
                <a:gd name="T94" fmla="*/ 0 w 120"/>
                <a:gd name="T95" fmla="*/ 0 h 148"/>
                <a:gd name="T96" fmla="*/ 0 w 120"/>
                <a:gd name="T97" fmla="*/ 0 h 148"/>
                <a:gd name="T98" fmla="*/ 0 w 120"/>
                <a:gd name="T99" fmla="*/ 0 h 148"/>
                <a:gd name="T100" fmla="*/ 0 w 120"/>
                <a:gd name="T101" fmla="*/ 0 h 148"/>
                <a:gd name="T102" fmla="*/ 0 w 120"/>
                <a:gd name="T103" fmla="*/ 0 h 148"/>
                <a:gd name="T104" fmla="*/ 0 w 120"/>
                <a:gd name="T105" fmla="*/ 0 h 148"/>
                <a:gd name="T106" fmla="*/ 0 w 120"/>
                <a:gd name="T107" fmla="*/ 0 h 148"/>
                <a:gd name="T108" fmla="*/ 0 w 120"/>
                <a:gd name="T109" fmla="*/ 0 h 148"/>
                <a:gd name="T110" fmla="*/ 0 w 120"/>
                <a:gd name="T111" fmla="*/ 0 h 148"/>
                <a:gd name="T112" fmla="*/ 0 w 120"/>
                <a:gd name="T113" fmla="*/ 0 h 148"/>
                <a:gd name="T114" fmla="*/ 0 w 120"/>
                <a:gd name="T115" fmla="*/ 0 h 148"/>
                <a:gd name="T116" fmla="*/ 0 w 120"/>
                <a:gd name="T117" fmla="*/ 0 h 148"/>
                <a:gd name="T118" fmla="*/ 0 w 120"/>
                <a:gd name="T119" fmla="*/ 0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7" name="Freeform 1023"/>
            <p:cNvSpPr>
              <a:spLocks/>
            </p:cNvSpPr>
            <p:nvPr>
              <p:custDataLst>
                <p:tags r:id="rId295"/>
              </p:custDataLst>
            </p:nvPr>
          </p:nvSpPr>
          <p:spPr bwMode="auto">
            <a:xfrm>
              <a:off x="3142" y="1677"/>
              <a:ext cx="186" cy="194"/>
            </a:xfrm>
            <a:custGeom>
              <a:avLst/>
              <a:gdLst>
                <a:gd name="T0" fmla="*/ 0 w 631"/>
                <a:gd name="T1" fmla="*/ 0 h 592"/>
                <a:gd name="T2" fmla="*/ 0 w 631"/>
                <a:gd name="T3" fmla="*/ 0 h 592"/>
                <a:gd name="T4" fmla="*/ 0 w 631"/>
                <a:gd name="T5" fmla="*/ 0 h 592"/>
                <a:gd name="T6" fmla="*/ 0 w 631"/>
                <a:gd name="T7" fmla="*/ 0 h 592"/>
                <a:gd name="T8" fmla="*/ 0 w 631"/>
                <a:gd name="T9" fmla="*/ 0 h 592"/>
                <a:gd name="T10" fmla="*/ 0 w 631"/>
                <a:gd name="T11" fmla="*/ 0 h 592"/>
                <a:gd name="T12" fmla="*/ 0 w 631"/>
                <a:gd name="T13" fmla="*/ 0 h 592"/>
                <a:gd name="T14" fmla="*/ 0 w 631"/>
                <a:gd name="T15" fmla="*/ 0 h 592"/>
                <a:gd name="T16" fmla="*/ 0 w 631"/>
                <a:gd name="T17" fmla="*/ 0 h 592"/>
                <a:gd name="T18" fmla="*/ 0 w 631"/>
                <a:gd name="T19" fmla="*/ 0 h 592"/>
                <a:gd name="T20" fmla="*/ 0 w 631"/>
                <a:gd name="T21" fmla="*/ 0 h 592"/>
                <a:gd name="T22" fmla="*/ 0 w 631"/>
                <a:gd name="T23" fmla="*/ 0 h 592"/>
                <a:gd name="T24" fmla="*/ 0 w 631"/>
                <a:gd name="T25" fmla="*/ 0 h 592"/>
                <a:gd name="T26" fmla="*/ 0 w 631"/>
                <a:gd name="T27" fmla="*/ 0 h 592"/>
                <a:gd name="T28" fmla="*/ 0 w 631"/>
                <a:gd name="T29" fmla="*/ 0 h 592"/>
                <a:gd name="T30" fmla="*/ 0 w 631"/>
                <a:gd name="T31" fmla="*/ 0 h 592"/>
                <a:gd name="T32" fmla="*/ 0 w 631"/>
                <a:gd name="T33" fmla="*/ 0 h 592"/>
                <a:gd name="T34" fmla="*/ 0 w 631"/>
                <a:gd name="T35" fmla="*/ 0 h 592"/>
                <a:gd name="T36" fmla="*/ 0 w 631"/>
                <a:gd name="T37" fmla="*/ 0 h 592"/>
                <a:gd name="T38" fmla="*/ 0 w 631"/>
                <a:gd name="T39" fmla="*/ 0 h 592"/>
                <a:gd name="T40" fmla="*/ 0 w 631"/>
                <a:gd name="T41" fmla="*/ 0 h 592"/>
                <a:gd name="T42" fmla="*/ 0 w 631"/>
                <a:gd name="T43" fmla="*/ 0 h 592"/>
                <a:gd name="T44" fmla="*/ 0 w 631"/>
                <a:gd name="T45" fmla="*/ 0 h 592"/>
                <a:gd name="T46" fmla="*/ 0 w 631"/>
                <a:gd name="T47" fmla="*/ 0 h 592"/>
                <a:gd name="T48" fmla="*/ 0 w 631"/>
                <a:gd name="T49" fmla="*/ 0 h 592"/>
                <a:gd name="T50" fmla="*/ 0 w 631"/>
                <a:gd name="T51" fmla="*/ 0 h 592"/>
                <a:gd name="T52" fmla="*/ 0 w 631"/>
                <a:gd name="T53" fmla="*/ 0 h 592"/>
                <a:gd name="T54" fmla="*/ 0 w 631"/>
                <a:gd name="T55" fmla="*/ 0 h 592"/>
                <a:gd name="T56" fmla="*/ 0 w 631"/>
                <a:gd name="T57" fmla="*/ 0 h 592"/>
                <a:gd name="T58" fmla="*/ 0 w 631"/>
                <a:gd name="T59" fmla="*/ 0 h 592"/>
                <a:gd name="T60" fmla="*/ 0 w 631"/>
                <a:gd name="T61" fmla="*/ 0 h 592"/>
                <a:gd name="T62" fmla="*/ 0 w 631"/>
                <a:gd name="T63" fmla="*/ 0 h 592"/>
                <a:gd name="T64" fmla="*/ 0 w 631"/>
                <a:gd name="T65" fmla="*/ 0 h 592"/>
                <a:gd name="T66" fmla="*/ 0 w 631"/>
                <a:gd name="T67" fmla="*/ 0 h 592"/>
                <a:gd name="T68" fmla="*/ 0 w 631"/>
                <a:gd name="T69" fmla="*/ 0 h 592"/>
                <a:gd name="T70" fmla="*/ 0 w 631"/>
                <a:gd name="T71" fmla="*/ 0 h 592"/>
                <a:gd name="T72" fmla="*/ 0 w 631"/>
                <a:gd name="T73" fmla="*/ 0 h 592"/>
                <a:gd name="T74" fmla="*/ 0 w 631"/>
                <a:gd name="T75" fmla="*/ 0 h 592"/>
                <a:gd name="T76" fmla="*/ 0 w 631"/>
                <a:gd name="T77" fmla="*/ 0 h 592"/>
                <a:gd name="T78" fmla="*/ 0 w 631"/>
                <a:gd name="T79" fmla="*/ 0 h 592"/>
                <a:gd name="T80" fmla="*/ 0 w 631"/>
                <a:gd name="T81" fmla="*/ 0 h 592"/>
                <a:gd name="T82" fmla="*/ 0 w 631"/>
                <a:gd name="T83" fmla="*/ 0 h 592"/>
                <a:gd name="T84" fmla="*/ 0 w 631"/>
                <a:gd name="T85" fmla="*/ 0 h 592"/>
                <a:gd name="T86" fmla="*/ 0 w 631"/>
                <a:gd name="T87" fmla="*/ 0 h 592"/>
                <a:gd name="T88" fmla="*/ 0 w 631"/>
                <a:gd name="T89" fmla="*/ 0 h 592"/>
                <a:gd name="T90" fmla="*/ 0 w 631"/>
                <a:gd name="T91" fmla="*/ 0 h 592"/>
                <a:gd name="T92" fmla="*/ 0 w 631"/>
                <a:gd name="T93" fmla="*/ 0 h 592"/>
                <a:gd name="T94" fmla="*/ 0 w 631"/>
                <a:gd name="T95" fmla="*/ 0 h 592"/>
                <a:gd name="T96" fmla="*/ 0 w 631"/>
                <a:gd name="T97" fmla="*/ 0 h 592"/>
                <a:gd name="T98" fmla="*/ 0 w 631"/>
                <a:gd name="T99" fmla="*/ 0 h 592"/>
                <a:gd name="T100" fmla="*/ 0 w 631"/>
                <a:gd name="T101" fmla="*/ 0 h 592"/>
                <a:gd name="T102" fmla="*/ 0 w 631"/>
                <a:gd name="T103" fmla="*/ 0 h 592"/>
                <a:gd name="T104" fmla="*/ 0 w 631"/>
                <a:gd name="T105" fmla="*/ 0 h 592"/>
                <a:gd name="T106" fmla="*/ 0 w 631"/>
                <a:gd name="T107" fmla="*/ 0 h 592"/>
                <a:gd name="T108" fmla="*/ 0 w 631"/>
                <a:gd name="T109" fmla="*/ 0 h 592"/>
                <a:gd name="T110" fmla="*/ 0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8" name="Freeform 1024"/>
            <p:cNvSpPr>
              <a:spLocks/>
            </p:cNvSpPr>
            <p:nvPr>
              <p:custDataLst>
                <p:tags r:id="rId296"/>
              </p:custDataLst>
            </p:nvPr>
          </p:nvSpPr>
          <p:spPr bwMode="auto">
            <a:xfrm>
              <a:off x="2865" y="1447"/>
              <a:ext cx="12" cy="36"/>
            </a:xfrm>
            <a:custGeom>
              <a:avLst/>
              <a:gdLst>
                <a:gd name="T0" fmla="*/ 0 w 40"/>
                <a:gd name="T1" fmla="*/ 0 h 93"/>
                <a:gd name="T2" fmla="*/ 0 w 40"/>
                <a:gd name="T3" fmla="*/ 0 h 93"/>
                <a:gd name="T4" fmla="*/ 0 w 40"/>
                <a:gd name="T5" fmla="*/ 0 h 93"/>
                <a:gd name="T6" fmla="*/ 0 w 40"/>
                <a:gd name="T7" fmla="*/ 0 h 93"/>
                <a:gd name="T8" fmla="*/ 0 w 40"/>
                <a:gd name="T9" fmla="*/ 0 h 93"/>
                <a:gd name="T10" fmla="*/ 0 w 40"/>
                <a:gd name="T11" fmla="*/ 0 h 93"/>
                <a:gd name="T12" fmla="*/ 0 w 40"/>
                <a:gd name="T13" fmla="*/ 0 h 93"/>
                <a:gd name="T14" fmla="*/ 0 w 40"/>
                <a:gd name="T15" fmla="*/ 0 h 93"/>
                <a:gd name="T16" fmla="*/ 0 w 40"/>
                <a:gd name="T17" fmla="*/ 0 h 93"/>
                <a:gd name="T18" fmla="*/ 0 w 40"/>
                <a:gd name="T19" fmla="*/ 0 h 93"/>
                <a:gd name="T20" fmla="*/ 0 w 40"/>
                <a:gd name="T21" fmla="*/ 0 h 93"/>
                <a:gd name="T22" fmla="*/ 0 w 40"/>
                <a:gd name="T23" fmla="*/ 0 h 93"/>
                <a:gd name="T24" fmla="*/ 0 w 40"/>
                <a:gd name="T25" fmla="*/ 0 h 93"/>
                <a:gd name="T26" fmla="*/ 0 w 40"/>
                <a:gd name="T27" fmla="*/ 0 h 93"/>
                <a:gd name="T28" fmla="*/ 0 w 40"/>
                <a:gd name="T29" fmla="*/ 0 h 93"/>
                <a:gd name="T30" fmla="*/ 0 w 40"/>
                <a:gd name="T31" fmla="*/ 0 h 93"/>
                <a:gd name="T32" fmla="*/ 0 w 40"/>
                <a:gd name="T33" fmla="*/ 0 h 93"/>
                <a:gd name="T34" fmla="*/ 0 w 40"/>
                <a:gd name="T35" fmla="*/ 0 h 93"/>
                <a:gd name="T36" fmla="*/ 0 w 40"/>
                <a:gd name="T37" fmla="*/ 0 h 93"/>
                <a:gd name="T38" fmla="*/ 0 w 40"/>
                <a:gd name="T39" fmla="*/ 0 h 93"/>
                <a:gd name="T40" fmla="*/ 0 w 40"/>
                <a:gd name="T41" fmla="*/ 0 h 93"/>
                <a:gd name="T42" fmla="*/ 0 w 40"/>
                <a:gd name="T43" fmla="*/ 0 h 93"/>
                <a:gd name="T44" fmla="*/ 0 w 40"/>
                <a:gd name="T45" fmla="*/ 0 h 93"/>
                <a:gd name="T46" fmla="*/ 0 w 40"/>
                <a:gd name="T47" fmla="*/ 0 h 93"/>
                <a:gd name="T48" fmla="*/ 0 w 40"/>
                <a:gd name="T49" fmla="*/ 0 h 93"/>
                <a:gd name="T50" fmla="*/ 0 w 40"/>
                <a:gd name="T51" fmla="*/ 0 h 93"/>
                <a:gd name="T52" fmla="*/ 0 w 40"/>
                <a:gd name="T53" fmla="*/ 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9" name="Freeform 1025"/>
            <p:cNvSpPr>
              <a:spLocks/>
            </p:cNvSpPr>
            <p:nvPr>
              <p:custDataLst>
                <p:tags r:id="rId297"/>
              </p:custDataLst>
            </p:nvPr>
          </p:nvSpPr>
          <p:spPr bwMode="auto">
            <a:xfrm>
              <a:off x="2620" y="1290"/>
              <a:ext cx="201" cy="172"/>
            </a:xfrm>
            <a:custGeom>
              <a:avLst/>
              <a:gdLst>
                <a:gd name="T0" fmla="*/ 0 w 664"/>
                <a:gd name="T1" fmla="*/ 0 h 518"/>
                <a:gd name="T2" fmla="*/ 0 w 664"/>
                <a:gd name="T3" fmla="*/ 0 h 518"/>
                <a:gd name="T4" fmla="*/ 0 w 664"/>
                <a:gd name="T5" fmla="*/ 0 h 518"/>
                <a:gd name="T6" fmla="*/ 0 w 664"/>
                <a:gd name="T7" fmla="*/ 0 h 518"/>
                <a:gd name="T8" fmla="*/ 0 w 664"/>
                <a:gd name="T9" fmla="*/ 0 h 518"/>
                <a:gd name="T10" fmla="*/ 0 w 664"/>
                <a:gd name="T11" fmla="*/ 0 h 518"/>
                <a:gd name="T12" fmla="*/ 0 w 664"/>
                <a:gd name="T13" fmla="*/ 0 h 518"/>
                <a:gd name="T14" fmla="*/ 0 w 664"/>
                <a:gd name="T15" fmla="*/ 0 h 518"/>
                <a:gd name="T16" fmla="*/ 0 w 664"/>
                <a:gd name="T17" fmla="*/ 0 h 518"/>
                <a:gd name="T18" fmla="*/ 0 w 664"/>
                <a:gd name="T19" fmla="*/ 0 h 518"/>
                <a:gd name="T20" fmla="*/ 0 w 664"/>
                <a:gd name="T21" fmla="*/ 0 h 518"/>
                <a:gd name="T22" fmla="*/ 0 w 664"/>
                <a:gd name="T23" fmla="*/ 0 h 518"/>
                <a:gd name="T24" fmla="*/ 0 w 664"/>
                <a:gd name="T25" fmla="*/ 0 h 518"/>
                <a:gd name="T26" fmla="*/ 0 w 664"/>
                <a:gd name="T27" fmla="*/ 0 h 518"/>
                <a:gd name="T28" fmla="*/ 0 w 664"/>
                <a:gd name="T29" fmla="*/ 0 h 518"/>
                <a:gd name="T30" fmla="*/ 0 w 664"/>
                <a:gd name="T31" fmla="*/ 0 h 518"/>
                <a:gd name="T32" fmla="*/ 0 w 664"/>
                <a:gd name="T33" fmla="*/ 0 h 518"/>
                <a:gd name="T34" fmla="*/ 0 w 664"/>
                <a:gd name="T35" fmla="*/ 0 h 518"/>
                <a:gd name="T36" fmla="*/ 0 w 664"/>
                <a:gd name="T37" fmla="*/ 0 h 518"/>
                <a:gd name="T38" fmla="*/ 0 w 664"/>
                <a:gd name="T39" fmla="*/ 0 h 518"/>
                <a:gd name="T40" fmla="*/ 0 w 664"/>
                <a:gd name="T41" fmla="*/ 0 h 518"/>
                <a:gd name="T42" fmla="*/ 0 w 664"/>
                <a:gd name="T43" fmla="*/ 0 h 518"/>
                <a:gd name="T44" fmla="*/ 0 w 664"/>
                <a:gd name="T45" fmla="*/ 0 h 518"/>
                <a:gd name="T46" fmla="*/ 0 w 664"/>
                <a:gd name="T47" fmla="*/ 0 h 518"/>
                <a:gd name="T48" fmla="*/ 0 w 664"/>
                <a:gd name="T49" fmla="*/ 0 h 518"/>
                <a:gd name="T50" fmla="*/ 0 w 664"/>
                <a:gd name="T51" fmla="*/ 0 h 518"/>
                <a:gd name="T52" fmla="*/ 0 w 664"/>
                <a:gd name="T53" fmla="*/ 0 h 518"/>
                <a:gd name="T54" fmla="*/ 0 w 664"/>
                <a:gd name="T55" fmla="*/ 0 h 518"/>
                <a:gd name="T56" fmla="*/ 0 w 664"/>
                <a:gd name="T57" fmla="*/ 0 h 518"/>
                <a:gd name="T58" fmla="*/ 0 w 664"/>
                <a:gd name="T59" fmla="*/ 0 h 518"/>
                <a:gd name="T60" fmla="*/ 0 w 664"/>
                <a:gd name="T61" fmla="*/ 0 h 518"/>
                <a:gd name="T62" fmla="*/ 0 w 664"/>
                <a:gd name="T63" fmla="*/ 0 h 518"/>
                <a:gd name="T64" fmla="*/ 0 w 664"/>
                <a:gd name="T65" fmla="*/ 0 h 518"/>
                <a:gd name="T66" fmla="*/ 0 w 664"/>
                <a:gd name="T67" fmla="*/ 0 h 518"/>
                <a:gd name="T68" fmla="*/ 0 w 664"/>
                <a:gd name="T69" fmla="*/ 0 h 518"/>
                <a:gd name="T70" fmla="*/ 0 w 664"/>
                <a:gd name="T71" fmla="*/ 0 h 518"/>
                <a:gd name="T72" fmla="*/ 0 w 664"/>
                <a:gd name="T73" fmla="*/ 0 h 518"/>
                <a:gd name="T74" fmla="*/ 0 w 664"/>
                <a:gd name="T75" fmla="*/ 0 h 518"/>
                <a:gd name="T76" fmla="*/ 0 w 664"/>
                <a:gd name="T77" fmla="*/ 0 h 518"/>
                <a:gd name="T78" fmla="*/ 0 w 664"/>
                <a:gd name="T79" fmla="*/ 0 h 518"/>
                <a:gd name="T80" fmla="*/ 0 w 664"/>
                <a:gd name="T81" fmla="*/ 0 h 518"/>
                <a:gd name="T82" fmla="*/ 0 w 664"/>
                <a:gd name="T83" fmla="*/ 0 h 518"/>
                <a:gd name="T84" fmla="*/ 0 w 664"/>
                <a:gd name="T85" fmla="*/ 0 h 518"/>
                <a:gd name="T86" fmla="*/ 0 w 664"/>
                <a:gd name="T87" fmla="*/ 0 h 518"/>
                <a:gd name="T88" fmla="*/ 0 w 664"/>
                <a:gd name="T89" fmla="*/ 0 h 518"/>
                <a:gd name="T90" fmla="*/ 0 w 664"/>
                <a:gd name="T91" fmla="*/ 0 h 518"/>
                <a:gd name="T92" fmla="*/ 0 w 664"/>
                <a:gd name="T93" fmla="*/ 0 h 518"/>
                <a:gd name="T94" fmla="*/ 0 w 664"/>
                <a:gd name="T95" fmla="*/ 0 h 518"/>
                <a:gd name="T96" fmla="*/ 0 w 664"/>
                <a:gd name="T97" fmla="*/ 0 h 518"/>
                <a:gd name="T98" fmla="*/ 0 w 664"/>
                <a:gd name="T99" fmla="*/ 0 h 518"/>
                <a:gd name="T100" fmla="*/ 0 w 664"/>
                <a:gd name="T101" fmla="*/ 0 h 518"/>
                <a:gd name="T102" fmla="*/ 0 w 664"/>
                <a:gd name="T103" fmla="*/ 0 h 518"/>
                <a:gd name="T104" fmla="*/ 0 w 664"/>
                <a:gd name="T105" fmla="*/ 0 h 518"/>
                <a:gd name="T106" fmla="*/ 0 w 664"/>
                <a:gd name="T107" fmla="*/ 0 h 518"/>
                <a:gd name="T108" fmla="*/ 0 w 664"/>
                <a:gd name="T109" fmla="*/ 0 h 518"/>
                <a:gd name="T110" fmla="*/ 0 w 664"/>
                <a:gd name="T111" fmla="*/ 0 h 518"/>
                <a:gd name="T112" fmla="*/ 0 w 664"/>
                <a:gd name="T113" fmla="*/ 0 h 518"/>
                <a:gd name="T114" fmla="*/ 0 w 664"/>
                <a:gd name="T115" fmla="*/ 0 h 518"/>
                <a:gd name="T116" fmla="*/ 0 w 664"/>
                <a:gd name="T117" fmla="*/ 0 h 518"/>
                <a:gd name="T118" fmla="*/ 0 w 664"/>
                <a:gd name="T119" fmla="*/ 0 h 518"/>
                <a:gd name="T120" fmla="*/ 0 w 664"/>
                <a:gd name="T121" fmla="*/ 0 h 518"/>
                <a:gd name="T122" fmla="*/ 0 w 664"/>
                <a:gd name="T123" fmla="*/ 0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0" name="Freeform 1026"/>
            <p:cNvSpPr>
              <a:spLocks/>
            </p:cNvSpPr>
            <p:nvPr>
              <p:custDataLst>
                <p:tags r:id="rId298"/>
              </p:custDataLst>
            </p:nvPr>
          </p:nvSpPr>
          <p:spPr bwMode="auto">
            <a:xfrm>
              <a:off x="3357" y="1438"/>
              <a:ext cx="103" cy="52"/>
            </a:xfrm>
            <a:custGeom>
              <a:avLst/>
              <a:gdLst>
                <a:gd name="T0" fmla="*/ 0 w 352"/>
                <a:gd name="T1" fmla="*/ 0 h 153"/>
                <a:gd name="T2" fmla="*/ 0 w 352"/>
                <a:gd name="T3" fmla="*/ 0 h 153"/>
                <a:gd name="T4" fmla="*/ 0 w 352"/>
                <a:gd name="T5" fmla="*/ 0 h 153"/>
                <a:gd name="T6" fmla="*/ 0 w 352"/>
                <a:gd name="T7" fmla="*/ 0 h 153"/>
                <a:gd name="T8" fmla="*/ 0 w 352"/>
                <a:gd name="T9" fmla="*/ 0 h 153"/>
                <a:gd name="T10" fmla="*/ 0 w 352"/>
                <a:gd name="T11" fmla="*/ 0 h 153"/>
                <a:gd name="T12" fmla="*/ 0 w 352"/>
                <a:gd name="T13" fmla="*/ 0 h 153"/>
                <a:gd name="T14" fmla="*/ 0 w 352"/>
                <a:gd name="T15" fmla="*/ 0 h 153"/>
                <a:gd name="T16" fmla="*/ 0 w 352"/>
                <a:gd name="T17" fmla="*/ 0 h 153"/>
                <a:gd name="T18" fmla="*/ 0 w 352"/>
                <a:gd name="T19" fmla="*/ 0 h 153"/>
                <a:gd name="T20" fmla="*/ 0 w 352"/>
                <a:gd name="T21" fmla="*/ 0 h 153"/>
                <a:gd name="T22" fmla="*/ 0 w 352"/>
                <a:gd name="T23" fmla="*/ 0 h 153"/>
                <a:gd name="T24" fmla="*/ 0 w 352"/>
                <a:gd name="T25" fmla="*/ 0 h 153"/>
                <a:gd name="T26" fmla="*/ 0 w 352"/>
                <a:gd name="T27" fmla="*/ 0 h 153"/>
                <a:gd name="T28" fmla="*/ 0 w 352"/>
                <a:gd name="T29" fmla="*/ 0 h 153"/>
                <a:gd name="T30" fmla="*/ 0 w 352"/>
                <a:gd name="T31" fmla="*/ 0 h 153"/>
                <a:gd name="T32" fmla="*/ 0 w 352"/>
                <a:gd name="T33" fmla="*/ 0 h 153"/>
                <a:gd name="T34" fmla="*/ 0 w 352"/>
                <a:gd name="T35" fmla="*/ 0 h 153"/>
                <a:gd name="T36" fmla="*/ 0 w 352"/>
                <a:gd name="T37" fmla="*/ 0 h 153"/>
                <a:gd name="T38" fmla="*/ 0 w 352"/>
                <a:gd name="T39" fmla="*/ 0 h 153"/>
                <a:gd name="T40" fmla="*/ 0 w 352"/>
                <a:gd name="T41" fmla="*/ 0 h 153"/>
                <a:gd name="T42" fmla="*/ 0 w 352"/>
                <a:gd name="T43" fmla="*/ 0 h 153"/>
                <a:gd name="T44" fmla="*/ 0 w 352"/>
                <a:gd name="T45" fmla="*/ 0 h 153"/>
                <a:gd name="T46" fmla="*/ 0 w 352"/>
                <a:gd name="T47" fmla="*/ 0 h 153"/>
                <a:gd name="T48" fmla="*/ 0 w 352"/>
                <a:gd name="T49" fmla="*/ 0 h 153"/>
                <a:gd name="T50" fmla="*/ 0 w 352"/>
                <a:gd name="T51" fmla="*/ 0 h 153"/>
                <a:gd name="T52" fmla="*/ 0 w 352"/>
                <a:gd name="T53" fmla="*/ 0 h 153"/>
                <a:gd name="T54" fmla="*/ 0 w 352"/>
                <a:gd name="T55" fmla="*/ 0 h 153"/>
                <a:gd name="T56" fmla="*/ 0 w 352"/>
                <a:gd name="T57" fmla="*/ 0 h 153"/>
                <a:gd name="T58" fmla="*/ 0 w 352"/>
                <a:gd name="T59" fmla="*/ 0 h 153"/>
                <a:gd name="T60" fmla="*/ 0 w 352"/>
                <a:gd name="T61" fmla="*/ 0 h 153"/>
                <a:gd name="T62" fmla="*/ 0 w 352"/>
                <a:gd name="T63" fmla="*/ 0 h 153"/>
                <a:gd name="T64" fmla="*/ 0 w 352"/>
                <a:gd name="T65" fmla="*/ 0 h 153"/>
                <a:gd name="T66" fmla="*/ 0 w 352"/>
                <a:gd name="T67" fmla="*/ 0 h 153"/>
                <a:gd name="T68" fmla="*/ 0 w 352"/>
                <a:gd name="T69" fmla="*/ 0 h 153"/>
                <a:gd name="T70" fmla="*/ 0 w 352"/>
                <a:gd name="T71" fmla="*/ 0 h 153"/>
                <a:gd name="T72" fmla="*/ 0 w 352"/>
                <a:gd name="T73" fmla="*/ 0 h 153"/>
                <a:gd name="T74" fmla="*/ 0 w 352"/>
                <a:gd name="T75" fmla="*/ 0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1" name="Freeform 1027"/>
            <p:cNvSpPr>
              <a:spLocks/>
            </p:cNvSpPr>
            <p:nvPr>
              <p:custDataLst>
                <p:tags r:id="rId299"/>
              </p:custDataLst>
            </p:nvPr>
          </p:nvSpPr>
          <p:spPr bwMode="auto">
            <a:xfrm>
              <a:off x="3050" y="1476"/>
              <a:ext cx="100" cy="109"/>
            </a:xfrm>
            <a:custGeom>
              <a:avLst/>
              <a:gdLst>
                <a:gd name="T0" fmla="*/ 0 w 331"/>
                <a:gd name="T1" fmla="*/ 0 h 327"/>
                <a:gd name="T2" fmla="*/ 0 w 331"/>
                <a:gd name="T3" fmla="*/ 0 h 327"/>
                <a:gd name="T4" fmla="*/ 0 w 331"/>
                <a:gd name="T5" fmla="*/ 0 h 327"/>
                <a:gd name="T6" fmla="*/ 0 w 331"/>
                <a:gd name="T7" fmla="*/ 0 h 327"/>
                <a:gd name="T8" fmla="*/ 0 w 331"/>
                <a:gd name="T9" fmla="*/ 0 h 327"/>
                <a:gd name="T10" fmla="*/ 0 w 331"/>
                <a:gd name="T11" fmla="*/ 0 h 327"/>
                <a:gd name="T12" fmla="*/ 0 w 331"/>
                <a:gd name="T13" fmla="*/ 0 h 327"/>
                <a:gd name="T14" fmla="*/ 0 w 331"/>
                <a:gd name="T15" fmla="*/ 0 h 327"/>
                <a:gd name="T16" fmla="*/ 0 w 331"/>
                <a:gd name="T17" fmla="*/ 0 h 327"/>
                <a:gd name="T18" fmla="*/ 0 w 331"/>
                <a:gd name="T19" fmla="*/ 0 h 327"/>
                <a:gd name="T20" fmla="*/ 0 w 331"/>
                <a:gd name="T21" fmla="*/ 0 h 327"/>
                <a:gd name="T22" fmla="*/ 0 w 331"/>
                <a:gd name="T23" fmla="*/ 0 h 327"/>
                <a:gd name="T24" fmla="*/ 0 w 331"/>
                <a:gd name="T25" fmla="*/ 0 h 327"/>
                <a:gd name="T26" fmla="*/ 0 w 331"/>
                <a:gd name="T27" fmla="*/ 0 h 327"/>
                <a:gd name="T28" fmla="*/ 0 w 331"/>
                <a:gd name="T29" fmla="*/ 0 h 327"/>
                <a:gd name="T30" fmla="*/ 0 w 331"/>
                <a:gd name="T31" fmla="*/ 0 h 327"/>
                <a:gd name="T32" fmla="*/ 0 w 331"/>
                <a:gd name="T33" fmla="*/ 0 h 327"/>
                <a:gd name="T34" fmla="*/ 0 w 331"/>
                <a:gd name="T35" fmla="*/ 0 h 327"/>
                <a:gd name="T36" fmla="*/ 0 w 331"/>
                <a:gd name="T37" fmla="*/ 0 h 327"/>
                <a:gd name="T38" fmla="*/ 0 w 331"/>
                <a:gd name="T39" fmla="*/ 0 h 327"/>
                <a:gd name="T40" fmla="*/ 0 w 331"/>
                <a:gd name="T41" fmla="*/ 0 h 327"/>
                <a:gd name="T42" fmla="*/ 0 w 331"/>
                <a:gd name="T43" fmla="*/ 0 h 327"/>
                <a:gd name="T44" fmla="*/ 0 w 331"/>
                <a:gd name="T45" fmla="*/ 0 h 327"/>
                <a:gd name="T46" fmla="*/ 0 w 331"/>
                <a:gd name="T47" fmla="*/ 0 h 327"/>
                <a:gd name="T48" fmla="*/ 0 w 331"/>
                <a:gd name="T49" fmla="*/ 0 h 327"/>
                <a:gd name="T50" fmla="*/ 0 w 331"/>
                <a:gd name="T51" fmla="*/ 0 h 327"/>
                <a:gd name="T52" fmla="*/ 0 w 331"/>
                <a:gd name="T53" fmla="*/ 0 h 327"/>
                <a:gd name="T54" fmla="*/ 0 w 331"/>
                <a:gd name="T55" fmla="*/ 0 h 327"/>
                <a:gd name="T56" fmla="*/ 0 w 331"/>
                <a:gd name="T57" fmla="*/ 0 h 327"/>
                <a:gd name="T58" fmla="*/ 0 w 331"/>
                <a:gd name="T59" fmla="*/ 0 h 327"/>
                <a:gd name="T60" fmla="*/ 0 w 331"/>
                <a:gd name="T61" fmla="*/ 0 h 327"/>
                <a:gd name="T62" fmla="*/ 0 w 331"/>
                <a:gd name="T63" fmla="*/ 0 h 327"/>
                <a:gd name="T64" fmla="*/ 0 w 331"/>
                <a:gd name="T65" fmla="*/ 0 h 327"/>
                <a:gd name="T66" fmla="*/ 0 w 331"/>
                <a:gd name="T67" fmla="*/ 0 h 327"/>
                <a:gd name="T68" fmla="*/ 0 w 331"/>
                <a:gd name="T69" fmla="*/ 0 h 327"/>
                <a:gd name="T70" fmla="*/ 0 w 331"/>
                <a:gd name="T71" fmla="*/ 0 h 327"/>
                <a:gd name="T72" fmla="*/ 0 w 331"/>
                <a:gd name="T73" fmla="*/ 0 h 327"/>
                <a:gd name="T74" fmla="*/ 0 w 331"/>
                <a:gd name="T75" fmla="*/ 0 h 327"/>
                <a:gd name="T76" fmla="*/ 0 w 331"/>
                <a:gd name="T77" fmla="*/ 0 h 327"/>
                <a:gd name="T78" fmla="*/ 0 w 331"/>
                <a:gd name="T79" fmla="*/ 0 h 327"/>
                <a:gd name="T80" fmla="*/ 0 w 331"/>
                <a:gd name="T81" fmla="*/ 0 h 327"/>
                <a:gd name="T82" fmla="*/ 0 w 331"/>
                <a:gd name="T83" fmla="*/ 0 h 327"/>
                <a:gd name="T84" fmla="*/ 0 w 331"/>
                <a:gd name="T85" fmla="*/ 0 h 327"/>
                <a:gd name="T86" fmla="*/ 0 w 331"/>
                <a:gd name="T87" fmla="*/ 0 h 327"/>
                <a:gd name="T88" fmla="*/ 0 w 331"/>
                <a:gd name="T89" fmla="*/ 0 h 327"/>
                <a:gd name="T90" fmla="*/ 0 w 331"/>
                <a:gd name="T91" fmla="*/ 0 h 327"/>
                <a:gd name="T92" fmla="*/ 0 w 331"/>
                <a:gd name="T93" fmla="*/ 0 h 327"/>
                <a:gd name="T94" fmla="*/ 0 w 331"/>
                <a:gd name="T95" fmla="*/ 0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2" name="Freeform 1028"/>
            <p:cNvSpPr>
              <a:spLocks/>
            </p:cNvSpPr>
            <p:nvPr>
              <p:custDataLst>
                <p:tags r:id="rId300"/>
              </p:custDataLst>
            </p:nvPr>
          </p:nvSpPr>
          <p:spPr bwMode="auto">
            <a:xfrm>
              <a:off x="3107" y="1597"/>
              <a:ext cx="48" cy="36"/>
            </a:xfrm>
            <a:custGeom>
              <a:avLst/>
              <a:gdLst>
                <a:gd name="T0" fmla="*/ 0 w 153"/>
                <a:gd name="T1" fmla="*/ 0 h 49"/>
                <a:gd name="T2" fmla="*/ 0 w 153"/>
                <a:gd name="T3" fmla="*/ 1 h 49"/>
                <a:gd name="T4" fmla="*/ 0 w 153"/>
                <a:gd name="T5" fmla="*/ 1 h 49"/>
                <a:gd name="T6" fmla="*/ 0 w 153"/>
                <a:gd name="T7" fmla="*/ 1 h 49"/>
                <a:gd name="T8" fmla="*/ 0 w 153"/>
                <a:gd name="T9" fmla="*/ 1 h 49"/>
                <a:gd name="T10" fmla="*/ 0 w 153"/>
                <a:gd name="T11" fmla="*/ 1 h 49"/>
                <a:gd name="T12" fmla="*/ 0 w 153"/>
                <a:gd name="T13" fmla="*/ 1 h 49"/>
                <a:gd name="T14" fmla="*/ 0 w 153"/>
                <a:gd name="T15" fmla="*/ 1 h 49"/>
                <a:gd name="T16" fmla="*/ 0 w 153"/>
                <a:gd name="T17" fmla="*/ 0 h 49"/>
                <a:gd name="T18" fmla="*/ 0 w 153"/>
                <a:gd name="T19" fmla="*/ 1 h 49"/>
                <a:gd name="T20" fmla="*/ 0 w 153"/>
                <a:gd name="T21" fmla="*/ 1 h 49"/>
                <a:gd name="T22" fmla="*/ 0 w 153"/>
                <a:gd name="T23" fmla="*/ 1 h 49"/>
                <a:gd name="T24" fmla="*/ 0 w 153"/>
                <a:gd name="T25" fmla="*/ 1 h 49"/>
                <a:gd name="T26" fmla="*/ 0 w 153"/>
                <a:gd name="T27" fmla="*/ 1 h 49"/>
                <a:gd name="T28" fmla="*/ 0 w 153"/>
                <a:gd name="T29" fmla="*/ 1 h 49"/>
                <a:gd name="T30" fmla="*/ 0 w 153"/>
                <a:gd name="T31" fmla="*/ 1 h 49"/>
                <a:gd name="T32" fmla="*/ 0 w 153"/>
                <a:gd name="T33" fmla="*/ 1 h 49"/>
                <a:gd name="T34" fmla="*/ 0 w 153"/>
                <a:gd name="T35" fmla="*/ 1 h 49"/>
                <a:gd name="T36" fmla="*/ 0 w 153"/>
                <a:gd name="T37" fmla="*/ 1 h 49"/>
                <a:gd name="T38" fmla="*/ 0 w 153"/>
                <a:gd name="T39" fmla="*/ 1 h 49"/>
                <a:gd name="T40" fmla="*/ 0 w 153"/>
                <a:gd name="T41" fmla="*/ 1 h 49"/>
                <a:gd name="T42" fmla="*/ 0 w 153"/>
                <a:gd name="T43" fmla="*/ 1 h 49"/>
                <a:gd name="T44" fmla="*/ 0 w 153"/>
                <a:gd name="T45" fmla="*/ 1 h 49"/>
                <a:gd name="T46" fmla="*/ 0 w 153"/>
                <a:gd name="T47" fmla="*/ 1 h 49"/>
                <a:gd name="T48" fmla="*/ 0 w 153"/>
                <a:gd name="T49" fmla="*/ 1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3" name="Freeform 1029"/>
            <p:cNvSpPr>
              <a:spLocks/>
            </p:cNvSpPr>
            <p:nvPr>
              <p:custDataLst>
                <p:tags r:id="rId301"/>
              </p:custDataLst>
            </p:nvPr>
          </p:nvSpPr>
          <p:spPr bwMode="auto">
            <a:xfrm>
              <a:off x="2479" y="2058"/>
              <a:ext cx="128" cy="100"/>
            </a:xfrm>
            <a:custGeom>
              <a:avLst/>
              <a:gdLst>
                <a:gd name="T0" fmla="*/ 0 w 426"/>
                <a:gd name="T1" fmla="*/ 0 h 299"/>
                <a:gd name="T2" fmla="*/ 0 w 426"/>
                <a:gd name="T3" fmla="*/ 0 h 299"/>
                <a:gd name="T4" fmla="*/ 0 w 426"/>
                <a:gd name="T5" fmla="*/ 0 h 299"/>
                <a:gd name="T6" fmla="*/ 0 w 426"/>
                <a:gd name="T7" fmla="*/ 0 h 299"/>
                <a:gd name="T8" fmla="*/ 0 w 426"/>
                <a:gd name="T9" fmla="*/ 0 h 299"/>
                <a:gd name="T10" fmla="*/ 0 w 426"/>
                <a:gd name="T11" fmla="*/ 0 h 299"/>
                <a:gd name="T12" fmla="*/ 0 w 426"/>
                <a:gd name="T13" fmla="*/ 0 h 299"/>
                <a:gd name="T14" fmla="*/ 0 w 426"/>
                <a:gd name="T15" fmla="*/ 0 h 299"/>
                <a:gd name="T16" fmla="*/ 0 w 426"/>
                <a:gd name="T17" fmla="*/ 0 h 299"/>
                <a:gd name="T18" fmla="*/ 0 w 426"/>
                <a:gd name="T19" fmla="*/ 0 h 299"/>
                <a:gd name="T20" fmla="*/ 0 w 426"/>
                <a:gd name="T21" fmla="*/ 0 h 299"/>
                <a:gd name="T22" fmla="*/ 0 w 426"/>
                <a:gd name="T23" fmla="*/ 0 h 299"/>
                <a:gd name="T24" fmla="*/ 0 w 426"/>
                <a:gd name="T25" fmla="*/ 0 h 299"/>
                <a:gd name="T26" fmla="*/ 0 w 426"/>
                <a:gd name="T27" fmla="*/ 0 h 299"/>
                <a:gd name="T28" fmla="*/ 0 w 426"/>
                <a:gd name="T29" fmla="*/ 0 h 299"/>
                <a:gd name="T30" fmla="*/ 0 w 426"/>
                <a:gd name="T31" fmla="*/ 0 h 299"/>
                <a:gd name="T32" fmla="*/ 0 w 426"/>
                <a:gd name="T33" fmla="*/ 0 h 299"/>
                <a:gd name="T34" fmla="*/ 0 w 426"/>
                <a:gd name="T35" fmla="*/ 0 h 299"/>
                <a:gd name="T36" fmla="*/ 0 w 426"/>
                <a:gd name="T37" fmla="*/ 0 h 299"/>
                <a:gd name="T38" fmla="*/ 0 w 426"/>
                <a:gd name="T39" fmla="*/ 0 h 299"/>
                <a:gd name="T40" fmla="*/ 0 w 426"/>
                <a:gd name="T41" fmla="*/ 0 h 299"/>
                <a:gd name="T42" fmla="*/ 0 w 426"/>
                <a:gd name="T43" fmla="*/ 0 h 299"/>
                <a:gd name="T44" fmla="*/ 0 w 426"/>
                <a:gd name="T45" fmla="*/ 0 h 299"/>
                <a:gd name="T46" fmla="*/ 0 w 426"/>
                <a:gd name="T47" fmla="*/ 0 h 299"/>
                <a:gd name="T48" fmla="*/ 0 w 426"/>
                <a:gd name="T49" fmla="*/ 0 h 299"/>
                <a:gd name="T50" fmla="*/ 0 w 426"/>
                <a:gd name="T51" fmla="*/ 0 h 299"/>
                <a:gd name="T52" fmla="*/ 0 w 426"/>
                <a:gd name="T53" fmla="*/ 0 h 299"/>
                <a:gd name="T54" fmla="*/ 0 w 426"/>
                <a:gd name="T55" fmla="*/ 0 h 299"/>
                <a:gd name="T56" fmla="*/ 0 w 426"/>
                <a:gd name="T57" fmla="*/ 0 h 299"/>
                <a:gd name="T58" fmla="*/ 0 w 426"/>
                <a:gd name="T59" fmla="*/ 0 h 299"/>
                <a:gd name="T60" fmla="*/ 0 w 426"/>
                <a:gd name="T61" fmla="*/ 0 h 299"/>
                <a:gd name="T62" fmla="*/ 0 w 426"/>
                <a:gd name="T63" fmla="*/ 0 h 299"/>
                <a:gd name="T64" fmla="*/ 0 w 426"/>
                <a:gd name="T65" fmla="*/ 0 h 299"/>
                <a:gd name="T66" fmla="*/ 0 w 426"/>
                <a:gd name="T67" fmla="*/ 0 h 299"/>
                <a:gd name="T68" fmla="*/ 0 w 426"/>
                <a:gd name="T69" fmla="*/ 0 h 299"/>
                <a:gd name="T70" fmla="*/ 0 w 426"/>
                <a:gd name="T71" fmla="*/ 0 h 299"/>
                <a:gd name="T72" fmla="*/ 0 w 426"/>
                <a:gd name="T73" fmla="*/ 0 h 299"/>
                <a:gd name="T74" fmla="*/ 0 w 426"/>
                <a:gd name="T75" fmla="*/ 0 h 299"/>
                <a:gd name="T76" fmla="*/ 0 w 426"/>
                <a:gd name="T77" fmla="*/ 0 h 299"/>
                <a:gd name="T78" fmla="*/ 0 w 426"/>
                <a:gd name="T79" fmla="*/ 0 h 299"/>
                <a:gd name="T80" fmla="*/ 0 w 426"/>
                <a:gd name="T81" fmla="*/ 0 h 299"/>
                <a:gd name="T82" fmla="*/ 0 w 426"/>
                <a:gd name="T83" fmla="*/ 0 h 299"/>
                <a:gd name="T84" fmla="*/ 0 w 426"/>
                <a:gd name="T85" fmla="*/ 0 h 299"/>
                <a:gd name="T86" fmla="*/ 0 w 426"/>
                <a:gd name="T87" fmla="*/ 0 h 299"/>
                <a:gd name="T88" fmla="*/ 0 w 426"/>
                <a:gd name="T89" fmla="*/ 0 h 299"/>
                <a:gd name="T90" fmla="*/ 0 w 426"/>
                <a:gd name="T91" fmla="*/ 0 h 299"/>
                <a:gd name="T92" fmla="*/ 0 w 426"/>
                <a:gd name="T93" fmla="*/ 0 h 299"/>
                <a:gd name="T94" fmla="*/ 0 w 426"/>
                <a:gd name="T95" fmla="*/ 0 h 299"/>
                <a:gd name="T96" fmla="*/ 0 w 426"/>
                <a:gd name="T97" fmla="*/ 0 h 299"/>
                <a:gd name="T98" fmla="*/ 0 w 426"/>
                <a:gd name="T99" fmla="*/ 0 h 299"/>
                <a:gd name="T100" fmla="*/ 0 w 426"/>
                <a:gd name="T101" fmla="*/ 0 h 299"/>
                <a:gd name="T102" fmla="*/ 0 w 426"/>
                <a:gd name="T103" fmla="*/ 0 h 299"/>
                <a:gd name="T104" fmla="*/ 0 w 426"/>
                <a:gd name="T105" fmla="*/ 0 h 299"/>
                <a:gd name="T106" fmla="*/ 0 w 426"/>
                <a:gd name="T107" fmla="*/ 0 h 299"/>
                <a:gd name="T108" fmla="*/ 0 w 426"/>
                <a:gd name="T109" fmla="*/ 0 h 299"/>
                <a:gd name="T110" fmla="*/ 0 w 426"/>
                <a:gd name="T111" fmla="*/ 0 h 299"/>
                <a:gd name="T112" fmla="*/ 0 w 426"/>
                <a:gd name="T113" fmla="*/ 0 h 299"/>
                <a:gd name="T114" fmla="*/ 0 w 426"/>
                <a:gd name="T115" fmla="*/ 0 h 299"/>
                <a:gd name="T116" fmla="*/ 0 w 426"/>
                <a:gd name="T117" fmla="*/ 0 h 299"/>
                <a:gd name="T118" fmla="*/ 0 w 426"/>
                <a:gd name="T119" fmla="*/ 0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4" name="Freeform 1030"/>
            <p:cNvSpPr>
              <a:spLocks/>
            </p:cNvSpPr>
            <p:nvPr>
              <p:custDataLst>
                <p:tags r:id="rId302"/>
              </p:custDataLst>
            </p:nvPr>
          </p:nvSpPr>
          <p:spPr bwMode="auto">
            <a:xfrm>
              <a:off x="3874" y="1594"/>
              <a:ext cx="472" cy="551"/>
            </a:xfrm>
            <a:custGeom>
              <a:avLst/>
              <a:gdLst>
                <a:gd name="T0" fmla="*/ 0 w 1594"/>
                <a:gd name="T1" fmla="*/ 0 h 1670"/>
                <a:gd name="T2" fmla="*/ 0 w 1594"/>
                <a:gd name="T3" fmla="*/ 0 h 1670"/>
                <a:gd name="T4" fmla="*/ 0 w 1594"/>
                <a:gd name="T5" fmla="*/ 0 h 1670"/>
                <a:gd name="T6" fmla="*/ 0 w 1594"/>
                <a:gd name="T7" fmla="*/ 0 h 1670"/>
                <a:gd name="T8" fmla="*/ 0 w 1594"/>
                <a:gd name="T9" fmla="*/ 0 h 1670"/>
                <a:gd name="T10" fmla="*/ 0 w 1594"/>
                <a:gd name="T11" fmla="*/ 0 h 1670"/>
                <a:gd name="T12" fmla="*/ 0 w 1594"/>
                <a:gd name="T13" fmla="*/ 0 h 1670"/>
                <a:gd name="T14" fmla="*/ 0 w 1594"/>
                <a:gd name="T15" fmla="*/ 0 h 1670"/>
                <a:gd name="T16" fmla="*/ 0 w 1594"/>
                <a:gd name="T17" fmla="*/ 0 h 1670"/>
                <a:gd name="T18" fmla="*/ 0 w 1594"/>
                <a:gd name="T19" fmla="*/ 0 h 1670"/>
                <a:gd name="T20" fmla="*/ 0 w 1594"/>
                <a:gd name="T21" fmla="*/ 0 h 1670"/>
                <a:gd name="T22" fmla="*/ 0 w 1594"/>
                <a:gd name="T23" fmla="*/ 0 h 1670"/>
                <a:gd name="T24" fmla="*/ 0 w 1594"/>
                <a:gd name="T25" fmla="*/ 0 h 1670"/>
                <a:gd name="T26" fmla="*/ 0 w 1594"/>
                <a:gd name="T27" fmla="*/ 0 h 1670"/>
                <a:gd name="T28" fmla="*/ 0 w 1594"/>
                <a:gd name="T29" fmla="*/ 0 h 1670"/>
                <a:gd name="T30" fmla="*/ 0 w 1594"/>
                <a:gd name="T31" fmla="*/ 0 h 1670"/>
                <a:gd name="T32" fmla="*/ 0 w 1594"/>
                <a:gd name="T33" fmla="*/ 0 h 1670"/>
                <a:gd name="T34" fmla="*/ 0 w 1594"/>
                <a:gd name="T35" fmla="*/ 0 h 1670"/>
                <a:gd name="T36" fmla="*/ 0 w 1594"/>
                <a:gd name="T37" fmla="*/ 0 h 1670"/>
                <a:gd name="T38" fmla="*/ 0 w 1594"/>
                <a:gd name="T39" fmla="*/ 0 h 1670"/>
                <a:gd name="T40" fmla="*/ 0 w 1594"/>
                <a:gd name="T41" fmla="*/ 0 h 1670"/>
                <a:gd name="T42" fmla="*/ 0 w 1594"/>
                <a:gd name="T43" fmla="*/ 0 h 1670"/>
                <a:gd name="T44" fmla="*/ 0 w 1594"/>
                <a:gd name="T45" fmla="*/ 0 h 1670"/>
                <a:gd name="T46" fmla="*/ 0 w 1594"/>
                <a:gd name="T47" fmla="*/ 0 h 1670"/>
                <a:gd name="T48" fmla="*/ 0 w 1594"/>
                <a:gd name="T49" fmla="*/ 0 h 1670"/>
                <a:gd name="T50" fmla="*/ 0 w 1594"/>
                <a:gd name="T51" fmla="*/ 0 h 1670"/>
                <a:gd name="T52" fmla="*/ 0 w 1594"/>
                <a:gd name="T53" fmla="*/ 0 h 1670"/>
                <a:gd name="T54" fmla="*/ 0 w 1594"/>
                <a:gd name="T55" fmla="*/ 0 h 1670"/>
                <a:gd name="T56" fmla="*/ 0 w 1594"/>
                <a:gd name="T57" fmla="*/ 0 h 1670"/>
                <a:gd name="T58" fmla="*/ 0 w 1594"/>
                <a:gd name="T59" fmla="*/ 0 h 1670"/>
                <a:gd name="T60" fmla="*/ 0 w 1594"/>
                <a:gd name="T61" fmla="*/ 0 h 1670"/>
                <a:gd name="T62" fmla="*/ 0 w 1594"/>
                <a:gd name="T63" fmla="*/ 0 h 1670"/>
                <a:gd name="T64" fmla="*/ 0 w 1594"/>
                <a:gd name="T65" fmla="*/ 0 h 1670"/>
                <a:gd name="T66" fmla="*/ 0 w 1594"/>
                <a:gd name="T67" fmla="*/ 0 h 1670"/>
                <a:gd name="T68" fmla="*/ 0 w 1594"/>
                <a:gd name="T69" fmla="*/ 0 h 1670"/>
                <a:gd name="T70" fmla="*/ 0 w 1594"/>
                <a:gd name="T71" fmla="*/ 0 h 1670"/>
                <a:gd name="T72" fmla="*/ 0 w 1594"/>
                <a:gd name="T73" fmla="*/ 0 h 1670"/>
                <a:gd name="T74" fmla="*/ 0 w 1594"/>
                <a:gd name="T75" fmla="*/ 0 h 1670"/>
                <a:gd name="T76" fmla="*/ 0 w 1594"/>
                <a:gd name="T77" fmla="*/ 0 h 1670"/>
                <a:gd name="T78" fmla="*/ 0 w 1594"/>
                <a:gd name="T79" fmla="*/ 0 h 1670"/>
                <a:gd name="T80" fmla="*/ 0 w 1594"/>
                <a:gd name="T81" fmla="*/ 0 h 1670"/>
                <a:gd name="T82" fmla="*/ 0 w 1594"/>
                <a:gd name="T83" fmla="*/ 0 h 1670"/>
                <a:gd name="T84" fmla="*/ 0 w 1594"/>
                <a:gd name="T85" fmla="*/ 0 h 1670"/>
                <a:gd name="T86" fmla="*/ 0 w 1594"/>
                <a:gd name="T87" fmla="*/ 0 h 1670"/>
                <a:gd name="T88" fmla="*/ 0 w 1594"/>
                <a:gd name="T89" fmla="*/ 0 h 1670"/>
                <a:gd name="T90" fmla="*/ 0 w 1594"/>
                <a:gd name="T91" fmla="*/ 0 h 1670"/>
                <a:gd name="T92" fmla="*/ 0 w 1594"/>
                <a:gd name="T93" fmla="*/ 0 h 1670"/>
                <a:gd name="T94" fmla="*/ 0 w 1594"/>
                <a:gd name="T95" fmla="*/ 0 h 1670"/>
                <a:gd name="T96" fmla="*/ 0 w 1594"/>
                <a:gd name="T97" fmla="*/ 0 h 1670"/>
                <a:gd name="T98" fmla="*/ 0 w 1594"/>
                <a:gd name="T99" fmla="*/ 0 h 1670"/>
                <a:gd name="T100" fmla="*/ 0 w 1594"/>
                <a:gd name="T101" fmla="*/ 0 h 1670"/>
                <a:gd name="T102" fmla="*/ 0 w 1594"/>
                <a:gd name="T103" fmla="*/ 0 h 1670"/>
                <a:gd name="T104" fmla="*/ 0 w 1594"/>
                <a:gd name="T105" fmla="*/ 0 h 1670"/>
                <a:gd name="T106" fmla="*/ 0 w 1594"/>
                <a:gd name="T107" fmla="*/ 0 h 1670"/>
                <a:gd name="T108" fmla="*/ 0 w 1594"/>
                <a:gd name="T109" fmla="*/ 0 h 1670"/>
                <a:gd name="T110" fmla="*/ 0 w 1594"/>
                <a:gd name="T111" fmla="*/ 0 h 1670"/>
                <a:gd name="T112" fmla="*/ 0 w 1594"/>
                <a:gd name="T113" fmla="*/ 0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5" name="Freeform 1031"/>
            <p:cNvSpPr>
              <a:spLocks/>
            </p:cNvSpPr>
            <p:nvPr>
              <p:custDataLst>
                <p:tags r:id="rId303"/>
              </p:custDataLst>
            </p:nvPr>
          </p:nvSpPr>
          <p:spPr bwMode="auto">
            <a:xfrm>
              <a:off x="2592" y="2095"/>
              <a:ext cx="109" cy="130"/>
            </a:xfrm>
            <a:custGeom>
              <a:avLst/>
              <a:gdLst>
                <a:gd name="T0" fmla="*/ 0 w 359"/>
                <a:gd name="T1" fmla="*/ 0 h 394"/>
                <a:gd name="T2" fmla="*/ 0 w 359"/>
                <a:gd name="T3" fmla="*/ 0 h 394"/>
                <a:gd name="T4" fmla="*/ 0 w 359"/>
                <a:gd name="T5" fmla="*/ 0 h 394"/>
                <a:gd name="T6" fmla="*/ 0 w 359"/>
                <a:gd name="T7" fmla="*/ 0 h 394"/>
                <a:gd name="T8" fmla="*/ 0 w 359"/>
                <a:gd name="T9" fmla="*/ 0 h 394"/>
                <a:gd name="T10" fmla="*/ 0 w 359"/>
                <a:gd name="T11" fmla="*/ 0 h 394"/>
                <a:gd name="T12" fmla="*/ 0 w 359"/>
                <a:gd name="T13" fmla="*/ 0 h 394"/>
                <a:gd name="T14" fmla="*/ 0 w 359"/>
                <a:gd name="T15" fmla="*/ 0 h 394"/>
                <a:gd name="T16" fmla="*/ 0 w 359"/>
                <a:gd name="T17" fmla="*/ 0 h 394"/>
                <a:gd name="T18" fmla="*/ 0 w 359"/>
                <a:gd name="T19" fmla="*/ 0 h 394"/>
                <a:gd name="T20" fmla="*/ 0 w 359"/>
                <a:gd name="T21" fmla="*/ 0 h 394"/>
                <a:gd name="T22" fmla="*/ 0 w 359"/>
                <a:gd name="T23" fmla="*/ 0 h 394"/>
                <a:gd name="T24" fmla="*/ 0 w 359"/>
                <a:gd name="T25" fmla="*/ 0 h 394"/>
                <a:gd name="T26" fmla="*/ 0 w 359"/>
                <a:gd name="T27" fmla="*/ 0 h 394"/>
                <a:gd name="T28" fmla="*/ 0 w 359"/>
                <a:gd name="T29" fmla="*/ 0 h 394"/>
                <a:gd name="T30" fmla="*/ 0 w 359"/>
                <a:gd name="T31" fmla="*/ 0 h 394"/>
                <a:gd name="T32" fmla="*/ 0 w 359"/>
                <a:gd name="T33" fmla="*/ 0 h 394"/>
                <a:gd name="T34" fmla="*/ 0 w 359"/>
                <a:gd name="T35" fmla="*/ 0 h 394"/>
                <a:gd name="T36" fmla="*/ 0 w 359"/>
                <a:gd name="T37" fmla="*/ 0 h 394"/>
                <a:gd name="T38" fmla="*/ 0 w 359"/>
                <a:gd name="T39" fmla="*/ 0 h 394"/>
                <a:gd name="T40" fmla="*/ 0 w 359"/>
                <a:gd name="T41" fmla="*/ 0 h 394"/>
                <a:gd name="T42" fmla="*/ 0 w 359"/>
                <a:gd name="T43" fmla="*/ 0 h 394"/>
                <a:gd name="T44" fmla="*/ 0 w 359"/>
                <a:gd name="T45" fmla="*/ 0 h 394"/>
                <a:gd name="T46" fmla="*/ 0 w 359"/>
                <a:gd name="T47" fmla="*/ 0 h 394"/>
                <a:gd name="T48" fmla="*/ 0 w 359"/>
                <a:gd name="T49" fmla="*/ 0 h 394"/>
                <a:gd name="T50" fmla="*/ 0 w 359"/>
                <a:gd name="T51" fmla="*/ 0 h 394"/>
                <a:gd name="T52" fmla="*/ 0 w 359"/>
                <a:gd name="T53" fmla="*/ 0 h 394"/>
                <a:gd name="T54" fmla="*/ 0 w 359"/>
                <a:gd name="T55" fmla="*/ 0 h 394"/>
                <a:gd name="T56" fmla="*/ 0 w 359"/>
                <a:gd name="T57" fmla="*/ 0 h 394"/>
                <a:gd name="T58" fmla="*/ 0 w 359"/>
                <a:gd name="T59" fmla="*/ 0 h 394"/>
                <a:gd name="T60" fmla="*/ 0 w 359"/>
                <a:gd name="T61" fmla="*/ 0 h 394"/>
                <a:gd name="T62" fmla="*/ 0 w 359"/>
                <a:gd name="T63" fmla="*/ 0 h 394"/>
                <a:gd name="T64" fmla="*/ 0 w 359"/>
                <a:gd name="T65" fmla="*/ 0 h 394"/>
                <a:gd name="T66" fmla="*/ 0 w 359"/>
                <a:gd name="T67" fmla="*/ 0 h 394"/>
                <a:gd name="T68" fmla="*/ 0 w 359"/>
                <a:gd name="T69" fmla="*/ 0 h 394"/>
                <a:gd name="T70" fmla="*/ 0 w 359"/>
                <a:gd name="T71" fmla="*/ 0 h 394"/>
                <a:gd name="T72" fmla="*/ 0 w 359"/>
                <a:gd name="T73" fmla="*/ 0 h 394"/>
                <a:gd name="T74" fmla="*/ 0 w 359"/>
                <a:gd name="T75" fmla="*/ 0 h 394"/>
                <a:gd name="T76" fmla="*/ 0 w 359"/>
                <a:gd name="T77" fmla="*/ 0 h 394"/>
                <a:gd name="T78" fmla="*/ 0 w 359"/>
                <a:gd name="T79" fmla="*/ 0 h 394"/>
                <a:gd name="T80" fmla="*/ 0 w 359"/>
                <a:gd name="T81" fmla="*/ 0 h 394"/>
                <a:gd name="T82" fmla="*/ 0 w 359"/>
                <a:gd name="T83" fmla="*/ 0 h 394"/>
                <a:gd name="T84" fmla="*/ 0 w 359"/>
                <a:gd name="T85" fmla="*/ 0 h 394"/>
                <a:gd name="T86" fmla="*/ 0 w 359"/>
                <a:gd name="T87" fmla="*/ 0 h 394"/>
                <a:gd name="T88" fmla="*/ 0 w 359"/>
                <a:gd name="T89" fmla="*/ 0 h 394"/>
                <a:gd name="T90" fmla="*/ 0 w 359"/>
                <a:gd name="T91" fmla="*/ 0 h 394"/>
                <a:gd name="T92" fmla="*/ 0 w 359"/>
                <a:gd name="T93" fmla="*/ 0 h 394"/>
                <a:gd name="T94" fmla="*/ 0 w 359"/>
                <a:gd name="T95" fmla="*/ 0 h 394"/>
                <a:gd name="T96" fmla="*/ 0 w 359"/>
                <a:gd name="T97" fmla="*/ 0 h 394"/>
                <a:gd name="T98" fmla="*/ 0 w 359"/>
                <a:gd name="T99" fmla="*/ 0 h 394"/>
                <a:gd name="T100" fmla="*/ 0 w 359"/>
                <a:gd name="T101" fmla="*/ 0 h 394"/>
                <a:gd name="T102" fmla="*/ 0 w 359"/>
                <a:gd name="T103" fmla="*/ 0 h 394"/>
                <a:gd name="T104" fmla="*/ 0 w 359"/>
                <a:gd name="T105" fmla="*/ 0 h 394"/>
                <a:gd name="T106" fmla="*/ 0 w 359"/>
                <a:gd name="T107" fmla="*/ 0 h 394"/>
                <a:gd name="T108" fmla="*/ 0 w 359"/>
                <a:gd name="T109" fmla="*/ 0 h 394"/>
                <a:gd name="T110" fmla="*/ 0 w 359"/>
                <a:gd name="T111" fmla="*/ 0 h 394"/>
                <a:gd name="T112" fmla="*/ 0 w 359"/>
                <a:gd name="T113" fmla="*/ 0 h 394"/>
                <a:gd name="T114" fmla="*/ 0 w 359"/>
                <a:gd name="T115" fmla="*/ 0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6" name="Freeform 1032"/>
            <p:cNvSpPr>
              <a:spLocks/>
            </p:cNvSpPr>
            <p:nvPr>
              <p:custDataLst>
                <p:tags r:id="rId304"/>
              </p:custDataLst>
            </p:nvPr>
          </p:nvSpPr>
          <p:spPr bwMode="auto">
            <a:xfrm>
              <a:off x="3322" y="2218"/>
              <a:ext cx="131" cy="171"/>
            </a:xfrm>
            <a:custGeom>
              <a:avLst/>
              <a:gdLst>
                <a:gd name="T0" fmla="*/ 0 w 449"/>
                <a:gd name="T1" fmla="*/ 0 h 523"/>
                <a:gd name="T2" fmla="*/ 0 w 449"/>
                <a:gd name="T3" fmla="*/ 0 h 523"/>
                <a:gd name="T4" fmla="*/ 0 w 449"/>
                <a:gd name="T5" fmla="*/ 0 h 523"/>
                <a:gd name="T6" fmla="*/ 0 w 449"/>
                <a:gd name="T7" fmla="*/ 0 h 523"/>
                <a:gd name="T8" fmla="*/ 0 w 449"/>
                <a:gd name="T9" fmla="*/ 0 h 523"/>
                <a:gd name="T10" fmla="*/ 0 w 449"/>
                <a:gd name="T11" fmla="*/ 0 h 523"/>
                <a:gd name="T12" fmla="*/ 0 w 449"/>
                <a:gd name="T13" fmla="*/ 0 h 523"/>
                <a:gd name="T14" fmla="*/ 0 w 449"/>
                <a:gd name="T15" fmla="*/ 0 h 523"/>
                <a:gd name="T16" fmla="*/ 0 w 449"/>
                <a:gd name="T17" fmla="*/ 0 h 523"/>
                <a:gd name="T18" fmla="*/ 0 w 449"/>
                <a:gd name="T19" fmla="*/ 0 h 523"/>
                <a:gd name="T20" fmla="*/ 0 w 449"/>
                <a:gd name="T21" fmla="*/ 0 h 523"/>
                <a:gd name="T22" fmla="*/ 0 w 449"/>
                <a:gd name="T23" fmla="*/ 0 h 523"/>
                <a:gd name="T24" fmla="*/ 0 w 449"/>
                <a:gd name="T25" fmla="*/ 0 h 523"/>
                <a:gd name="T26" fmla="*/ 0 w 449"/>
                <a:gd name="T27" fmla="*/ 0 h 523"/>
                <a:gd name="T28" fmla="*/ 0 w 449"/>
                <a:gd name="T29" fmla="*/ 0 h 523"/>
                <a:gd name="T30" fmla="*/ 0 w 449"/>
                <a:gd name="T31" fmla="*/ 0 h 523"/>
                <a:gd name="T32" fmla="*/ 0 w 449"/>
                <a:gd name="T33" fmla="*/ 0 h 523"/>
                <a:gd name="T34" fmla="*/ 0 w 449"/>
                <a:gd name="T35" fmla="*/ 0 h 523"/>
                <a:gd name="T36" fmla="*/ 0 w 449"/>
                <a:gd name="T37" fmla="*/ 0 h 523"/>
                <a:gd name="T38" fmla="*/ 0 w 449"/>
                <a:gd name="T39" fmla="*/ 0 h 523"/>
                <a:gd name="T40" fmla="*/ 0 w 449"/>
                <a:gd name="T41" fmla="*/ 0 h 523"/>
                <a:gd name="T42" fmla="*/ 0 w 449"/>
                <a:gd name="T43" fmla="*/ 0 h 523"/>
                <a:gd name="T44" fmla="*/ 0 w 449"/>
                <a:gd name="T45" fmla="*/ 0 h 523"/>
                <a:gd name="T46" fmla="*/ 0 w 449"/>
                <a:gd name="T47" fmla="*/ 0 h 523"/>
                <a:gd name="T48" fmla="*/ 0 w 449"/>
                <a:gd name="T49" fmla="*/ 0 h 523"/>
                <a:gd name="T50" fmla="*/ 0 w 449"/>
                <a:gd name="T51" fmla="*/ 0 h 523"/>
                <a:gd name="T52" fmla="*/ 0 w 449"/>
                <a:gd name="T53" fmla="*/ 0 h 523"/>
                <a:gd name="T54" fmla="*/ 0 w 449"/>
                <a:gd name="T55" fmla="*/ 0 h 523"/>
                <a:gd name="T56" fmla="*/ 0 w 449"/>
                <a:gd name="T57" fmla="*/ 0 h 523"/>
                <a:gd name="T58" fmla="*/ 0 w 449"/>
                <a:gd name="T59" fmla="*/ 0 h 523"/>
                <a:gd name="T60" fmla="*/ 0 w 449"/>
                <a:gd name="T61" fmla="*/ 0 h 523"/>
                <a:gd name="T62" fmla="*/ 0 w 449"/>
                <a:gd name="T63" fmla="*/ 0 h 523"/>
                <a:gd name="T64" fmla="*/ 0 w 449"/>
                <a:gd name="T65" fmla="*/ 0 h 523"/>
                <a:gd name="T66" fmla="*/ 0 w 449"/>
                <a:gd name="T67" fmla="*/ 0 h 523"/>
                <a:gd name="T68" fmla="*/ 0 w 449"/>
                <a:gd name="T69" fmla="*/ 0 h 523"/>
                <a:gd name="T70" fmla="*/ 0 w 449"/>
                <a:gd name="T71" fmla="*/ 0 h 523"/>
                <a:gd name="T72" fmla="*/ 0 w 449"/>
                <a:gd name="T73" fmla="*/ 0 h 523"/>
                <a:gd name="T74" fmla="*/ 0 w 449"/>
                <a:gd name="T75" fmla="*/ 0 h 523"/>
                <a:gd name="T76" fmla="*/ 0 w 449"/>
                <a:gd name="T77" fmla="*/ 0 h 523"/>
                <a:gd name="T78" fmla="*/ 0 w 449"/>
                <a:gd name="T79" fmla="*/ 0 h 523"/>
                <a:gd name="T80" fmla="*/ 0 w 449"/>
                <a:gd name="T81" fmla="*/ 0 h 523"/>
                <a:gd name="T82" fmla="*/ 0 w 449"/>
                <a:gd name="T83" fmla="*/ 0 h 523"/>
                <a:gd name="T84" fmla="*/ 0 w 449"/>
                <a:gd name="T85" fmla="*/ 0 h 523"/>
                <a:gd name="T86" fmla="*/ 0 w 449"/>
                <a:gd name="T87" fmla="*/ 0 h 523"/>
                <a:gd name="T88" fmla="*/ 0 w 449"/>
                <a:gd name="T89" fmla="*/ 0 h 523"/>
                <a:gd name="T90" fmla="*/ 0 w 449"/>
                <a:gd name="T91" fmla="*/ 0 h 523"/>
                <a:gd name="T92" fmla="*/ 0 w 449"/>
                <a:gd name="T93" fmla="*/ 0 h 523"/>
                <a:gd name="T94" fmla="*/ 0 w 449"/>
                <a:gd name="T95" fmla="*/ 0 h 523"/>
                <a:gd name="T96" fmla="*/ 0 w 449"/>
                <a:gd name="T97" fmla="*/ 0 h 523"/>
                <a:gd name="T98" fmla="*/ 0 w 449"/>
                <a:gd name="T99" fmla="*/ 0 h 523"/>
                <a:gd name="T100" fmla="*/ 0 w 449"/>
                <a:gd name="T101" fmla="*/ 0 h 523"/>
                <a:gd name="T102" fmla="*/ 0 w 449"/>
                <a:gd name="T103" fmla="*/ 0 h 523"/>
                <a:gd name="T104" fmla="*/ 0 w 449"/>
                <a:gd name="T105" fmla="*/ 0 h 523"/>
                <a:gd name="T106" fmla="*/ 0 w 449"/>
                <a:gd name="T107" fmla="*/ 0 h 523"/>
                <a:gd name="T108" fmla="*/ 0 w 449"/>
                <a:gd name="T109" fmla="*/ 0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7" name="Freeform 1033"/>
            <p:cNvSpPr>
              <a:spLocks/>
            </p:cNvSpPr>
            <p:nvPr>
              <p:custDataLst>
                <p:tags r:id="rId305"/>
              </p:custDataLst>
            </p:nvPr>
          </p:nvSpPr>
          <p:spPr bwMode="auto">
            <a:xfrm>
              <a:off x="3310" y="1642"/>
              <a:ext cx="69" cy="82"/>
            </a:xfrm>
            <a:custGeom>
              <a:avLst/>
              <a:gdLst>
                <a:gd name="T0" fmla="*/ 0 w 226"/>
                <a:gd name="T1" fmla="*/ 0 h 246"/>
                <a:gd name="T2" fmla="*/ 0 w 226"/>
                <a:gd name="T3" fmla="*/ 0 h 246"/>
                <a:gd name="T4" fmla="*/ 0 w 226"/>
                <a:gd name="T5" fmla="*/ 0 h 246"/>
                <a:gd name="T6" fmla="*/ 0 w 226"/>
                <a:gd name="T7" fmla="*/ 0 h 246"/>
                <a:gd name="T8" fmla="*/ 0 w 226"/>
                <a:gd name="T9" fmla="*/ 0 h 246"/>
                <a:gd name="T10" fmla="*/ 0 w 226"/>
                <a:gd name="T11" fmla="*/ 0 h 246"/>
                <a:gd name="T12" fmla="*/ 0 w 226"/>
                <a:gd name="T13" fmla="*/ 0 h 246"/>
                <a:gd name="T14" fmla="*/ 0 w 226"/>
                <a:gd name="T15" fmla="*/ 0 h 246"/>
                <a:gd name="T16" fmla="*/ 0 w 226"/>
                <a:gd name="T17" fmla="*/ 0 h 246"/>
                <a:gd name="T18" fmla="*/ 0 w 226"/>
                <a:gd name="T19" fmla="*/ 0 h 246"/>
                <a:gd name="T20" fmla="*/ 0 w 226"/>
                <a:gd name="T21" fmla="*/ 0 h 246"/>
                <a:gd name="T22" fmla="*/ 0 w 226"/>
                <a:gd name="T23" fmla="*/ 0 h 246"/>
                <a:gd name="T24" fmla="*/ 0 w 226"/>
                <a:gd name="T25" fmla="*/ 0 h 246"/>
                <a:gd name="T26" fmla="*/ 0 w 226"/>
                <a:gd name="T27" fmla="*/ 0 h 246"/>
                <a:gd name="T28" fmla="*/ 0 w 226"/>
                <a:gd name="T29" fmla="*/ 0 h 246"/>
                <a:gd name="T30" fmla="*/ 0 w 226"/>
                <a:gd name="T31" fmla="*/ 0 h 246"/>
                <a:gd name="T32" fmla="*/ 0 w 226"/>
                <a:gd name="T33" fmla="*/ 0 h 246"/>
                <a:gd name="T34" fmla="*/ 0 w 226"/>
                <a:gd name="T35" fmla="*/ 0 h 246"/>
                <a:gd name="T36" fmla="*/ 0 w 226"/>
                <a:gd name="T37" fmla="*/ 0 h 246"/>
                <a:gd name="T38" fmla="*/ 0 w 226"/>
                <a:gd name="T39" fmla="*/ 0 h 246"/>
                <a:gd name="T40" fmla="*/ 0 w 226"/>
                <a:gd name="T41" fmla="*/ 0 h 246"/>
                <a:gd name="T42" fmla="*/ 0 w 226"/>
                <a:gd name="T43" fmla="*/ 0 h 246"/>
                <a:gd name="T44" fmla="*/ 0 w 226"/>
                <a:gd name="T45" fmla="*/ 0 h 246"/>
                <a:gd name="T46" fmla="*/ 0 w 226"/>
                <a:gd name="T47" fmla="*/ 0 h 246"/>
                <a:gd name="T48" fmla="*/ 0 w 226"/>
                <a:gd name="T49" fmla="*/ 0 h 246"/>
                <a:gd name="T50" fmla="*/ 0 w 226"/>
                <a:gd name="T51" fmla="*/ 0 h 246"/>
                <a:gd name="T52" fmla="*/ 0 w 226"/>
                <a:gd name="T53" fmla="*/ 0 h 246"/>
                <a:gd name="T54" fmla="*/ 0 w 226"/>
                <a:gd name="T55" fmla="*/ 0 h 246"/>
                <a:gd name="T56" fmla="*/ 0 w 226"/>
                <a:gd name="T57" fmla="*/ 0 h 246"/>
                <a:gd name="T58" fmla="*/ 0 w 226"/>
                <a:gd name="T59" fmla="*/ 0 h 246"/>
                <a:gd name="T60" fmla="*/ 0 w 226"/>
                <a:gd name="T61" fmla="*/ 0 h 246"/>
                <a:gd name="T62" fmla="*/ 0 w 226"/>
                <a:gd name="T63" fmla="*/ 0 h 246"/>
                <a:gd name="T64" fmla="*/ 0 w 226"/>
                <a:gd name="T65" fmla="*/ 0 h 246"/>
                <a:gd name="T66" fmla="*/ 0 w 226"/>
                <a:gd name="T67" fmla="*/ 0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8" name="Freeform 1034"/>
            <p:cNvSpPr>
              <a:spLocks/>
            </p:cNvSpPr>
            <p:nvPr>
              <p:custDataLst>
                <p:tags r:id="rId306"/>
              </p:custDataLst>
            </p:nvPr>
          </p:nvSpPr>
          <p:spPr bwMode="auto">
            <a:xfrm>
              <a:off x="3513" y="1707"/>
              <a:ext cx="15" cy="35"/>
            </a:xfrm>
            <a:custGeom>
              <a:avLst/>
              <a:gdLst>
                <a:gd name="T0" fmla="*/ 0 w 60"/>
                <a:gd name="T1" fmla="*/ 0 h 81"/>
                <a:gd name="T2" fmla="*/ 0 w 60"/>
                <a:gd name="T3" fmla="*/ 0 h 81"/>
                <a:gd name="T4" fmla="*/ 0 w 60"/>
                <a:gd name="T5" fmla="*/ 0 h 81"/>
                <a:gd name="T6" fmla="*/ 0 w 60"/>
                <a:gd name="T7" fmla="*/ 0 h 81"/>
                <a:gd name="T8" fmla="*/ 0 w 60"/>
                <a:gd name="T9" fmla="*/ 0 h 81"/>
                <a:gd name="T10" fmla="*/ 0 w 60"/>
                <a:gd name="T11" fmla="*/ 0 h 81"/>
                <a:gd name="T12" fmla="*/ 0 w 60"/>
                <a:gd name="T13" fmla="*/ 0 h 81"/>
                <a:gd name="T14" fmla="*/ 0 w 60"/>
                <a:gd name="T15" fmla="*/ 0 h 81"/>
                <a:gd name="T16" fmla="*/ 0 w 60"/>
                <a:gd name="T17" fmla="*/ 0 h 81"/>
                <a:gd name="T18" fmla="*/ 0 w 60"/>
                <a:gd name="T19" fmla="*/ 0 h 81"/>
                <a:gd name="T20" fmla="*/ 0 w 60"/>
                <a:gd name="T21" fmla="*/ 0 h 81"/>
                <a:gd name="T22" fmla="*/ 0 w 60"/>
                <a:gd name="T23" fmla="*/ 0 h 81"/>
                <a:gd name="T24" fmla="*/ 0 w 60"/>
                <a:gd name="T25" fmla="*/ 0 h 81"/>
                <a:gd name="T26" fmla="*/ 0 w 60"/>
                <a:gd name="T27" fmla="*/ 0 h 81"/>
                <a:gd name="T28" fmla="*/ 0 w 60"/>
                <a:gd name="T29" fmla="*/ 0 h 81"/>
                <a:gd name="T30" fmla="*/ 0 w 60"/>
                <a:gd name="T31" fmla="*/ 0 h 81"/>
                <a:gd name="T32" fmla="*/ 0 w 60"/>
                <a:gd name="T33" fmla="*/ 0 h 81"/>
                <a:gd name="T34" fmla="*/ 0 w 60"/>
                <a:gd name="T35" fmla="*/ 0 h 81"/>
                <a:gd name="T36" fmla="*/ 0 w 60"/>
                <a:gd name="T37" fmla="*/ 0 h 81"/>
                <a:gd name="T38" fmla="*/ 0 w 60"/>
                <a:gd name="T39" fmla="*/ 0 h 81"/>
                <a:gd name="T40" fmla="*/ 0 w 60"/>
                <a:gd name="T41" fmla="*/ 0 h 81"/>
                <a:gd name="T42" fmla="*/ 0 w 60"/>
                <a:gd name="T43" fmla="*/ 0 h 81"/>
                <a:gd name="T44" fmla="*/ 0 w 60"/>
                <a:gd name="T45" fmla="*/ 0 h 81"/>
                <a:gd name="T46" fmla="*/ 0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9" name="Freeform 1035"/>
            <p:cNvSpPr>
              <a:spLocks/>
            </p:cNvSpPr>
            <p:nvPr>
              <p:custDataLst>
                <p:tags r:id="rId307"/>
              </p:custDataLst>
            </p:nvPr>
          </p:nvSpPr>
          <p:spPr bwMode="auto">
            <a:xfrm>
              <a:off x="3027" y="1162"/>
              <a:ext cx="110" cy="42"/>
            </a:xfrm>
            <a:custGeom>
              <a:avLst/>
              <a:gdLst>
                <a:gd name="T0" fmla="*/ 0 w 370"/>
                <a:gd name="T1" fmla="*/ 0 h 129"/>
                <a:gd name="T2" fmla="*/ 0 w 370"/>
                <a:gd name="T3" fmla="*/ 0 h 129"/>
                <a:gd name="T4" fmla="*/ 0 w 370"/>
                <a:gd name="T5" fmla="*/ 0 h 129"/>
                <a:gd name="T6" fmla="*/ 0 w 370"/>
                <a:gd name="T7" fmla="*/ 0 h 129"/>
                <a:gd name="T8" fmla="*/ 0 w 370"/>
                <a:gd name="T9" fmla="*/ 0 h 129"/>
                <a:gd name="T10" fmla="*/ 0 w 370"/>
                <a:gd name="T11" fmla="*/ 0 h 129"/>
                <a:gd name="T12" fmla="*/ 0 w 370"/>
                <a:gd name="T13" fmla="*/ 0 h 129"/>
                <a:gd name="T14" fmla="*/ 0 w 370"/>
                <a:gd name="T15" fmla="*/ 0 h 129"/>
                <a:gd name="T16" fmla="*/ 0 w 370"/>
                <a:gd name="T17" fmla="*/ 0 h 129"/>
                <a:gd name="T18" fmla="*/ 0 w 370"/>
                <a:gd name="T19" fmla="*/ 0 h 129"/>
                <a:gd name="T20" fmla="*/ 0 w 370"/>
                <a:gd name="T21" fmla="*/ 0 h 129"/>
                <a:gd name="T22" fmla="*/ 0 w 370"/>
                <a:gd name="T23" fmla="*/ 0 h 129"/>
                <a:gd name="T24" fmla="*/ 0 w 370"/>
                <a:gd name="T25" fmla="*/ 0 h 129"/>
                <a:gd name="T26" fmla="*/ 0 w 370"/>
                <a:gd name="T27" fmla="*/ 0 h 129"/>
                <a:gd name="T28" fmla="*/ 0 w 370"/>
                <a:gd name="T29" fmla="*/ 0 h 129"/>
                <a:gd name="T30" fmla="*/ 0 w 370"/>
                <a:gd name="T31" fmla="*/ 0 h 129"/>
                <a:gd name="T32" fmla="*/ 0 w 370"/>
                <a:gd name="T33" fmla="*/ 0 h 129"/>
                <a:gd name="T34" fmla="*/ 0 w 370"/>
                <a:gd name="T35" fmla="*/ 0 h 129"/>
                <a:gd name="T36" fmla="*/ 0 w 370"/>
                <a:gd name="T37" fmla="*/ 0 h 129"/>
                <a:gd name="T38" fmla="*/ 0 w 370"/>
                <a:gd name="T39" fmla="*/ 0 h 129"/>
                <a:gd name="T40" fmla="*/ 0 w 370"/>
                <a:gd name="T41" fmla="*/ 0 h 129"/>
                <a:gd name="T42" fmla="*/ 0 w 370"/>
                <a:gd name="T43" fmla="*/ 0 h 129"/>
                <a:gd name="T44" fmla="*/ 0 w 370"/>
                <a:gd name="T45" fmla="*/ 0 h 129"/>
                <a:gd name="T46" fmla="*/ 0 w 370"/>
                <a:gd name="T47" fmla="*/ 0 h 129"/>
                <a:gd name="T48" fmla="*/ 0 w 370"/>
                <a:gd name="T49" fmla="*/ 0 h 129"/>
                <a:gd name="T50" fmla="*/ 0 w 370"/>
                <a:gd name="T51" fmla="*/ 0 h 129"/>
                <a:gd name="T52" fmla="*/ 0 w 370"/>
                <a:gd name="T53" fmla="*/ 0 h 129"/>
                <a:gd name="T54" fmla="*/ 0 w 370"/>
                <a:gd name="T55" fmla="*/ 0 h 129"/>
                <a:gd name="T56" fmla="*/ 0 w 370"/>
                <a:gd name="T57" fmla="*/ 0 h 129"/>
                <a:gd name="T58" fmla="*/ 0 w 370"/>
                <a:gd name="T59" fmla="*/ 0 h 129"/>
                <a:gd name="T60" fmla="*/ 0 w 370"/>
                <a:gd name="T61" fmla="*/ 0 h 129"/>
                <a:gd name="T62" fmla="*/ 0 w 370"/>
                <a:gd name="T63" fmla="*/ 0 h 129"/>
                <a:gd name="T64" fmla="*/ 0 w 370"/>
                <a:gd name="T65" fmla="*/ 0 h 129"/>
                <a:gd name="T66" fmla="*/ 0 w 370"/>
                <a:gd name="T67" fmla="*/ 0 h 129"/>
                <a:gd name="T68" fmla="*/ 0 w 370"/>
                <a:gd name="T69" fmla="*/ 0 h 129"/>
                <a:gd name="T70" fmla="*/ 0 w 370"/>
                <a:gd name="T71" fmla="*/ 0 h 129"/>
                <a:gd name="T72" fmla="*/ 0 w 370"/>
                <a:gd name="T73" fmla="*/ 0 h 129"/>
                <a:gd name="T74" fmla="*/ 0 w 370"/>
                <a:gd name="T75" fmla="*/ 0 h 129"/>
                <a:gd name="T76" fmla="*/ 0 w 370"/>
                <a:gd name="T77" fmla="*/ 0 h 129"/>
                <a:gd name="T78" fmla="*/ 0 w 370"/>
                <a:gd name="T79" fmla="*/ 0 h 129"/>
                <a:gd name="T80" fmla="*/ 0 w 370"/>
                <a:gd name="T81" fmla="*/ 0 h 129"/>
                <a:gd name="T82" fmla="*/ 0 w 370"/>
                <a:gd name="T83" fmla="*/ 0 h 129"/>
                <a:gd name="T84" fmla="*/ 0 w 370"/>
                <a:gd name="T85" fmla="*/ 0 h 129"/>
                <a:gd name="T86" fmla="*/ 0 w 370"/>
                <a:gd name="T87" fmla="*/ 0 h 129"/>
                <a:gd name="T88" fmla="*/ 0 w 370"/>
                <a:gd name="T89" fmla="*/ 0 h 129"/>
                <a:gd name="T90" fmla="*/ 0 w 370"/>
                <a:gd name="T91" fmla="*/ 0 h 129"/>
                <a:gd name="T92" fmla="*/ 0 w 370"/>
                <a:gd name="T93" fmla="*/ 0 h 129"/>
                <a:gd name="T94" fmla="*/ 0 w 370"/>
                <a:gd name="T95" fmla="*/ 0 h 129"/>
                <a:gd name="T96" fmla="*/ 0 w 370"/>
                <a:gd name="T97" fmla="*/ 0 h 129"/>
                <a:gd name="T98" fmla="*/ 0 w 370"/>
                <a:gd name="T99" fmla="*/ 0 h 129"/>
                <a:gd name="T100" fmla="*/ 0 w 370"/>
                <a:gd name="T101" fmla="*/ 0 h 129"/>
                <a:gd name="T102" fmla="*/ 0 w 370"/>
                <a:gd name="T103" fmla="*/ 0 h 129"/>
                <a:gd name="T104" fmla="*/ 0 w 370"/>
                <a:gd name="T105" fmla="*/ 0 h 129"/>
                <a:gd name="T106" fmla="*/ 0 w 370"/>
                <a:gd name="T107" fmla="*/ 0 h 129"/>
                <a:gd name="T108" fmla="*/ 0 w 370"/>
                <a:gd name="T109" fmla="*/ 0 h 129"/>
                <a:gd name="T110" fmla="*/ 0 w 370"/>
                <a:gd name="T111" fmla="*/ 0 h 129"/>
                <a:gd name="T112" fmla="*/ 0 w 370"/>
                <a:gd name="T113" fmla="*/ 0 h 129"/>
                <a:gd name="T114" fmla="*/ 0 w 370"/>
                <a:gd name="T115" fmla="*/ 0 h 129"/>
                <a:gd name="T116" fmla="*/ 0 w 370"/>
                <a:gd name="T117" fmla="*/ 0 h 129"/>
                <a:gd name="T118" fmla="*/ 0 w 370"/>
                <a:gd name="T119" fmla="*/ 0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0" name="Freeform 1036"/>
            <p:cNvSpPr>
              <a:spLocks/>
            </p:cNvSpPr>
            <p:nvPr>
              <p:custDataLst>
                <p:tags r:id="rId308"/>
              </p:custDataLst>
            </p:nvPr>
          </p:nvSpPr>
          <p:spPr bwMode="auto">
            <a:xfrm>
              <a:off x="3307" y="1616"/>
              <a:ext cx="21" cy="36"/>
            </a:xfrm>
            <a:custGeom>
              <a:avLst/>
              <a:gdLst>
                <a:gd name="T0" fmla="*/ 0 w 80"/>
                <a:gd name="T1" fmla="*/ 0 h 94"/>
                <a:gd name="T2" fmla="*/ 0 w 80"/>
                <a:gd name="T3" fmla="*/ 0 h 94"/>
                <a:gd name="T4" fmla="*/ 0 w 80"/>
                <a:gd name="T5" fmla="*/ 0 h 94"/>
                <a:gd name="T6" fmla="*/ 0 w 80"/>
                <a:gd name="T7" fmla="*/ 0 h 94"/>
                <a:gd name="T8" fmla="*/ 0 w 80"/>
                <a:gd name="T9" fmla="*/ 0 h 94"/>
                <a:gd name="T10" fmla="*/ 0 w 80"/>
                <a:gd name="T11" fmla="*/ 0 h 94"/>
                <a:gd name="T12" fmla="*/ 0 w 80"/>
                <a:gd name="T13" fmla="*/ 0 h 94"/>
                <a:gd name="T14" fmla="*/ 0 w 80"/>
                <a:gd name="T15" fmla="*/ 0 h 94"/>
                <a:gd name="T16" fmla="*/ 0 w 80"/>
                <a:gd name="T17" fmla="*/ 0 h 94"/>
                <a:gd name="T18" fmla="*/ 0 w 80"/>
                <a:gd name="T19" fmla="*/ 0 h 94"/>
                <a:gd name="T20" fmla="*/ 0 w 80"/>
                <a:gd name="T21" fmla="*/ 0 h 94"/>
                <a:gd name="T22" fmla="*/ 0 w 80"/>
                <a:gd name="T23" fmla="*/ 0 h 94"/>
                <a:gd name="T24" fmla="*/ 0 w 80"/>
                <a:gd name="T25" fmla="*/ 0 h 94"/>
                <a:gd name="T26" fmla="*/ 0 w 80"/>
                <a:gd name="T27" fmla="*/ 0 h 94"/>
                <a:gd name="T28" fmla="*/ 0 w 80"/>
                <a:gd name="T29" fmla="*/ 0 h 94"/>
                <a:gd name="T30" fmla="*/ 0 w 80"/>
                <a:gd name="T31" fmla="*/ 0 h 94"/>
                <a:gd name="T32" fmla="*/ 0 w 80"/>
                <a:gd name="T33" fmla="*/ 0 h 94"/>
                <a:gd name="T34" fmla="*/ 0 w 80"/>
                <a:gd name="T35" fmla="*/ 0 h 94"/>
                <a:gd name="T36" fmla="*/ 0 w 80"/>
                <a:gd name="T37" fmla="*/ 0 h 94"/>
                <a:gd name="T38" fmla="*/ 0 w 80"/>
                <a:gd name="T39" fmla="*/ 0 h 94"/>
                <a:gd name="T40" fmla="*/ 0 w 80"/>
                <a:gd name="T41" fmla="*/ 0 h 94"/>
                <a:gd name="T42" fmla="*/ 0 w 80"/>
                <a:gd name="T43" fmla="*/ 0 h 94"/>
                <a:gd name="T44" fmla="*/ 0 w 80"/>
                <a:gd name="T45" fmla="*/ 0 h 94"/>
                <a:gd name="T46" fmla="*/ 0 w 80"/>
                <a:gd name="T47" fmla="*/ 0 h 94"/>
                <a:gd name="T48" fmla="*/ 0 w 80"/>
                <a:gd name="T49" fmla="*/ 0 h 94"/>
                <a:gd name="T50" fmla="*/ 0 w 80"/>
                <a:gd name="T51" fmla="*/ 0 h 94"/>
                <a:gd name="T52" fmla="*/ 0 w 80"/>
                <a:gd name="T53" fmla="*/ 0 h 94"/>
                <a:gd name="T54" fmla="*/ 0 w 80"/>
                <a:gd name="T55" fmla="*/ 0 h 94"/>
                <a:gd name="T56" fmla="*/ 0 w 80"/>
                <a:gd name="T57" fmla="*/ 0 h 94"/>
                <a:gd name="T58" fmla="*/ 0 w 80"/>
                <a:gd name="T59" fmla="*/ 0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1" name="Freeform 1037"/>
            <p:cNvSpPr>
              <a:spLocks/>
            </p:cNvSpPr>
            <p:nvPr>
              <p:custDataLst>
                <p:tags r:id="rId309"/>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2" name="Freeform 1038"/>
            <p:cNvSpPr>
              <a:spLocks/>
            </p:cNvSpPr>
            <p:nvPr>
              <p:custDataLst>
                <p:tags r:id="rId310"/>
              </p:custDataLst>
            </p:nvPr>
          </p:nvSpPr>
          <p:spPr bwMode="auto">
            <a:xfrm>
              <a:off x="3026" y="1192"/>
              <a:ext cx="90" cy="53"/>
            </a:xfrm>
            <a:custGeom>
              <a:avLst/>
              <a:gdLst>
                <a:gd name="T0" fmla="*/ 0 w 312"/>
                <a:gd name="T1" fmla="*/ 0 h 155"/>
                <a:gd name="T2" fmla="*/ 0 w 312"/>
                <a:gd name="T3" fmla="*/ 0 h 155"/>
                <a:gd name="T4" fmla="*/ 0 w 312"/>
                <a:gd name="T5" fmla="*/ 0 h 155"/>
                <a:gd name="T6" fmla="*/ 0 w 312"/>
                <a:gd name="T7" fmla="*/ 0 h 155"/>
                <a:gd name="T8" fmla="*/ 0 w 312"/>
                <a:gd name="T9" fmla="*/ 0 h 155"/>
                <a:gd name="T10" fmla="*/ 0 w 312"/>
                <a:gd name="T11" fmla="*/ 0 h 155"/>
                <a:gd name="T12" fmla="*/ 0 w 312"/>
                <a:gd name="T13" fmla="*/ 0 h 155"/>
                <a:gd name="T14" fmla="*/ 0 w 312"/>
                <a:gd name="T15" fmla="*/ 0 h 155"/>
                <a:gd name="T16" fmla="*/ 0 w 312"/>
                <a:gd name="T17" fmla="*/ 0 h 155"/>
                <a:gd name="T18" fmla="*/ 0 w 312"/>
                <a:gd name="T19" fmla="*/ 0 h 155"/>
                <a:gd name="T20" fmla="*/ 0 w 312"/>
                <a:gd name="T21" fmla="*/ 0 h 155"/>
                <a:gd name="T22" fmla="*/ 0 w 312"/>
                <a:gd name="T23" fmla="*/ 0 h 155"/>
                <a:gd name="T24" fmla="*/ 0 w 312"/>
                <a:gd name="T25" fmla="*/ 0 h 155"/>
                <a:gd name="T26" fmla="*/ 0 w 312"/>
                <a:gd name="T27" fmla="*/ 0 h 155"/>
                <a:gd name="T28" fmla="*/ 0 w 312"/>
                <a:gd name="T29" fmla="*/ 0 h 155"/>
                <a:gd name="T30" fmla="*/ 0 w 312"/>
                <a:gd name="T31" fmla="*/ 0 h 155"/>
                <a:gd name="T32" fmla="*/ 0 w 312"/>
                <a:gd name="T33" fmla="*/ 0 h 155"/>
                <a:gd name="T34" fmla="*/ 0 w 312"/>
                <a:gd name="T35" fmla="*/ 0 h 155"/>
                <a:gd name="T36" fmla="*/ 0 w 312"/>
                <a:gd name="T37" fmla="*/ 0 h 155"/>
                <a:gd name="T38" fmla="*/ 0 w 312"/>
                <a:gd name="T39" fmla="*/ 0 h 155"/>
                <a:gd name="T40" fmla="*/ 0 w 312"/>
                <a:gd name="T41" fmla="*/ 0 h 155"/>
                <a:gd name="T42" fmla="*/ 0 w 312"/>
                <a:gd name="T43" fmla="*/ 0 h 155"/>
                <a:gd name="T44" fmla="*/ 0 w 312"/>
                <a:gd name="T45" fmla="*/ 0 h 155"/>
                <a:gd name="T46" fmla="*/ 0 w 312"/>
                <a:gd name="T47" fmla="*/ 0 h 155"/>
                <a:gd name="T48" fmla="*/ 0 w 312"/>
                <a:gd name="T49" fmla="*/ 0 h 155"/>
                <a:gd name="T50" fmla="*/ 0 w 312"/>
                <a:gd name="T51" fmla="*/ 0 h 155"/>
                <a:gd name="T52" fmla="*/ 0 w 312"/>
                <a:gd name="T53" fmla="*/ 0 h 155"/>
                <a:gd name="T54" fmla="*/ 0 w 312"/>
                <a:gd name="T55" fmla="*/ 0 h 155"/>
                <a:gd name="T56" fmla="*/ 0 w 312"/>
                <a:gd name="T57" fmla="*/ 0 h 155"/>
                <a:gd name="T58" fmla="*/ 0 w 312"/>
                <a:gd name="T59" fmla="*/ 0 h 155"/>
                <a:gd name="T60" fmla="*/ 0 w 312"/>
                <a:gd name="T61" fmla="*/ 0 h 155"/>
                <a:gd name="T62" fmla="*/ 0 w 312"/>
                <a:gd name="T63" fmla="*/ 0 h 155"/>
                <a:gd name="T64" fmla="*/ 0 w 312"/>
                <a:gd name="T65" fmla="*/ 0 h 155"/>
                <a:gd name="T66" fmla="*/ 0 w 312"/>
                <a:gd name="T67" fmla="*/ 0 h 155"/>
                <a:gd name="T68" fmla="*/ 0 w 312"/>
                <a:gd name="T69" fmla="*/ 0 h 155"/>
                <a:gd name="T70" fmla="*/ 0 w 312"/>
                <a:gd name="T71" fmla="*/ 0 h 155"/>
                <a:gd name="T72" fmla="*/ 0 w 312"/>
                <a:gd name="T73" fmla="*/ 0 h 155"/>
                <a:gd name="T74" fmla="*/ 0 w 312"/>
                <a:gd name="T75" fmla="*/ 0 h 155"/>
                <a:gd name="T76" fmla="*/ 0 w 312"/>
                <a:gd name="T77" fmla="*/ 0 h 155"/>
                <a:gd name="T78" fmla="*/ 0 w 312"/>
                <a:gd name="T79" fmla="*/ 0 h 155"/>
                <a:gd name="T80" fmla="*/ 0 w 312"/>
                <a:gd name="T81" fmla="*/ 0 h 155"/>
                <a:gd name="T82" fmla="*/ 0 w 312"/>
                <a:gd name="T83" fmla="*/ 0 h 155"/>
                <a:gd name="T84" fmla="*/ 0 w 312"/>
                <a:gd name="T85" fmla="*/ 0 h 155"/>
                <a:gd name="T86" fmla="*/ 0 w 312"/>
                <a:gd name="T87" fmla="*/ 0 h 155"/>
                <a:gd name="T88" fmla="*/ 0 w 312"/>
                <a:gd name="T89" fmla="*/ 0 h 155"/>
                <a:gd name="T90" fmla="*/ 0 w 312"/>
                <a:gd name="T91" fmla="*/ 0 h 155"/>
                <a:gd name="T92" fmla="*/ 0 w 312"/>
                <a:gd name="T93" fmla="*/ 0 h 155"/>
                <a:gd name="T94" fmla="*/ 0 w 312"/>
                <a:gd name="T95" fmla="*/ 0 h 155"/>
                <a:gd name="T96" fmla="*/ 0 w 312"/>
                <a:gd name="T97" fmla="*/ 0 h 155"/>
                <a:gd name="T98" fmla="*/ 0 w 312"/>
                <a:gd name="T99" fmla="*/ 0 h 155"/>
                <a:gd name="T100" fmla="*/ 0 w 312"/>
                <a:gd name="T101" fmla="*/ 0 h 155"/>
                <a:gd name="T102" fmla="*/ 0 w 312"/>
                <a:gd name="T103" fmla="*/ 0 h 155"/>
                <a:gd name="T104" fmla="*/ 0 w 312"/>
                <a:gd name="T105" fmla="*/ 0 h 155"/>
                <a:gd name="T106" fmla="*/ 0 w 312"/>
                <a:gd name="T107" fmla="*/ 0 h 155"/>
                <a:gd name="T108" fmla="*/ 0 w 312"/>
                <a:gd name="T109" fmla="*/ 0 h 155"/>
                <a:gd name="T110" fmla="*/ 0 w 312"/>
                <a:gd name="T111" fmla="*/ 0 h 155"/>
                <a:gd name="T112" fmla="*/ 0 w 312"/>
                <a:gd name="T113" fmla="*/ 0 h 155"/>
                <a:gd name="T114" fmla="*/ 0 w 312"/>
                <a:gd name="T115" fmla="*/ 0 h 155"/>
                <a:gd name="T116" fmla="*/ 0 w 312"/>
                <a:gd name="T117" fmla="*/ 0 h 155"/>
                <a:gd name="T118" fmla="*/ 0 w 312"/>
                <a:gd name="T119" fmla="*/ 0 h 155"/>
                <a:gd name="T120" fmla="*/ 0 w 312"/>
                <a:gd name="T121" fmla="*/ 0 h 155"/>
                <a:gd name="T122" fmla="*/ 0 w 312"/>
                <a:gd name="T123" fmla="*/ 0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3" name="Freeform 1039"/>
            <p:cNvSpPr>
              <a:spLocks/>
            </p:cNvSpPr>
            <p:nvPr>
              <p:custDataLst>
                <p:tags r:id="rId311"/>
              </p:custDataLst>
            </p:nvPr>
          </p:nvSpPr>
          <p:spPr bwMode="auto">
            <a:xfrm>
              <a:off x="2825" y="1309"/>
              <a:ext cx="13" cy="38"/>
            </a:xfrm>
            <a:custGeom>
              <a:avLst/>
              <a:gdLst>
                <a:gd name="T0" fmla="*/ 0 w 46"/>
                <a:gd name="T1" fmla="*/ 2 h 50"/>
                <a:gd name="T2" fmla="*/ 0 w 46"/>
                <a:gd name="T3" fmla="*/ 2 h 50"/>
                <a:gd name="T4" fmla="*/ 0 w 46"/>
                <a:gd name="T5" fmla="*/ 2 h 50"/>
                <a:gd name="T6" fmla="*/ 0 w 46"/>
                <a:gd name="T7" fmla="*/ 2 h 50"/>
                <a:gd name="T8" fmla="*/ 0 w 46"/>
                <a:gd name="T9" fmla="*/ 2 h 50"/>
                <a:gd name="T10" fmla="*/ 0 w 46"/>
                <a:gd name="T11" fmla="*/ 2 h 50"/>
                <a:gd name="T12" fmla="*/ 0 w 46"/>
                <a:gd name="T13" fmla="*/ 2 h 50"/>
                <a:gd name="T14" fmla="*/ 0 w 46"/>
                <a:gd name="T15" fmla="*/ 0 h 50"/>
                <a:gd name="T16" fmla="*/ 0 w 46"/>
                <a:gd name="T17" fmla="*/ 2 h 50"/>
                <a:gd name="T18" fmla="*/ 0 w 46"/>
                <a:gd name="T19" fmla="*/ 2 h 50"/>
                <a:gd name="T20" fmla="*/ 0 w 46"/>
                <a:gd name="T21" fmla="*/ 2 h 50"/>
                <a:gd name="T22" fmla="*/ 0 w 46"/>
                <a:gd name="T23" fmla="*/ 2 h 50"/>
                <a:gd name="T24" fmla="*/ 0 w 46"/>
                <a:gd name="T25" fmla="*/ 2 h 50"/>
                <a:gd name="T26" fmla="*/ 0 w 46"/>
                <a:gd name="T27" fmla="*/ 2 h 50"/>
                <a:gd name="T28" fmla="*/ 0 w 46"/>
                <a:gd name="T29" fmla="*/ 2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4" name="Freeform 1040"/>
            <p:cNvSpPr>
              <a:spLocks/>
            </p:cNvSpPr>
            <p:nvPr>
              <p:custDataLst>
                <p:tags r:id="rId312"/>
              </p:custDataLst>
            </p:nvPr>
          </p:nvSpPr>
          <p:spPr bwMode="auto">
            <a:xfrm>
              <a:off x="3301" y="2496"/>
              <a:ext cx="48" cy="152"/>
            </a:xfrm>
            <a:custGeom>
              <a:avLst/>
              <a:gdLst>
                <a:gd name="T0" fmla="*/ 0 w 166"/>
                <a:gd name="T1" fmla="*/ 0 h 456"/>
                <a:gd name="T2" fmla="*/ 0 w 166"/>
                <a:gd name="T3" fmla="*/ 0 h 456"/>
                <a:gd name="T4" fmla="*/ 0 w 166"/>
                <a:gd name="T5" fmla="*/ 0 h 456"/>
                <a:gd name="T6" fmla="*/ 0 w 166"/>
                <a:gd name="T7" fmla="*/ 0 h 456"/>
                <a:gd name="T8" fmla="*/ 0 w 166"/>
                <a:gd name="T9" fmla="*/ 0 h 456"/>
                <a:gd name="T10" fmla="*/ 0 w 166"/>
                <a:gd name="T11" fmla="*/ 0 h 456"/>
                <a:gd name="T12" fmla="*/ 0 w 166"/>
                <a:gd name="T13" fmla="*/ 0 h 456"/>
                <a:gd name="T14" fmla="*/ 0 w 166"/>
                <a:gd name="T15" fmla="*/ 0 h 456"/>
                <a:gd name="T16" fmla="*/ 0 w 166"/>
                <a:gd name="T17" fmla="*/ 0 h 456"/>
                <a:gd name="T18" fmla="*/ 0 w 166"/>
                <a:gd name="T19" fmla="*/ 0 h 456"/>
                <a:gd name="T20" fmla="*/ 0 w 166"/>
                <a:gd name="T21" fmla="*/ 0 h 456"/>
                <a:gd name="T22" fmla="*/ 0 w 166"/>
                <a:gd name="T23" fmla="*/ 0 h 456"/>
                <a:gd name="T24" fmla="*/ 0 w 166"/>
                <a:gd name="T25" fmla="*/ 0 h 456"/>
                <a:gd name="T26" fmla="*/ 0 w 166"/>
                <a:gd name="T27" fmla="*/ 0 h 456"/>
                <a:gd name="T28" fmla="*/ 0 w 166"/>
                <a:gd name="T29" fmla="*/ 0 h 456"/>
                <a:gd name="T30" fmla="*/ 0 w 166"/>
                <a:gd name="T31" fmla="*/ 0 h 456"/>
                <a:gd name="T32" fmla="*/ 0 w 166"/>
                <a:gd name="T33" fmla="*/ 0 h 456"/>
                <a:gd name="T34" fmla="*/ 0 w 166"/>
                <a:gd name="T35" fmla="*/ 0 h 456"/>
                <a:gd name="T36" fmla="*/ 0 w 166"/>
                <a:gd name="T37" fmla="*/ 0 h 456"/>
                <a:gd name="T38" fmla="*/ 0 w 166"/>
                <a:gd name="T39" fmla="*/ 0 h 456"/>
                <a:gd name="T40" fmla="*/ 0 w 166"/>
                <a:gd name="T41" fmla="*/ 0 h 456"/>
                <a:gd name="T42" fmla="*/ 0 w 166"/>
                <a:gd name="T43" fmla="*/ 0 h 456"/>
                <a:gd name="T44" fmla="*/ 0 w 166"/>
                <a:gd name="T45" fmla="*/ 0 h 456"/>
                <a:gd name="T46" fmla="*/ 0 w 166"/>
                <a:gd name="T47" fmla="*/ 0 h 456"/>
                <a:gd name="T48" fmla="*/ 0 w 166"/>
                <a:gd name="T49" fmla="*/ 0 h 456"/>
                <a:gd name="T50" fmla="*/ 0 w 166"/>
                <a:gd name="T51" fmla="*/ 0 h 456"/>
                <a:gd name="T52" fmla="*/ 0 w 166"/>
                <a:gd name="T53" fmla="*/ 0 h 456"/>
                <a:gd name="T54" fmla="*/ 0 w 166"/>
                <a:gd name="T55" fmla="*/ 0 h 456"/>
                <a:gd name="T56" fmla="*/ 0 w 166"/>
                <a:gd name="T57" fmla="*/ 0 h 456"/>
                <a:gd name="T58" fmla="*/ 0 w 166"/>
                <a:gd name="T59" fmla="*/ 0 h 456"/>
                <a:gd name="T60" fmla="*/ 0 w 166"/>
                <a:gd name="T61" fmla="*/ 0 h 456"/>
                <a:gd name="T62" fmla="*/ 0 w 166"/>
                <a:gd name="T63" fmla="*/ 0 h 456"/>
                <a:gd name="T64" fmla="*/ 0 w 166"/>
                <a:gd name="T65" fmla="*/ 0 h 456"/>
                <a:gd name="T66" fmla="*/ 0 w 166"/>
                <a:gd name="T67" fmla="*/ 0 h 456"/>
                <a:gd name="T68" fmla="*/ 0 w 166"/>
                <a:gd name="T69" fmla="*/ 0 h 456"/>
                <a:gd name="T70" fmla="*/ 0 w 166"/>
                <a:gd name="T71" fmla="*/ 0 h 456"/>
                <a:gd name="T72" fmla="*/ 0 w 166"/>
                <a:gd name="T73" fmla="*/ 0 h 456"/>
                <a:gd name="T74" fmla="*/ 0 w 166"/>
                <a:gd name="T75" fmla="*/ 0 h 456"/>
                <a:gd name="T76" fmla="*/ 0 w 166"/>
                <a:gd name="T77" fmla="*/ 0 h 456"/>
                <a:gd name="T78" fmla="*/ 0 w 166"/>
                <a:gd name="T79" fmla="*/ 0 h 456"/>
                <a:gd name="T80" fmla="*/ 0 w 166"/>
                <a:gd name="T81" fmla="*/ 0 h 456"/>
                <a:gd name="T82" fmla="*/ 0 w 166"/>
                <a:gd name="T83" fmla="*/ 0 h 456"/>
                <a:gd name="T84" fmla="*/ 0 w 166"/>
                <a:gd name="T85" fmla="*/ 0 h 456"/>
                <a:gd name="T86" fmla="*/ 0 w 166"/>
                <a:gd name="T87" fmla="*/ 0 h 456"/>
                <a:gd name="T88" fmla="*/ 0 w 166"/>
                <a:gd name="T89" fmla="*/ 0 h 456"/>
                <a:gd name="T90" fmla="*/ 0 w 166"/>
                <a:gd name="T91" fmla="*/ 0 h 456"/>
                <a:gd name="T92" fmla="*/ 0 w 166"/>
                <a:gd name="T93" fmla="*/ 0 h 456"/>
                <a:gd name="T94" fmla="*/ 0 w 166"/>
                <a:gd name="T95" fmla="*/ 0 h 456"/>
                <a:gd name="T96" fmla="*/ 0 w 166"/>
                <a:gd name="T97" fmla="*/ 0 h 456"/>
                <a:gd name="T98" fmla="*/ 0 w 166"/>
                <a:gd name="T99" fmla="*/ 0 h 456"/>
                <a:gd name="T100" fmla="*/ 0 w 166"/>
                <a:gd name="T101" fmla="*/ 0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5" name="Freeform 1041"/>
            <p:cNvSpPr>
              <a:spLocks/>
            </p:cNvSpPr>
            <p:nvPr>
              <p:custDataLst>
                <p:tags r:id="rId313"/>
              </p:custDataLst>
            </p:nvPr>
          </p:nvSpPr>
          <p:spPr bwMode="auto">
            <a:xfrm>
              <a:off x="2954" y="1596"/>
              <a:ext cx="10" cy="36"/>
            </a:xfrm>
            <a:custGeom>
              <a:avLst/>
              <a:gdLst>
                <a:gd name="T0" fmla="*/ 0 w 27"/>
                <a:gd name="T1" fmla="*/ 0 h 19"/>
                <a:gd name="T2" fmla="*/ 0 w 27"/>
                <a:gd name="T3" fmla="*/ 4328777 h 19"/>
                <a:gd name="T4" fmla="*/ 0 w 27"/>
                <a:gd name="T5" fmla="*/ 6724223 h 19"/>
                <a:gd name="T6" fmla="*/ 0 w 27"/>
                <a:gd name="T7" fmla="*/ 6724223 h 19"/>
                <a:gd name="T8" fmla="*/ 0 w 27"/>
                <a:gd name="T9" fmla="*/ 6724223 h 19"/>
                <a:gd name="T10" fmla="*/ 0 w 27"/>
                <a:gd name="T11" fmla="*/ 432877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6" name="Freeform 1042"/>
            <p:cNvSpPr>
              <a:spLocks/>
            </p:cNvSpPr>
            <p:nvPr>
              <p:custDataLst>
                <p:tags r:id="rId314"/>
              </p:custDataLst>
            </p:nvPr>
          </p:nvSpPr>
          <p:spPr bwMode="auto">
            <a:xfrm>
              <a:off x="3172" y="2617"/>
              <a:ext cx="129" cy="137"/>
            </a:xfrm>
            <a:custGeom>
              <a:avLst/>
              <a:gdLst>
                <a:gd name="T0" fmla="*/ 0 w 438"/>
                <a:gd name="T1" fmla="*/ 0 h 406"/>
                <a:gd name="T2" fmla="*/ 0 w 438"/>
                <a:gd name="T3" fmla="*/ 0 h 406"/>
                <a:gd name="T4" fmla="*/ 0 w 438"/>
                <a:gd name="T5" fmla="*/ 0 h 406"/>
                <a:gd name="T6" fmla="*/ 0 w 438"/>
                <a:gd name="T7" fmla="*/ 0 h 406"/>
                <a:gd name="T8" fmla="*/ 0 w 438"/>
                <a:gd name="T9" fmla="*/ 0 h 406"/>
                <a:gd name="T10" fmla="*/ 0 w 438"/>
                <a:gd name="T11" fmla="*/ 0 h 406"/>
                <a:gd name="T12" fmla="*/ 0 w 438"/>
                <a:gd name="T13" fmla="*/ 0 h 406"/>
                <a:gd name="T14" fmla="*/ 0 w 438"/>
                <a:gd name="T15" fmla="*/ 0 h 406"/>
                <a:gd name="T16" fmla="*/ 0 w 438"/>
                <a:gd name="T17" fmla="*/ 0 h 406"/>
                <a:gd name="T18" fmla="*/ 0 w 438"/>
                <a:gd name="T19" fmla="*/ 0 h 406"/>
                <a:gd name="T20" fmla="*/ 0 w 438"/>
                <a:gd name="T21" fmla="*/ 0 h 406"/>
                <a:gd name="T22" fmla="*/ 0 w 438"/>
                <a:gd name="T23" fmla="*/ 0 h 406"/>
                <a:gd name="T24" fmla="*/ 0 w 438"/>
                <a:gd name="T25" fmla="*/ 0 h 406"/>
                <a:gd name="T26" fmla="*/ 0 w 438"/>
                <a:gd name="T27" fmla="*/ 0 h 406"/>
                <a:gd name="T28" fmla="*/ 0 w 438"/>
                <a:gd name="T29" fmla="*/ 0 h 406"/>
                <a:gd name="T30" fmla="*/ 0 w 438"/>
                <a:gd name="T31" fmla="*/ 0 h 406"/>
                <a:gd name="T32" fmla="*/ 0 w 438"/>
                <a:gd name="T33" fmla="*/ 0 h 406"/>
                <a:gd name="T34" fmla="*/ 0 w 438"/>
                <a:gd name="T35" fmla="*/ 0 h 406"/>
                <a:gd name="T36" fmla="*/ 0 w 438"/>
                <a:gd name="T37" fmla="*/ 0 h 406"/>
                <a:gd name="T38" fmla="*/ 0 w 438"/>
                <a:gd name="T39" fmla="*/ 0 h 406"/>
                <a:gd name="T40" fmla="*/ 0 w 438"/>
                <a:gd name="T41" fmla="*/ 0 h 406"/>
                <a:gd name="T42" fmla="*/ 0 w 438"/>
                <a:gd name="T43" fmla="*/ 0 h 406"/>
                <a:gd name="T44" fmla="*/ 0 w 438"/>
                <a:gd name="T45" fmla="*/ 0 h 406"/>
                <a:gd name="T46" fmla="*/ 0 w 438"/>
                <a:gd name="T47" fmla="*/ 0 h 406"/>
                <a:gd name="T48" fmla="*/ 0 w 438"/>
                <a:gd name="T49" fmla="*/ 0 h 406"/>
                <a:gd name="T50" fmla="*/ 0 w 438"/>
                <a:gd name="T51" fmla="*/ 0 h 406"/>
                <a:gd name="T52" fmla="*/ 0 w 438"/>
                <a:gd name="T53" fmla="*/ 0 h 406"/>
                <a:gd name="T54" fmla="*/ 0 w 438"/>
                <a:gd name="T55" fmla="*/ 0 h 406"/>
                <a:gd name="T56" fmla="*/ 0 w 438"/>
                <a:gd name="T57" fmla="*/ 0 h 406"/>
                <a:gd name="T58" fmla="*/ 0 w 438"/>
                <a:gd name="T59" fmla="*/ 0 h 406"/>
                <a:gd name="T60" fmla="*/ 0 w 438"/>
                <a:gd name="T61" fmla="*/ 0 h 406"/>
                <a:gd name="T62" fmla="*/ 0 w 438"/>
                <a:gd name="T63" fmla="*/ 0 h 406"/>
                <a:gd name="T64" fmla="*/ 0 w 438"/>
                <a:gd name="T65" fmla="*/ 0 h 406"/>
                <a:gd name="T66" fmla="*/ 0 w 438"/>
                <a:gd name="T67" fmla="*/ 0 h 406"/>
                <a:gd name="T68" fmla="*/ 0 w 438"/>
                <a:gd name="T69" fmla="*/ 0 h 406"/>
                <a:gd name="T70" fmla="*/ 0 w 438"/>
                <a:gd name="T71" fmla="*/ 0 h 406"/>
                <a:gd name="T72" fmla="*/ 0 w 438"/>
                <a:gd name="T73" fmla="*/ 0 h 406"/>
                <a:gd name="T74" fmla="*/ 0 w 438"/>
                <a:gd name="T75" fmla="*/ 0 h 406"/>
                <a:gd name="T76" fmla="*/ 0 w 438"/>
                <a:gd name="T77" fmla="*/ 0 h 406"/>
                <a:gd name="T78" fmla="*/ 0 w 438"/>
                <a:gd name="T79" fmla="*/ 0 h 406"/>
                <a:gd name="T80" fmla="*/ 0 w 438"/>
                <a:gd name="T81" fmla="*/ 0 h 406"/>
                <a:gd name="T82" fmla="*/ 0 w 438"/>
                <a:gd name="T83" fmla="*/ 0 h 406"/>
                <a:gd name="T84" fmla="*/ 0 w 438"/>
                <a:gd name="T85" fmla="*/ 0 h 406"/>
                <a:gd name="T86" fmla="*/ 0 w 438"/>
                <a:gd name="T87" fmla="*/ 0 h 406"/>
                <a:gd name="T88" fmla="*/ 0 w 438"/>
                <a:gd name="T89" fmla="*/ 0 h 406"/>
                <a:gd name="T90" fmla="*/ 0 w 438"/>
                <a:gd name="T91" fmla="*/ 0 h 406"/>
                <a:gd name="T92" fmla="*/ 0 w 438"/>
                <a:gd name="T93" fmla="*/ 0 h 406"/>
                <a:gd name="T94" fmla="*/ 0 w 438"/>
                <a:gd name="T95" fmla="*/ 0 h 406"/>
                <a:gd name="T96" fmla="*/ 0 w 438"/>
                <a:gd name="T97" fmla="*/ 0 h 406"/>
                <a:gd name="T98" fmla="*/ 0 w 438"/>
                <a:gd name="T99" fmla="*/ 0 h 406"/>
                <a:gd name="T100" fmla="*/ 0 w 438"/>
                <a:gd name="T101" fmla="*/ 0 h 406"/>
                <a:gd name="T102" fmla="*/ 0 w 438"/>
                <a:gd name="T103" fmla="*/ 0 h 406"/>
                <a:gd name="T104" fmla="*/ 0 w 438"/>
                <a:gd name="T105" fmla="*/ 0 h 406"/>
                <a:gd name="T106" fmla="*/ 0 w 438"/>
                <a:gd name="T107" fmla="*/ 0 h 406"/>
                <a:gd name="T108" fmla="*/ 0 w 438"/>
                <a:gd name="T109" fmla="*/ 0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7" name="Freeform 1043"/>
            <p:cNvSpPr>
              <a:spLocks/>
            </p:cNvSpPr>
            <p:nvPr>
              <p:custDataLst>
                <p:tags r:id="rId315"/>
              </p:custDataLst>
            </p:nvPr>
          </p:nvSpPr>
          <p:spPr bwMode="auto">
            <a:xfrm>
              <a:off x="3112" y="2476"/>
              <a:ext cx="201" cy="189"/>
            </a:xfrm>
            <a:custGeom>
              <a:avLst/>
              <a:gdLst>
                <a:gd name="T0" fmla="*/ 0 w 678"/>
                <a:gd name="T1" fmla="*/ 0 h 574"/>
                <a:gd name="T2" fmla="*/ 0 w 678"/>
                <a:gd name="T3" fmla="*/ 0 h 574"/>
                <a:gd name="T4" fmla="*/ 0 w 678"/>
                <a:gd name="T5" fmla="*/ 0 h 574"/>
                <a:gd name="T6" fmla="*/ 0 w 678"/>
                <a:gd name="T7" fmla="*/ 0 h 574"/>
                <a:gd name="T8" fmla="*/ 0 w 678"/>
                <a:gd name="T9" fmla="*/ 0 h 574"/>
                <a:gd name="T10" fmla="*/ 0 w 678"/>
                <a:gd name="T11" fmla="*/ 0 h 574"/>
                <a:gd name="T12" fmla="*/ 0 w 678"/>
                <a:gd name="T13" fmla="*/ 0 h 574"/>
                <a:gd name="T14" fmla="*/ 0 w 678"/>
                <a:gd name="T15" fmla="*/ 0 h 574"/>
                <a:gd name="T16" fmla="*/ 0 w 678"/>
                <a:gd name="T17" fmla="*/ 0 h 574"/>
                <a:gd name="T18" fmla="*/ 0 w 678"/>
                <a:gd name="T19" fmla="*/ 0 h 574"/>
                <a:gd name="T20" fmla="*/ 0 w 678"/>
                <a:gd name="T21" fmla="*/ 0 h 574"/>
                <a:gd name="T22" fmla="*/ 0 w 678"/>
                <a:gd name="T23" fmla="*/ 0 h 574"/>
                <a:gd name="T24" fmla="*/ 0 w 678"/>
                <a:gd name="T25" fmla="*/ 0 h 574"/>
                <a:gd name="T26" fmla="*/ 0 w 678"/>
                <a:gd name="T27" fmla="*/ 0 h 574"/>
                <a:gd name="T28" fmla="*/ 0 w 678"/>
                <a:gd name="T29" fmla="*/ 0 h 574"/>
                <a:gd name="T30" fmla="*/ 0 w 678"/>
                <a:gd name="T31" fmla="*/ 0 h 574"/>
                <a:gd name="T32" fmla="*/ 0 w 678"/>
                <a:gd name="T33" fmla="*/ 0 h 574"/>
                <a:gd name="T34" fmla="*/ 0 w 678"/>
                <a:gd name="T35" fmla="*/ 0 h 574"/>
                <a:gd name="T36" fmla="*/ 0 w 678"/>
                <a:gd name="T37" fmla="*/ 0 h 574"/>
                <a:gd name="T38" fmla="*/ 0 w 678"/>
                <a:gd name="T39" fmla="*/ 0 h 574"/>
                <a:gd name="T40" fmla="*/ 0 w 678"/>
                <a:gd name="T41" fmla="*/ 0 h 574"/>
                <a:gd name="T42" fmla="*/ 0 w 678"/>
                <a:gd name="T43" fmla="*/ 0 h 574"/>
                <a:gd name="T44" fmla="*/ 0 w 678"/>
                <a:gd name="T45" fmla="*/ 0 h 574"/>
                <a:gd name="T46" fmla="*/ 0 w 678"/>
                <a:gd name="T47" fmla="*/ 0 h 574"/>
                <a:gd name="T48" fmla="*/ 0 w 678"/>
                <a:gd name="T49" fmla="*/ 0 h 574"/>
                <a:gd name="T50" fmla="*/ 0 w 678"/>
                <a:gd name="T51" fmla="*/ 0 h 574"/>
                <a:gd name="T52" fmla="*/ 0 w 678"/>
                <a:gd name="T53" fmla="*/ 0 h 574"/>
                <a:gd name="T54" fmla="*/ 0 w 678"/>
                <a:gd name="T55" fmla="*/ 0 h 574"/>
                <a:gd name="T56" fmla="*/ 0 w 678"/>
                <a:gd name="T57" fmla="*/ 0 h 574"/>
                <a:gd name="T58" fmla="*/ 0 w 678"/>
                <a:gd name="T59" fmla="*/ 0 h 574"/>
                <a:gd name="T60" fmla="*/ 0 w 678"/>
                <a:gd name="T61" fmla="*/ 0 h 574"/>
                <a:gd name="T62" fmla="*/ 0 w 678"/>
                <a:gd name="T63" fmla="*/ 0 h 574"/>
                <a:gd name="T64" fmla="*/ 0 w 678"/>
                <a:gd name="T65" fmla="*/ 0 h 574"/>
                <a:gd name="T66" fmla="*/ 0 w 678"/>
                <a:gd name="T67" fmla="*/ 0 h 574"/>
                <a:gd name="T68" fmla="*/ 0 w 678"/>
                <a:gd name="T69" fmla="*/ 0 h 574"/>
                <a:gd name="T70" fmla="*/ 0 w 678"/>
                <a:gd name="T71" fmla="*/ 0 h 574"/>
                <a:gd name="T72" fmla="*/ 0 w 678"/>
                <a:gd name="T73" fmla="*/ 0 h 574"/>
                <a:gd name="T74" fmla="*/ 0 w 678"/>
                <a:gd name="T75" fmla="*/ 0 h 574"/>
                <a:gd name="T76" fmla="*/ 0 w 678"/>
                <a:gd name="T77" fmla="*/ 0 h 574"/>
                <a:gd name="T78" fmla="*/ 0 w 678"/>
                <a:gd name="T79" fmla="*/ 0 h 574"/>
                <a:gd name="T80" fmla="*/ 0 w 678"/>
                <a:gd name="T81" fmla="*/ 0 h 574"/>
                <a:gd name="T82" fmla="*/ 0 w 678"/>
                <a:gd name="T83" fmla="*/ 0 h 574"/>
                <a:gd name="T84" fmla="*/ 0 w 678"/>
                <a:gd name="T85" fmla="*/ 0 h 574"/>
                <a:gd name="T86" fmla="*/ 0 w 678"/>
                <a:gd name="T87" fmla="*/ 0 h 574"/>
                <a:gd name="T88" fmla="*/ 0 w 678"/>
                <a:gd name="T89" fmla="*/ 0 h 574"/>
                <a:gd name="T90" fmla="*/ 0 w 678"/>
                <a:gd name="T91" fmla="*/ 0 h 574"/>
                <a:gd name="T92" fmla="*/ 0 w 678"/>
                <a:gd name="T93" fmla="*/ 0 h 574"/>
                <a:gd name="T94" fmla="*/ 0 w 678"/>
                <a:gd name="T95" fmla="*/ 0 h 574"/>
                <a:gd name="T96" fmla="*/ 0 w 678"/>
                <a:gd name="T97" fmla="*/ 0 h 574"/>
                <a:gd name="T98" fmla="*/ 0 w 678"/>
                <a:gd name="T99" fmla="*/ 0 h 574"/>
                <a:gd name="T100" fmla="*/ 0 w 678"/>
                <a:gd name="T101" fmla="*/ 0 h 574"/>
                <a:gd name="T102" fmla="*/ 0 w 678"/>
                <a:gd name="T103" fmla="*/ 0 h 574"/>
                <a:gd name="T104" fmla="*/ 0 w 678"/>
                <a:gd name="T105" fmla="*/ 0 h 574"/>
                <a:gd name="T106" fmla="*/ 0 w 678"/>
                <a:gd name="T107" fmla="*/ 0 h 574"/>
                <a:gd name="T108" fmla="*/ 0 w 678"/>
                <a:gd name="T109" fmla="*/ 0 h 574"/>
                <a:gd name="T110" fmla="*/ 0 w 678"/>
                <a:gd name="T111" fmla="*/ 0 h 574"/>
                <a:gd name="T112" fmla="*/ 0 w 678"/>
                <a:gd name="T113" fmla="*/ 0 h 574"/>
                <a:gd name="T114" fmla="*/ 0 w 678"/>
                <a:gd name="T115" fmla="*/ 0 h 574"/>
                <a:gd name="T116" fmla="*/ 0 w 678"/>
                <a:gd name="T117" fmla="*/ 0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8" name="Freeform 1044"/>
            <p:cNvSpPr>
              <a:spLocks/>
            </p:cNvSpPr>
            <p:nvPr>
              <p:custDataLst>
                <p:tags r:id="rId316"/>
              </p:custDataLst>
            </p:nvPr>
          </p:nvSpPr>
          <p:spPr bwMode="auto">
            <a:xfrm>
              <a:off x="2933" y="2648"/>
              <a:ext cx="239" cy="240"/>
            </a:xfrm>
            <a:custGeom>
              <a:avLst/>
              <a:gdLst>
                <a:gd name="T0" fmla="*/ 0 w 810"/>
                <a:gd name="T1" fmla="*/ 0 h 727"/>
                <a:gd name="T2" fmla="*/ 0 w 810"/>
                <a:gd name="T3" fmla="*/ 0 h 727"/>
                <a:gd name="T4" fmla="*/ 0 w 810"/>
                <a:gd name="T5" fmla="*/ 0 h 727"/>
                <a:gd name="T6" fmla="*/ 0 w 810"/>
                <a:gd name="T7" fmla="*/ 0 h 727"/>
                <a:gd name="T8" fmla="*/ 0 w 810"/>
                <a:gd name="T9" fmla="*/ 0 h 727"/>
                <a:gd name="T10" fmla="*/ 0 w 810"/>
                <a:gd name="T11" fmla="*/ 0 h 727"/>
                <a:gd name="T12" fmla="*/ 0 w 810"/>
                <a:gd name="T13" fmla="*/ 0 h 727"/>
                <a:gd name="T14" fmla="*/ 0 w 810"/>
                <a:gd name="T15" fmla="*/ 0 h 727"/>
                <a:gd name="T16" fmla="*/ 0 w 810"/>
                <a:gd name="T17" fmla="*/ 0 h 727"/>
                <a:gd name="T18" fmla="*/ 0 w 810"/>
                <a:gd name="T19" fmla="*/ 0 h 727"/>
                <a:gd name="T20" fmla="*/ 0 w 810"/>
                <a:gd name="T21" fmla="*/ 0 h 727"/>
                <a:gd name="T22" fmla="*/ 0 w 810"/>
                <a:gd name="T23" fmla="*/ 0 h 727"/>
                <a:gd name="T24" fmla="*/ 0 w 810"/>
                <a:gd name="T25" fmla="*/ 0 h 727"/>
                <a:gd name="T26" fmla="*/ 0 w 810"/>
                <a:gd name="T27" fmla="*/ 0 h 727"/>
                <a:gd name="T28" fmla="*/ 0 w 810"/>
                <a:gd name="T29" fmla="*/ 0 h 727"/>
                <a:gd name="T30" fmla="*/ 0 w 810"/>
                <a:gd name="T31" fmla="*/ 0 h 727"/>
                <a:gd name="T32" fmla="*/ 0 w 810"/>
                <a:gd name="T33" fmla="*/ 0 h 727"/>
                <a:gd name="T34" fmla="*/ 0 w 810"/>
                <a:gd name="T35" fmla="*/ 0 h 727"/>
                <a:gd name="T36" fmla="*/ 0 w 810"/>
                <a:gd name="T37" fmla="*/ 0 h 727"/>
                <a:gd name="T38" fmla="*/ 0 w 810"/>
                <a:gd name="T39" fmla="*/ 0 h 727"/>
                <a:gd name="T40" fmla="*/ 0 w 810"/>
                <a:gd name="T41" fmla="*/ 0 h 727"/>
                <a:gd name="T42" fmla="*/ 0 w 810"/>
                <a:gd name="T43" fmla="*/ 0 h 727"/>
                <a:gd name="T44" fmla="*/ 0 w 810"/>
                <a:gd name="T45" fmla="*/ 0 h 727"/>
                <a:gd name="T46" fmla="*/ 0 w 810"/>
                <a:gd name="T47" fmla="*/ 0 h 727"/>
                <a:gd name="T48" fmla="*/ 0 w 810"/>
                <a:gd name="T49" fmla="*/ 0 h 727"/>
                <a:gd name="T50" fmla="*/ 0 w 810"/>
                <a:gd name="T51" fmla="*/ 0 h 727"/>
                <a:gd name="T52" fmla="*/ 0 w 810"/>
                <a:gd name="T53" fmla="*/ 0 h 727"/>
                <a:gd name="T54" fmla="*/ 0 w 810"/>
                <a:gd name="T55" fmla="*/ 0 h 727"/>
                <a:gd name="T56" fmla="*/ 0 w 810"/>
                <a:gd name="T57" fmla="*/ 0 h 727"/>
                <a:gd name="T58" fmla="*/ 0 w 810"/>
                <a:gd name="T59" fmla="*/ 0 h 727"/>
                <a:gd name="T60" fmla="*/ 0 w 810"/>
                <a:gd name="T61" fmla="*/ 0 h 727"/>
                <a:gd name="T62" fmla="*/ 0 w 810"/>
                <a:gd name="T63" fmla="*/ 0 h 727"/>
                <a:gd name="T64" fmla="*/ 0 w 810"/>
                <a:gd name="T65" fmla="*/ 0 h 727"/>
                <a:gd name="T66" fmla="*/ 0 w 810"/>
                <a:gd name="T67" fmla="*/ 0 h 727"/>
                <a:gd name="T68" fmla="*/ 0 w 810"/>
                <a:gd name="T69" fmla="*/ 0 h 727"/>
                <a:gd name="T70" fmla="*/ 0 w 810"/>
                <a:gd name="T71" fmla="*/ 0 h 727"/>
                <a:gd name="T72" fmla="*/ 0 w 810"/>
                <a:gd name="T73" fmla="*/ 0 h 727"/>
                <a:gd name="T74" fmla="*/ 0 w 810"/>
                <a:gd name="T75" fmla="*/ 0 h 727"/>
                <a:gd name="T76" fmla="*/ 0 w 810"/>
                <a:gd name="T77" fmla="*/ 0 h 727"/>
                <a:gd name="T78" fmla="*/ 0 w 810"/>
                <a:gd name="T79" fmla="*/ 0 h 727"/>
                <a:gd name="T80" fmla="*/ 0 w 810"/>
                <a:gd name="T81" fmla="*/ 0 h 727"/>
                <a:gd name="T82" fmla="*/ 0 w 810"/>
                <a:gd name="T83" fmla="*/ 0 h 727"/>
                <a:gd name="T84" fmla="*/ 0 w 810"/>
                <a:gd name="T85" fmla="*/ 0 h 727"/>
                <a:gd name="T86" fmla="*/ 0 w 810"/>
                <a:gd name="T87" fmla="*/ 0 h 727"/>
                <a:gd name="T88" fmla="*/ 0 w 810"/>
                <a:gd name="T89" fmla="*/ 0 h 727"/>
                <a:gd name="T90" fmla="*/ 0 w 810"/>
                <a:gd name="T91" fmla="*/ 0 h 727"/>
                <a:gd name="T92" fmla="*/ 0 w 810"/>
                <a:gd name="T93" fmla="*/ 0 h 727"/>
                <a:gd name="T94" fmla="*/ 0 w 810"/>
                <a:gd name="T95" fmla="*/ 0 h 727"/>
                <a:gd name="T96" fmla="*/ 0 w 810"/>
                <a:gd name="T97" fmla="*/ 0 h 727"/>
                <a:gd name="T98" fmla="*/ 0 w 810"/>
                <a:gd name="T99" fmla="*/ 0 h 727"/>
                <a:gd name="T100" fmla="*/ 0 w 810"/>
                <a:gd name="T101" fmla="*/ 0 h 727"/>
                <a:gd name="T102" fmla="*/ 0 w 810"/>
                <a:gd name="T103" fmla="*/ 0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9" name="Freeform 1045"/>
            <p:cNvSpPr>
              <a:spLocks/>
            </p:cNvSpPr>
            <p:nvPr>
              <p:custDataLst>
                <p:tags r:id="rId317"/>
              </p:custDataLst>
            </p:nvPr>
          </p:nvSpPr>
          <p:spPr bwMode="auto">
            <a:xfrm>
              <a:off x="2441" y="1974"/>
              <a:ext cx="110" cy="89"/>
            </a:xfrm>
            <a:custGeom>
              <a:avLst/>
              <a:gdLst>
                <a:gd name="T0" fmla="*/ 0 w 365"/>
                <a:gd name="T1" fmla="*/ 0 h 271"/>
                <a:gd name="T2" fmla="*/ 0 w 365"/>
                <a:gd name="T3" fmla="*/ 0 h 271"/>
                <a:gd name="T4" fmla="*/ 0 w 365"/>
                <a:gd name="T5" fmla="*/ 0 h 271"/>
                <a:gd name="T6" fmla="*/ 0 w 365"/>
                <a:gd name="T7" fmla="*/ 0 h 271"/>
                <a:gd name="T8" fmla="*/ 0 w 365"/>
                <a:gd name="T9" fmla="*/ 0 h 271"/>
                <a:gd name="T10" fmla="*/ 0 w 365"/>
                <a:gd name="T11" fmla="*/ 0 h 271"/>
                <a:gd name="T12" fmla="*/ 0 w 365"/>
                <a:gd name="T13" fmla="*/ 0 h 271"/>
                <a:gd name="T14" fmla="*/ 0 w 365"/>
                <a:gd name="T15" fmla="*/ 0 h 271"/>
                <a:gd name="T16" fmla="*/ 0 w 365"/>
                <a:gd name="T17" fmla="*/ 0 h 271"/>
                <a:gd name="T18" fmla="*/ 0 w 365"/>
                <a:gd name="T19" fmla="*/ 0 h 271"/>
                <a:gd name="T20" fmla="*/ 0 w 365"/>
                <a:gd name="T21" fmla="*/ 0 h 271"/>
                <a:gd name="T22" fmla="*/ 0 w 365"/>
                <a:gd name="T23" fmla="*/ 0 h 271"/>
                <a:gd name="T24" fmla="*/ 0 w 365"/>
                <a:gd name="T25" fmla="*/ 0 h 271"/>
                <a:gd name="T26" fmla="*/ 0 w 365"/>
                <a:gd name="T27" fmla="*/ 0 h 271"/>
                <a:gd name="T28" fmla="*/ 0 w 365"/>
                <a:gd name="T29" fmla="*/ 0 h 271"/>
                <a:gd name="T30" fmla="*/ 0 w 365"/>
                <a:gd name="T31" fmla="*/ 0 h 271"/>
                <a:gd name="T32" fmla="*/ 0 w 365"/>
                <a:gd name="T33" fmla="*/ 0 h 271"/>
                <a:gd name="T34" fmla="*/ 0 w 365"/>
                <a:gd name="T35" fmla="*/ 0 h 271"/>
                <a:gd name="T36" fmla="*/ 0 w 365"/>
                <a:gd name="T37" fmla="*/ 0 h 271"/>
                <a:gd name="T38" fmla="*/ 0 w 365"/>
                <a:gd name="T39" fmla="*/ 0 h 271"/>
                <a:gd name="T40" fmla="*/ 0 w 365"/>
                <a:gd name="T41" fmla="*/ 0 h 271"/>
                <a:gd name="T42" fmla="*/ 0 w 365"/>
                <a:gd name="T43" fmla="*/ 0 h 271"/>
                <a:gd name="T44" fmla="*/ 0 w 365"/>
                <a:gd name="T45" fmla="*/ 0 h 271"/>
                <a:gd name="T46" fmla="*/ 0 w 365"/>
                <a:gd name="T47" fmla="*/ 0 h 271"/>
                <a:gd name="T48" fmla="*/ 0 w 365"/>
                <a:gd name="T49" fmla="*/ 0 h 271"/>
                <a:gd name="T50" fmla="*/ 0 w 365"/>
                <a:gd name="T51" fmla="*/ 0 h 271"/>
                <a:gd name="T52" fmla="*/ 0 w 365"/>
                <a:gd name="T53" fmla="*/ 0 h 271"/>
                <a:gd name="T54" fmla="*/ 0 w 365"/>
                <a:gd name="T55" fmla="*/ 0 h 271"/>
                <a:gd name="T56" fmla="*/ 0 w 365"/>
                <a:gd name="T57" fmla="*/ 0 h 271"/>
                <a:gd name="T58" fmla="*/ 0 w 365"/>
                <a:gd name="T59" fmla="*/ 0 h 271"/>
                <a:gd name="T60" fmla="*/ 0 w 365"/>
                <a:gd name="T61" fmla="*/ 0 h 271"/>
                <a:gd name="T62" fmla="*/ 0 w 365"/>
                <a:gd name="T63" fmla="*/ 0 h 271"/>
                <a:gd name="T64" fmla="*/ 0 w 365"/>
                <a:gd name="T65" fmla="*/ 0 h 271"/>
                <a:gd name="T66" fmla="*/ 0 w 365"/>
                <a:gd name="T67" fmla="*/ 0 h 271"/>
                <a:gd name="T68" fmla="*/ 0 w 365"/>
                <a:gd name="T69" fmla="*/ 0 h 271"/>
                <a:gd name="T70" fmla="*/ 0 w 365"/>
                <a:gd name="T71" fmla="*/ 0 h 271"/>
                <a:gd name="T72" fmla="*/ 0 w 365"/>
                <a:gd name="T73" fmla="*/ 0 h 271"/>
                <a:gd name="T74" fmla="*/ 0 w 365"/>
                <a:gd name="T75" fmla="*/ 0 h 271"/>
                <a:gd name="T76" fmla="*/ 0 w 365"/>
                <a:gd name="T77" fmla="*/ 0 h 271"/>
                <a:gd name="T78" fmla="*/ 0 w 365"/>
                <a:gd name="T79" fmla="*/ 0 h 271"/>
                <a:gd name="T80" fmla="*/ 0 w 365"/>
                <a:gd name="T81" fmla="*/ 0 h 271"/>
                <a:gd name="T82" fmla="*/ 0 w 365"/>
                <a:gd name="T83" fmla="*/ 0 h 271"/>
                <a:gd name="T84" fmla="*/ 0 w 365"/>
                <a:gd name="T85" fmla="*/ 0 h 271"/>
                <a:gd name="T86" fmla="*/ 0 w 365"/>
                <a:gd name="T87" fmla="*/ 0 h 271"/>
                <a:gd name="T88" fmla="*/ 0 w 365"/>
                <a:gd name="T89" fmla="*/ 0 h 271"/>
                <a:gd name="T90" fmla="*/ 0 w 365"/>
                <a:gd name="T91" fmla="*/ 0 h 271"/>
                <a:gd name="T92" fmla="*/ 0 w 365"/>
                <a:gd name="T93" fmla="*/ 0 h 271"/>
                <a:gd name="T94" fmla="*/ 0 w 365"/>
                <a:gd name="T95" fmla="*/ 0 h 271"/>
                <a:gd name="T96" fmla="*/ 0 w 365"/>
                <a:gd name="T97" fmla="*/ 0 h 271"/>
                <a:gd name="T98" fmla="*/ 0 w 365"/>
                <a:gd name="T99" fmla="*/ 0 h 271"/>
                <a:gd name="T100" fmla="*/ 0 w 365"/>
                <a:gd name="T101" fmla="*/ 0 h 271"/>
                <a:gd name="T102" fmla="*/ 0 w 365"/>
                <a:gd name="T103" fmla="*/ 0 h 271"/>
                <a:gd name="T104" fmla="*/ 0 w 365"/>
                <a:gd name="T105" fmla="*/ 0 h 271"/>
                <a:gd name="T106" fmla="*/ 0 w 365"/>
                <a:gd name="T107" fmla="*/ 0 h 271"/>
                <a:gd name="T108" fmla="*/ 0 w 365"/>
                <a:gd name="T109" fmla="*/ 0 h 271"/>
                <a:gd name="T110" fmla="*/ 0 w 365"/>
                <a:gd name="T111" fmla="*/ 0 h 271"/>
                <a:gd name="T112" fmla="*/ 0 w 365"/>
                <a:gd name="T113" fmla="*/ 0 h 271"/>
                <a:gd name="T114" fmla="*/ 0 w 365"/>
                <a:gd name="T115" fmla="*/ 0 h 271"/>
                <a:gd name="T116" fmla="*/ 0 w 365"/>
                <a:gd name="T117" fmla="*/ 0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0" name="Freeform 1046"/>
            <p:cNvSpPr>
              <a:spLocks/>
            </p:cNvSpPr>
            <p:nvPr>
              <p:custDataLst>
                <p:tags r:id="rId318"/>
              </p:custDataLst>
            </p:nvPr>
          </p:nvSpPr>
          <p:spPr bwMode="auto">
            <a:xfrm>
              <a:off x="3241" y="2328"/>
              <a:ext cx="185" cy="211"/>
            </a:xfrm>
            <a:custGeom>
              <a:avLst/>
              <a:gdLst>
                <a:gd name="T0" fmla="*/ 0 w 624"/>
                <a:gd name="T1" fmla="*/ 0 h 640"/>
                <a:gd name="T2" fmla="*/ 0 w 624"/>
                <a:gd name="T3" fmla="*/ 0 h 640"/>
                <a:gd name="T4" fmla="*/ 0 w 624"/>
                <a:gd name="T5" fmla="*/ 0 h 640"/>
                <a:gd name="T6" fmla="*/ 0 w 624"/>
                <a:gd name="T7" fmla="*/ 0 h 640"/>
                <a:gd name="T8" fmla="*/ 0 w 624"/>
                <a:gd name="T9" fmla="*/ 0 h 640"/>
                <a:gd name="T10" fmla="*/ 0 w 624"/>
                <a:gd name="T11" fmla="*/ 0 h 640"/>
                <a:gd name="T12" fmla="*/ 0 w 624"/>
                <a:gd name="T13" fmla="*/ 0 h 640"/>
                <a:gd name="T14" fmla="*/ 0 w 624"/>
                <a:gd name="T15" fmla="*/ 0 h 640"/>
                <a:gd name="T16" fmla="*/ 0 w 624"/>
                <a:gd name="T17" fmla="*/ 0 h 640"/>
                <a:gd name="T18" fmla="*/ 0 w 624"/>
                <a:gd name="T19" fmla="*/ 0 h 640"/>
                <a:gd name="T20" fmla="*/ 0 w 624"/>
                <a:gd name="T21" fmla="*/ 0 h 640"/>
                <a:gd name="T22" fmla="*/ 0 w 624"/>
                <a:gd name="T23" fmla="*/ 0 h 640"/>
                <a:gd name="T24" fmla="*/ 0 w 624"/>
                <a:gd name="T25" fmla="*/ 0 h 640"/>
                <a:gd name="T26" fmla="*/ 0 w 624"/>
                <a:gd name="T27" fmla="*/ 0 h 640"/>
                <a:gd name="T28" fmla="*/ 0 w 624"/>
                <a:gd name="T29" fmla="*/ 0 h 640"/>
                <a:gd name="T30" fmla="*/ 0 w 624"/>
                <a:gd name="T31" fmla="*/ 0 h 640"/>
                <a:gd name="T32" fmla="*/ 0 w 624"/>
                <a:gd name="T33" fmla="*/ 0 h 640"/>
                <a:gd name="T34" fmla="*/ 0 w 624"/>
                <a:gd name="T35" fmla="*/ 0 h 640"/>
                <a:gd name="T36" fmla="*/ 0 w 624"/>
                <a:gd name="T37" fmla="*/ 0 h 640"/>
                <a:gd name="T38" fmla="*/ 0 w 624"/>
                <a:gd name="T39" fmla="*/ 0 h 640"/>
                <a:gd name="T40" fmla="*/ 0 w 624"/>
                <a:gd name="T41" fmla="*/ 0 h 640"/>
                <a:gd name="T42" fmla="*/ 0 w 624"/>
                <a:gd name="T43" fmla="*/ 0 h 640"/>
                <a:gd name="T44" fmla="*/ 0 w 624"/>
                <a:gd name="T45" fmla="*/ 0 h 640"/>
                <a:gd name="T46" fmla="*/ 0 w 624"/>
                <a:gd name="T47" fmla="*/ 0 h 640"/>
                <a:gd name="T48" fmla="*/ 0 w 624"/>
                <a:gd name="T49" fmla="*/ 0 h 640"/>
                <a:gd name="T50" fmla="*/ 0 w 624"/>
                <a:gd name="T51" fmla="*/ 0 h 640"/>
                <a:gd name="T52" fmla="*/ 0 w 624"/>
                <a:gd name="T53" fmla="*/ 0 h 640"/>
                <a:gd name="T54" fmla="*/ 0 w 624"/>
                <a:gd name="T55" fmla="*/ 0 h 640"/>
                <a:gd name="T56" fmla="*/ 0 w 624"/>
                <a:gd name="T57" fmla="*/ 0 h 640"/>
                <a:gd name="T58" fmla="*/ 0 w 624"/>
                <a:gd name="T59" fmla="*/ 0 h 640"/>
                <a:gd name="T60" fmla="*/ 0 w 624"/>
                <a:gd name="T61" fmla="*/ 0 h 640"/>
                <a:gd name="T62" fmla="*/ 0 w 624"/>
                <a:gd name="T63" fmla="*/ 0 h 640"/>
                <a:gd name="T64" fmla="*/ 0 w 624"/>
                <a:gd name="T65" fmla="*/ 0 h 640"/>
                <a:gd name="T66" fmla="*/ 0 w 624"/>
                <a:gd name="T67" fmla="*/ 0 h 640"/>
                <a:gd name="T68" fmla="*/ 0 w 624"/>
                <a:gd name="T69" fmla="*/ 0 h 640"/>
                <a:gd name="T70" fmla="*/ 0 w 624"/>
                <a:gd name="T71" fmla="*/ 0 h 640"/>
                <a:gd name="T72" fmla="*/ 0 w 624"/>
                <a:gd name="T73" fmla="*/ 0 h 640"/>
                <a:gd name="T74" fmla="*/ 0 w 624"/>
                <a:gd name="T75" fmla="*/ 0 h 640"/>
                <a:gd name="T76" fmla="*/ 0 w 624"/>
                <a:gd name="T77" fmla="*/ 0 h 640"/>
                <a:gd name="T78" fmla="*/ 0 w 624"/>
                <a:gd name="T79" fmla="*/ 0 h 640"/>
                <a:gd name="T80" fmla="*/ 0 w 624"/>
                <a:gd name="T81" fmla="*/ 0 h 640"/>
                <a:gd name="T82" fmla="*/ 0 w 624"/>
                <a:gd name="T83" fmla="*/ 0 h 640"/>
                <a:gd name="T84" fmla="*/ 0 w 624"/>
                <a:gd name="T85" fmla="*/ 0 h 640"/>
                <a:gd name="T86" fmla="*/ 0 w 624"/>
                <a:gd name="T87" fmla="*/ 0 h 640"/>
                <a:gd name="T88" fmla="*/ 0 w 624"/>
                <a:gd name="T89" fmla="*/ 0 h 640"/>
                <a:gd name="T90" fmla="*/ 0 w 624"/>
                <a:gd name="T91" fmla="*/ 0 h 640"/>
                <a:gd name="T92" fmla="*/ 0 w 624"/>
                <a:gd name="T93" fmla="*/ 0 h 640"/>
                <a:gd name="T94" fmla="*/ 0 w 624"/>
                <a:gd name="T95" fmla="*/ 0 h 640"/>
                <a:gd name="T96" fmla="*/ 0 w 624"/>
                <a:gd name="T97" fmla="*/ 0 h 640"/>
                <a:gd name="T98" fmla="*/ 0 w 624"/>
                <a:gd name="T99" fmla="*/ 0 h 640"/>
                <a:gd name="T100" fmla="*/ 0 w 624"/>
                <a:gd name="T101" fmla="*/ 0 h 640"/>
                <a:gd name="T102" fmla="*/ 0 w 624"/>
                <a:gd name="T103" fmla="*/ 0 h 640"/>
                <a:gd name="T104" fmla="*/ 0 w 624"/>
                <a:gd name="T105" fmla="*/ 0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1" name="Freeform 1047"/>
            <p:cNvSpPr>
              <a:spLocks/>
            </p:cNvSpPr>
            <p:nvPr>
              <p:custDataLst>
                <p:tags r:id="rId319"/>
              </p:custDataLst>
            </p:nvPr>
          </p:nvSpPr>
          <p:spPr bwMode="auto">
            <a:xfrm>
              <a:off x="4991" y="1392"/>
              <a:ext cx="13" cy="36"/>
            </a:xfrm>
            <a:custGeom>
              <a:avLst/>
              <a:gdLst>
                <a:gd name="T0" fmla="*/ 0 w 52"/>
                <a:gd name="T1" fmla="*/ 1 h 50"/>
                <a:gd name="T2" fmla="*/ 0 w 52"/>
                <a:gd name="T3" fmla="*/ 1 h 50"/>
                <a:gd name="T4" fmla="*/ 0 w 52"/>
                <a:gd name="T5" fmla="*/ 1 h 50"/>
                <a:gd name="T6" fmla="*/ 0 w 52"/>
                <a:gd name="T7" fmla="*/ 1 h 50"/>
                <a:gd name="T8" fmla="*/ 0 w 52"/>
                <a:gd name="T9" fmla="*/ 1 h 50"/>
                <a:gd name="T10" fmla="*/ 0 w 52"/>
                <a:gd name="T11" fmla="*/ 1 h 50"/>
                <a:gd name="T12" fmla="*/ 0 w 52"/>
                <a:gd name="T13" fmla="*/ 1 h 50"/>
                <a:gd name="T14" fmla="*/ 0 w 52"/>
                <a:gd name="T15" fmla="*/ 1 h 50"/>
                <a:gd name="T16" fmla="*/ 0 w 52"/>
                <a:gd name="T17" fmla="*/ 1 h 50"/>
                <a:gd name="T18" fmla="*/ 0 w 52"/>
                <a:gd name="T19" fmla="*/ 0 h 50"/>
                <a:gd name="T20" fmla="*/ 0 w 52"/>
                <a:gd name="T21" fmla="*/ 1 h 50"/>
                <a:gd name="T22" fmla="*/ 0 w 52"/>
                <a:gd name="T23" fmla="*/ 1 h 50"/>
                <a:gd name="T24" fmla="*/ 0 w 52"/>
                <a:gd name="T25" fmla="*/ 1 h 50"/>
                <a:gd name="T26" fmla="*/ 0 w 52"/>
                <a:gd name="T27" fmla="*/ 1 h 50"/>
                <a:gd name="T28" fmla="*/ 0 w 52"/>
                <a:gd name="T29" fmla="*/ 1 h 50"/>
                <a:gd name="T30" fmla="*/ 0 w 52"/>
                <a:gd name="T31" fmla="*/ 1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2" name="Freeform 1048"/>
            <p:cNvSpPr>
              <a:spLocks/>
            </p:cNvSpPr>
            <p:nvPr>
              <p:custDataLst>
                <p:tags r:id="rId320"/>
              </p:custDataLst>
            </p:nvPr>
          </p:nvSpPr>
          <p:spPr bwMode="auto">
            <a:xfrm>
              <a:off x="4895" y="1393"/>
              <a:ext cx="96" cy="79"/>
            </a:xfrm>
            <a:custGeom>
              <a:avLst/>
              <a:gdLst>
                <a:gd name="T0" fmla="*/ 0 w 320"/>
                <a:gd name="T1" fmla="*/ 0 h 234"/>
                <a:gd name="T2" fmla="*/ 0 w 320"/>
                <a:gd name="T3" fmla="*/ 0 h 234"/>
                <a:gd name="T4" fmla="*/ 0 w 320"/>
                <a:gd name="T5" fmla="*/ 0 h 234"/>
                <a:gd name="T6" fmla="*/ 0 w 320"/>
                <a:gd name="T7" fmla="*/ 0 h 234"/>
                <a:gd name="T8" fmla="*/ 0 w 320"/>
                <a:gd name="T9" fmla="*/ 0 h 234"/>
                <a:gd name="T10" fmla="*/ 0 w 320"/>
                <a:gd name="T11" fmla="*/ 0 h 234"/>
                <a:gd name="T12" fmla="*/ 0 w 320"/>
                <a:gd name="T13" fmla="*/ 0 h 234"/>
                <a:gd name="T14" fmla="*/ 0 w 320"/>
                <a:gd name="T15" fmla="*/ 0 h 234"/>
                <a:gd name="T16" fmla="*/ 0 w 320"/>
                <a:gd name="T17" fmla="*/ 0 h 234"/>
                <a:gd name="T18" fmla="*/ 0 w 320"/>
                <a:gd name="T19" fmla="*/ 0 h 234"/>
                <a:gd name="T20" fmla="*/ 0 w 320"/>
                <a:gd name="T21" fmla="*/ 0 h 234"/>
                <a:gd name="T22" fmla="*/ 0 w 320"/>
                <a:gd name="T23" fmla="*/ 0 h 234"/>
                <a:gd name="T24" fmla="*/ 0 w 320"/>
                <a:gd name="T25" fmla="*/ 0 h 234"/>
                <a:gd name="T26" fmla="*/ 0 w 320"/>
                <a:gd name="T27" fmla="*/ 0 h 234"/>
                <a:gd name="T28" fmla="*/ 0 w 320"/>
                <a:gd name="T29" fmla="*/ 0 h 234"/>
                <a:gd name="T30" fmla="*/ 0 w 320"/>
                <a:gd name="T31" fmla="*/ 0 h 234"/>
                <a:gd name="T32" fmla="*/ 0 w 320"/>
                <a:gd name="T33" fmla="*/ 0 h 234"/>
                <a:gd name="T34" fmla="*/ 0 w 320"/>
                <a:gd name="T35" fmla="*/ 0 h 234"/>
                <a:gd name="T36" fmla="*/ 0 w 320"/>
                <a:gd name="T37" fmla="*/ 0 h 234"/>
                <a:gd name="T38" fmla="*/ 0 w 320"/>
                <a:gd name="T39" fmla="*/ 0 h 234"/>
                <a:gd name="T40" fmla="*/ 0 w 320"/>
                <a:gd name="T41" fmla="*/ 0 h 234"/>
                <a:gd name="T42" fmla="*/ 0 w 320"/>
                <a:gd name="T43" fmla="*/ 0 h 234"/>
                <a:gd name="T44" fmla="*/ 0 w 320"/>
                <a:gd name="T45" fmla="*/ 0 h 234"/>
                <a:gd name="T46" fmla="*/ 0 w 320"/>
                <a:gd name="T47" fmla="*/ 0 h 234"/>
                <a:gd name="T48" fmla="*/ 0 w 320"/>
                <a:gd name="T49" fmla="*/ 0 h 234"/>
                <a:gd name="T50" fmla="*/ 0 w 320"/>
                <a:gd name="T51" fmla="*/ 0 h 234"/>
                <a:gd name="T52" fmla="*/ 0 w 320"/>
                <a:gd name="T53" fmla="*/ 0 h 234"/>
                <a:gd name="T54" fmla="*/ 0 w 320"/>
                <a:gd name="T55" fmla="*/ 0 h 234"/>
                <a:gd name="T56" fmla="*/ 0 w 320"/>
                <a:gd name="T57" fmla="*/ 0 h 234"/>
                <a:gd name="T58" fmla="*/ 0 w 320"/>
                <a:gd name="T59" fmla="*/ 0 h 234"/>
                <a:gd name="T60" fmla="*/ 0 w 320"/>
                <a:gd name="T61" fmla="*/ 0 h 234"/>
                <a:gd name="T62" fmla="*/ 0 w 320"/>
                <a:gd name="T63" fmla="*/ 0 h 234"/>
                <a:gd name="T64" fmla="*/ 0 w 320"/>
                <a:gd name="T65" fmla="*/ 0 h 234"/>
                <a:gd name="T66" fmla="*/ 0 w 320"/>
                <a:gd name="T67" fmla="*/ 0 h 234"/>
                <a:gd name="T68" fmla="*/ 0 w 320"/>
                <a:gd name="T69" fmla="*/ 0 h 234"/>
                <a:gd name="T70" fmla="*/ 0 w 320"/>
                <a:gd name="T71" fmla="*/ 0 h 234"/>
                <a:gd name="T72" fmla="*/ 0 w 320"/>
                <a:gd name="T73" fmla="*/ 0 h 234"/>
                <a:gd name="T74" fmla="*/ 0 w 320"/>
                <a:gd name="T75" fmla="*/ 0 h 234"/>
                <a:gd name="T76" fmla="*/ 0 w 320"/>
                <a:gd name="T77" fmla="*/ 0 h 234"/>
                <a:gd name="T78" fmla="*/ 0 w 320"/>
                <a:gd name="T79" fmla="*/ 0 h 234"/>
                <a:gd name="T80" fmla="*/ 0 w 320"/>
                <a:gd name="T81" fmla="*/ 0 h 234"/>
                <a:gd name="T82" fmla="*/ 0 w 320"/>
                <a:gd name="T83" fmla="*/ 0 h 234"/>
                <a:gd name="T84" fmla="*/ 0 w 320"/>
                <a:gd name="T85" fmla="*/ 0 h 234"/>
                <a:gd name="T86" fmla="*/ 0 w 320"/>
                <a:gd name="T87" fmla="*/ 0 h 234"/>
                <a:gd name="T88" fmla="*/ 0 w 320"/>
                <a:gd name="T89" fmla="*/ 0 h 234"/>
                <a:gd name="T90" fmla="*/ 0 w 320"/>
                <a:gd name="T91" fmla="*/ 0 h 234"/>
                <a:gd name="T92" fmla="*/ 0 w 320"/>
                <a:gd name="T93" fmla="*/ 0 h 234"/>
                <a:gd name="T94" fmla="*/ 0 w 320"/>
                <a:gd name="T95" fmla="*/ 0 h 234"/>
                <a:gd name="T96" fmla="*/ 0 w 320"/>
                <a:gd name="T97" fmla="*/ 0 h 234"/>
                <a:gd name="T98" fmla="*/ 0 w 320"/>
                <a:gd name="T99" fmla="*/ 0 h 234"/>
                <a:gd name="T100" fmla="*/ 0 w 320"/>
                <a:gd name="T101" fmla="*/ 0 h 234"/>
                <a:gd name="T102" fmla="*/ 0 w 320"/>
                <a:gd name="T103" fmla="*/ 0 h 234"/>
                <a:gd name="T104" fmla="*/ 0 w 320"/>
                <a:gd name="T105" fmla="*/ 0 h 234"/>
                <a:gd name="T106" fmla="*/ 0 w 320"/>
                <a:gd name="T107" fmla="*/ 0 h 234"/>
                <a:gd name="T108" fmla="*/ 0 w 320"/>
                <a:gd name="T109" fmla="*/ 0 h 234"/>
                <a:gd name="T110" fmla="*/ 0 w 320"/>
                <a:gd name="T111" fmla="*/ 0 h 234"/>
                <a:gd name="T112" fmla="*/ 0 w 320"/>
                <a:gd name="T113" fmla="*/ 0 h 234"/>
                <a:gd name="T114" fmla="*/ 0 w 320"/>
                <a:gd name="T115" fmla="*/ 0 h 234"/>
                <a:gd name="T116" fmla="*/ 0 w 320"/>
                <a:gd name="T117" fmla="*/ 0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3" name="Freeform 1049"/>
            <p:cNvSpPr>
              <a:spLocks/>
            </p:cNvSpPr>
            <p:nvPr>
              <p:custDataLst>
                <p:tags r:id="rId321"/>
              </p:custDataLst>
            </p:nvPr>
          </p:nvSpPr>
          <p:spPr bwMode="auto">
            <a:xfrm>
              <a:off x="4874" y="1616"/>
              <a:ext cx="36" cy="36"/>
            </a:xfrm>
            <a:custGeom>
              <a:avLst/>
              <a:gdLst>
                <a:gd name="T0" fmla="*/ 0 w 125"/>
                <a:gd name="T1" fmla="*/ 0 h 93"/>
                <a:gd name="T2" fmla="*/ 0 w 125"/>
                <a:gd name="T3" fmla="*/ 0 h 93"/>
                <a:gd name="T4" fmla="*/ 0 w 125"/>
                <a:gd name="T5" fmla="*/ 0 h 93"/>
                <a:gd name="T6" fmla="*/ 0 w 125"/>
                <a:gd name="T7" fmla="*/ 0 h 93"/>
                <a:gd name="T8" fmla="*/ 0 w 125"/>
                <a:gd name="T9" fmla="*/ 0 h 93"/>
                <a:gd name="T10" fmla="*/ 0 w 125"/>
                <a:gd name="T11" fmla="*/ 0 h 93"/>
                <a:gd name="T12" fmla="*/ 0 w 125"/>
                <a:gd name="T13" fmla="*/ 0 h 93"/>
                <a:gd name="T14" fmla="*/ 0 w 125"/>
                <a:gd name="T15" fmla="*/ 0 h 93"/>
                <a:gd name="T16" fmla="*/ 0 w 125"/>
                <a:gd name="T17" fmla="*/ 0 h 93"/>
                <a:gd name="T18" fmla="*/ 0 w 125"/>
                <a:gd name="T19" fmla="*/ 0 h 93"/>
                <a:gd name="T20" fmla="*/ 0 w 125"/>
                <a:gd name="T21" fmla="*/ 0 h 93"/>
                <a:gd name="T22" fmla="*/ 0 w 125"/>
                <a:gd name="T23" fmla="*/ 0 h 93"/>
                <a:gd name="T24" fmla="*/ 0 w 125"/>
                <a:gd name="T25" fmla="*/ 0 h 93"/>
                <a:gd name="T26" fmla="*/ 0 w 125"/>
                <a:gd name="T27" fmla="*/ 0 h 93"/>
                <a:gd name="T28" fmla="*/ 0 w 125"/>
                <a:gd name="T29" fmla="*/ 0 h 93"/>
                <a:gd name="T30" fmla="*/ 0 w 125"/>
                <a:gd name="T31" fmla="*/ 0 h 93"/>
                <a:gd name="T32" fmla="*/ 0 w 125"/>
                <a:gd name="T33" fmla="*/ 0 h 93"/>
                <a:gd name="T34" fmla="*/ 0 w 125"/>
                <a:gd name="T35" fmla="*/ 0 h 93"/>
                <a:gd name="T36" fmla="*/ 0 w 125"/>
                <a:gd name="T37" fmla="*/ 0 h 93"/>
                <a:gd name="T38" fmla="*/ 0 w 125"/>
                <a:gd name="T39" fmla="*/ 0 h 93"/>
                <a:gd name="T40" fmla="*/ 0 w 125"/>
                <a:gd name="T41" fmla="*/ 0 h 93"/>
                <a:gd name="T42" fmla="*/ 0 w 125"/>
                <a:gd name="T43" fmla="*/ 0 h 93"/>
                <a:gd name="T44" fmla="*/ 0 w 125"/>
                <a:gd name="T45" fmla="*/ 0 h 93"/>
                <a:gd name="T46" fmla="*/ 0 w 125"/>
                <a:gd name="T47" fmla="*/ 0 h 93"/>
                <a:gd name="T48" fmla="*/ 0 w 125"/>
                <a:gd name="T49" fmla="*/ 0 h 93"/>
                <a:gd name="T50" fmla="*/ 0 w 125"/>
                <a:gd name="T51" fmla="*/ 0 h 93"/>
                <a:gd name="T52" fmla="*/ 0 w 125"/>
                <a:gd name="T53" fmla="*/ 0 h 93"/>
                <a:gd name="T54" fmla="*/ 0 w 125"/>
                <a:gd name="T55" fmla="*/ 0 h 93"/>
                <a:gd name="T56" fmla="*/ 0 w 125"/>
                <a:gd name="T57" fmla="*/ 0 h 93"/>
                <a:gd name="T58" fmla="*/ 0 w 125"/>
                <a:gd name="T59" fmla="*/ 0 h 93"/>
                <a:gd name="T60" fmla="*/ 0 w 125"/>
                <a:gd name="T61" fmla="*/ 0 h 93"/>
                <a:gd name="T62" fmla="*/ 0 w 125"/>
                <a:gd name="T63" fmla="*/ 0 h 93"/>
                <a:gd name="T64" fmla="*/ 0 w 125"/>
                <a:gd name="T65" fmla="*/ 0 h 93"/>
                <a:gd name="T66" fmla="*/ 0 w 125"/>
                <a:gd name="T67" fmla="*/ 0 h 93"/>
                <a:gd name="T68" fmla="*/ 0 w 125"/>
                <a:gd name="T69" fmla="*/ 0 h 93"/>
                <a:gd name="T70" fmla="*/ 0 w 125"/>
                <a:gd name="T71" fmla="*/ 0 h 93"/>
                <a:gd name="T72" fmla="*/ 0 w 125"/>
                <a:gd name="T73" fmla="*/ 0 h 93"/>
                <a:gd name="T74" fmla="*/ 0 w 125"/>
                <a:gd name="T75" fmla="*/ 0 h 93"/>
                <a:gd name="T76" fmla="*/ 0 w 125"/>
                <a:gd name="T77" fmla="*/ 0 h 93"/>
                <a:gd name="T78" fmla="*/ 0 w 125"/>
                <a:gd name="T79" fmla="*/ 0 h 93"/>
                <a:gd name="T80" fmla="*/ 0 w 125"/>
                <a:gd name="T81" fmla="*/ 0 h 93"/>
                <a:gd name="T82" fmla="*/ 0 w 125"/>
                <a:gd name="T83" fmla="*/ 0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4" name="Freeform 1050"/>
            <p:cNvSpPr>
              <a:spLocks/>
            </p:cNvSpPr>
            <p:nvPr>
              <p:custDataLst>
                <p:tags r:id="rId322"/>
              </p:custDataLst>
            </p:nvPr>
          </p:nvSpPr>
          <p:spPr bwMode="auto">
            <a:xfrm>
              <a:off x="4837" y="1625"/>
              <a:ext cx="41" cy="53"/>
            </a:xfrm>
            <a:custGeom>
              <a:avLst/>
              <a:gdLst>
                <a:gd name="T0" fmla="*/ 0 w 133"/>
                <a:gd name="T1" fmla="*/ 0 h 154"/>
                <a:gd name="T2" fmla="*/ 0 w 133"/>
                <a:gd name="T3" fmla="*/ 0 h 154"/>
                <a:gd name="T4" fmla="*/ 0 w 133"/>
                <a:gd name="T5" fmla="*/ 0 h 154"/>
                <a:gd name="T6" fmla="*/ 0 w 133"/>
                <a:gd name="T7" fmla="*/ 0 h 154"/>
                <a:gd name="T8" fmla="*/ 0 w 133"/>
                <a:gd name="T9" fmla="*/ 0 h 154"/>
                <a:gd name="T10" fmla="*/ 0 w 133"/>
                <a:gd name="T11" fmla="*/ 0 h 154"/>
                <a:gd name="T12" fmla="*/ 0 w 133"/>
                <a:gd name="T13" fmla="*/ 0 h 154"/>
                <a:gd name="T14" fmla="*/ 0 w 133"/>
                <a:gd name="T15" fmla="*/ 0 h 154"/>
                <a:gd name="T16" fmla="*/ 0 w 133"/>
                <a:gd name="T17" fmla="*/ 0 h 154"/>
                <a:gd name="T18" fmla="*/ 0 w 133"/>
                <a:gd name="T19" fmla="*/ 0 h 154"/>
                <a:gd name="T20" fmla="*/ 0 w 133"/>
                <a:gd name="T21" fmla="*/ 0 h 154"/>
                <a:gd name="T22" fmla="*/ 0 w 133"/>
                <a:gd name="T23" fmla="*/ 0 h 154"/>
                <a:gd name="T24" fmla="*/ 0 w 133"/>
                <a:gd name="T25" fmla="*/ 0 h 154"/>
                <a:gd name="T26" fmla="*/ 0 w 133"/>
                <a:gd name="T27" fmla="*/ 0 h 154"/>
                <a:gd name="T28" fmla="*/ 0 w 133"/>
                <a:gd name="T29" fmla="*/ 0 h 154"/>
                <a:gd name="T30" fmla="*/ 0 w 133"/>
                <a:gd name="T31" fmla="*/ 0 h 154"/>
                <a:gd name="T32" fmla="*/ 0 w 133"/>
                <a:gd name="T33" fmla="*/ 0 h 154"/>
                <a:gd name="T34" fmla="*/ 0 w 133"/>
                <a:gd name="T35" fmla="*/ 0 h 154"/>
                <a:gd name="T36" fmla="*/ 0 w 133"/>
                <a:gd name="T37" fmla="*/ 0 h 154"/>
                <a:gd name="T38" fmla="*/ 0 w 133"/>
                <a:gd name="T39" fmla="*/ 0 h 154"/>
                <a:gd name="T40" fmla="*/ 0 w 133"/>
                <a:gd name="T41" fmla="*/ 0 h 154"/>
                <a:gd name="T42" fmla="*/ 0 w 133"/>
                <a:gd name="T43" fmla="*/ 0 h 154"/>
                <a:gd name="T44" fmla="*/ 0 w 133"/>
                <a:gd name="T45" fmla="*/ 0 h 154"/>
                <a:gd name="T46" fmla="*/ 0 w 133"/>
                <a:gd name="T47" fmla="*/ 0 h 154"/>
                <a:gd name="T48" fmla="*/ 0 w 133"/>
                <a:gd name="T49" fmla="*/ 0 h 154"/>
                <a:gd name="T50" fmla="*/ 0 w 133"/>
                <a:gd name="T51" fmla="*/ 0 h 154"/>
                <a:gd name="T52" fmla="*/ 0 w 133"/>
                <a:gd name="T53" fmla="*/ 0 h 154"/>
                <a:gd name="T54" fmla="*/ 0 w 133"/>
                <a:gd name="T55" fmla="*/ 0 h 154"/>
                <a:gd name="T56" fmla="*/ 0 w 133"/>
                <a:gd name="T57" fmla="*/ 0 h 154"/>
                <a:gd name="T58" fmla="*/ 0 w 133"/>
                <a:gd name="T59" fmla="*/ 0 h 154"/>
                <a:gd name="T60" fmla="*/ 0 w 133"/>
                <a:gd name="T61" fmla="*/ 0 h 154"/>
                <a:gd name="T62" fmla="*/ 0 w 133"/>
                <a:gd name="T63" fmla="*/ 0 h 154"/>
                <a:gd name="T64" fmla="*/ 0 w 133"/>
                <a:gd name="T65" fmla="*/ 0 h 154"/>
                <a:gd name="T66" fmla="*/ 0 w 133"/>
                <a:gd name="T67" fmla="*/ 0 h 154"/>
                <a:gd name="T68" fmla="*/ 0 w 133"/>
                <a:gd name="T69" fmla="*/ 0 h 154"/>
                <a:gd name="T70" fmla="*/ 0 w 133"/>
                <a:gd name="T71" fmla="*/ 0 h 154"/>
                <a:gd name="T72" fmla="*/ 0 w 133"/>
                <a:gd name="T73" fmla="*/ 0 h 154"/>
                <a:gd name="T74" fmla="*/ 0 w 133"/>
                <a:gd name="T75" fmla="*/ 0 h 154"/>
                <a:gd name="T76" fmla="*/ 0 w 133"/>
                <a:gd name="T77" fmla="*/ 0 h 154"/>
                <a:gd name="T78" fmla="*/ 0 w 133"/>
                <a:gd name="T79" fmla="*/ 0 h 154"/>
                <a:gd name="T80" fmla="*/ 0 w 133"/>
                <a:gd name="T81" fmla="*/ 0 h 154"/>
                <a:gd name="T82" fmla="*/ 0 w 133"/>
                <a:gd name="T83" fmla="*/ 0 h 154"/>
                <a:gd name="T84" fmla="*/ 0 w 133"/>
                <a:gd name="T85" fmla="*/ 0 h 154"/>
                <a:gd name="T86" fmla="*/ 0 w 133"/>
                <a:gd name="T87" fmla="*/ 0 h 154"/>
                <a:gd name="T88" fmla="*/ 0 w 133"/>
                <a:gd name="T89" fmla="*/ 0 h 154"/>
                <a:gd name="T90" fmla="*/ 0 w 133"/>
                <a:gd name="T91" fmla="*/ 0 h 154"/>
                <a:gd name="T92" fmla="*/ 0 w 133"/>
                <a:gd name="T93" fmla="*/ 0 h 154"/>
                <a:gd name="T94" fmla="*/ 0 w 133"/>
                <a:gd name="T95" fmla="*/ 0 h 154"/>
                <a:gd name="T96" fmla="*/ 0 w 133"/>
                <a:gd name="T97" fmla="*/ 0 h 154"/>
                <a:gd name="T98" fmla="*/ 0 w 133"/>
                <a:gd name="T99" fmla="*/ 0 h 154"/>
                <a:gd name="T100" fmla="*/ 0 w 133"/>
                <a:gd name="T101" fmla="*/ 0 h 154"/>
                <a:gd name="T102" fmla="*/ 0 w 133"/>
                <a:gd name="T103" fmla="*/ 0 h 154"/>
                <a:gd name="T104" fmla="*/ 0 w 133"/>
                <a:gd name="T105" fmla="*/ 0 h 154"/>
                <a:gd name="T106" fmla="*/ 0 w 133"/>
                <a:gd name="T107" fmla="*/ 0 h 154"/>
                <a:gd name="T108" fmla="*/ 0 w 133"/>
                <a:gd name="T109" fmla="*/ 0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5" name="Freeform 1051"/>
            <p:cNvSpPr>
              <a:spLocks/>
            </p:cNvSpPr>
            <p:nvPr>
              <p:custDataLst>
                <p:tags r:id="rId323"/>
              </p:custDataLst>
            </p:nvPr>
          </p:nvSpPr>
          <p:spPr bwMode="auto">
            <a:xfrm>
              <a:off x="4848" y="1475"/>
              <a:ext cx="143" cy="154"/>
            </a:xfrm>
            <a:custGeom>
              <a:avLst/>
              <a:gdLst>
                <a:gd name="T0" fmla="*/ 0 w 485"/>
                <a:gd name="T1" fmla="*/ 0 h 468"/>
                <a:gd name="T2" fmla="*/ 0 w 485"/>
                <a:gd name="T3" fmla="*/ 0 h 468"/>
                <a:gd name="T4" fmla="*/ 0 w 485"/>
                <a:gd name="T5" fmla="*/ 0 h 468"/>
                <a:gd name="T6" fmla="*/ 0 w 485"/>
                <a:gd name="T7" fmla="*/ 0 h 468"/>
                <a:gd name="T8" fmla="*/ 0 w 485"/>
                <a:gd name="T9" fmla="*/ 0 h 468"/>
                <a:gd name="T10" fmla="*/ 0 w 485"/>
                <a:gd name="T11" fmla="*/ 0 h 468"/>
                <a:gd name="T12" fmla="*/ 0 w 485"/>
                <a:gd name="T13" fmla="*/ 0 h 468"/>
                <a:gd name="T14" fmla="*/ 0 w 485"/>
                <a:gd name="T15" fmla="*/ 0 h 468"/>
                <a:gd name="T16" fmla="*/ 0 w 485"/>
                <a:gd name="T17" fmla="*/ 0 h 468"/>
                <a:gd name="T18" fmla="*/ 0 w 485"/>
                <a:gd name="T19" fmla="*/ 0 h 468"/>
                <a:gd name="T20" fmla="*/ 0 w 485"/>
                <a:gd name="T21" fmla="*/ 0 h 468"/>
                <a:gd name="T22" fmla="*/ 0 w 485"/>
                <a:gd name="T23" fmla="*/ 0 h 468"/>
                <a:gd name="T24" fmla="*/ 0 w 485"/>
                <a:gd name="T25" fmla="*/ 0 h 468"/>
                <a:gd name="T26" fmla="*/ 0 w 485"/>
                <a:gd name="T27" fmla="*/ 0 h 468"/>
                <a:gd name="T28" fmla="*/ 0 w 485"/>
                <a:gd name="T29" fmla="*/ 0 h 468"/>
                <a:gd name="T30" fmla="*/ 0 w 485"/>
                <a:gd name="T31" fmla="*/ 0 h 468"/>
                <a:gd name="T32" fmla="*/ 0 w 485"/>
                <a:gd name="T33" fmla="*/ 0 h 468"/>
                <a:gd name="T34" fmla="*/ 0 w 485"/>
                <a:gd name="T35" fmla="*/ 0 h 468"/>
                <a:gd name="T36" fmla="*/ 0 w 485"/>
                <a:gd name="T37" fmla="*/ 0 h 468"/>
                <a:gd name="T38" fmla="*/ 0 w 485"/>
                <a:gd name="T39" fmla="*/ 0 h 468"/>
                <a:gd name="T40" fmla="*/ 0 w 485"/>
                <a:gd name="T41" fmla="*/ 0 h 468"/>
                <a:gd name="T42" fmla="*/ 0 w 485"/>
                <a:gd name="T43" fmla="*/ 0 h 468"/>
                <a:gd name="T44" fmla="*/ 0 w 485"/>
                <a:gd name="T45" fmla="*/ 0 h 468"/>
                <a:gd name="T46" fmla="*/ 0 w 485"/>
                <a:gd name="T47" fmla="*/ 0 h 468"/>
                <a:gd name="T48" fmla="*/ 0 w 485"/>
                <a:gd name="T49" fmla="*/ 0 h 468"/>
                <a:gd name="T50" fmla="*/ 0 w 485"/>
                <a:gd name="T51" fmla="*/ 0 h 468"/>
                <a:gd name="T52" fmla="*/ 0 w 485"/>
                <a:gd name="T53" fmla="*/ 0 h 468"/>
                <a:gd name="T54" fmla="*/ 0 w 485"/>
                <a:gd name="T55" fmla="*/ 0 h 468"/>
                <a:gd name="T56" fmla="*/ 0 w 485"/>
                <a:gd name="T57" fmla="*/ 0 h 468"/>
                <a:gd name="T58" fmla="*/ 0 w 485"/>
                <a:gd name="T59" fmla="*/ 0 h 468"/>
                <a:gd name="T60" fmla="*/ 0 w 485"/>
                <a:gd name="T61" fmla="*/ 0 h 468"/>
                <a:gd name="T62" fmla="*/ 0 w 485"/>
                <a:gd name="T63" fmla="*/ 0 h 468"/>
                <a:gd name="T64" fmla="*/ 0 w 485"/>
                <a:gd name="T65" fmla="*/ 0 h 468"/>
                <a:gd name="T66" fmla="*/ 0 w 485"/>
                <a:gd name="T67" fmla="*/ 0 h 468"/>
                <a:gd name="T68" fmla="*/ 0 w 485"/>
                <a:gd name="T69" fmla="*/ 0 h 468"/>
                <a:gd name="T70" fmla="*/ 0 w 485"/>
                <a:gd name="T71" fmla="*/ 0 h 468"/>
                <a:gd name="T72" fmla="*/ 0 w 485"/>
                <a:gd name="T73" fmla="*/ 0 h 468"/>
                <a:gd name="T74" fmla="*/ 0 w 485"/>
                <a:gd name="T75" fmla="*/ 0 h 468"/>
                <a:gd name="T76" fmla="*/ 0 w 485"/>
                <a:gd name="T77" fmla="*/ 0 h 468"/>
                <a:gd name="T78" fmla="*/ 0 w 485"/>
                <a:gd name="T79" fmla="*/ 0 h 468"/>
                <a:gd name="T80" fmla="*/ 0 w 485"/>
                <a:gd name="T81" fmla="*/ 0 h 468"/>
                <a:gd name="T82" fmla="*/ 0 w 485"/>
                <a:gd name="T83" fmla="*/ 0 h 468"/>
                <a:gd name="T84" fmla="*/ 0 w 485"/>
                <a:gd name="T85" fmla="*/ 0 h 468"/>
                <a:gd name="T86" fmla="*/ 0 w 485"/>
                <a:gd name="T87" fmla="*/ 0 h 468"/>
                <a:gd name="T88" fmla="*/ 0 w 485"/>
                <a:gd name="T89" fmla="*/ 0 h 468"/>
                <a:gd name="T90" fmla="*/ 0 w 485"/>
                <a:gd name="T91" fmla="*/ 0 h 468"/>
                <a:gd name="T92" fmla="*/ 0 w 485"/>
                <a:gd name="T93" fmla="*/ 0 h 468"/>
                <a:gd name="T94" fmla="*/ 0 w 485"/>
                <a:gd name="T95" fmla="*/ 0 h 468"/>
                <a:gd name="T96" fmla="*/ 0 w 485"/>
                <a:gd name="T97" fmla="*/ 0 h 468"/>
                <a:gd name="T98" fmla="*/ 0 w 485"/>
                <a:gd name="T99" fmla="*/ 0 h 468"/>
                <a:gd name="T100" fmla="*/ 0 w 485"/>
                <a:gd name="T101" fmla="*/ 0 h 468"/>
                <a:gd name="T102" fmla="*/ 0 w 485"/>
                <a:gd name="T103" fmla="*/ 0 h 468"/>
                <a:gd name="T104" fmla="*/ 0 w 485"/>
                <a:gd name="T105" fmla="*/ 0 h 468"/>
                <a:gd name="T106" fmla="*/ 0 w 485"/>
                <a:gd name="T107" fmla="*/ 0 h 468"/>
                <a:gd name="T108" fmla="*/ 0 w 485"/>
                <a:gd name="T109" fmla="*/ 0 h 468"/>
                <a:gd name="T110" fmla="*/ 0 w 485"/>
                <a:gd name="T111" fmla="*/ 0 h 468"/>
                <a:gd name="T112" fmla="*/ 0 w 485"/>
                <a:gd name="T113" fmla="*/ 0 h 468"/>
                <a:gd name="T114" fmla="*/ 0 w 485"/>
                <a:gd name="T115" fmla="*/ 0 h 468"/>
                <a:gd name="T116" fmla="*/ 0 w 485"/>
                <a:gd name="T117" fmla="*/ 0 h 468"/>
                <a:gd name="T118" fmla="*/ 0 w 485"/>
                <a:gd name="T119" fmla="*/ 0 h 468"/>
                <a:gd name="T120" fmla="*/ 0 w 485"/>
                <a:gd name="T121" fmla="*/ 0 h 468"/>
                <a:gd name="T122" fmla="*/ 0 w 485"/>
                <a:gd name="T123" fmla="*/ 0 h 468"/>
                <a:gd name="T124" fmla="*/ 0 w 485"/>
                <a:gd name="T125" fmla="*/ 0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6" name="Freeform 1052"/>
            <p:cNvSpPr>
              <a:spLocks/>
            </p:cNvSpPr>
            <p:nvPr>
              <p:custDataLst>
                <p:tags r:id="rId324"/>
              </p:custDataLst>
            </p:nvPr>
          </p:nvSpPr>
          <p:spPr bwMode="auto">
            <a:xfrm>
              <a:off x="3199" y="776"/>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7" name="Freeform 1053"/>
            <p:cNvSpPr>
              <a:spLocks/>
            </p:cNvSpPr>
            <p:nvPr>
              <p:custDataLst>
                <p:tags r:id="rId325"/>
              </p:custDataLst>
            </p:nvPr>
          </p:nvSpPr>
          <p:spPr bwMode="auto">
            <a:xfrm>
              <a:off x="3297" y="765"/>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8" name="Freeform 1054"/>
            <p:cNvSpPr>
              <a:spLocks/>
            </p:cNvSpPr>
            <p:nvPr>
              <p:custDataLst>
                <p:tags r:id="rId326"/>
              </p:custDataLst>
            </p:nvPr>
          </p:nvSpPr>
          <p:spPr bwMode="auto">
            <a:xfrm>
              <a:off x="3322" y="770"/>
              <a:ext cx="88"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9" name="Freeform 1055"/>
            <p:cNvSpPr>
              <a:spLocks/>
            </p:cNvSpPr>
            <p:nvPr>
              <p:custDataLst>
                <p:tags r:id="rId327"/>
              </p:custDataLst>
            </p:nvPr>
          </p:nvSpPr>
          <p:spPr bwMode="auto">
            <a:xfrm>
              <a:off x="3686" y="887"/>
              <a:ext cx="28" cy="36"/>
            </a:xfrm>
            <a:custGeom>
              <a:avLst/>
              <a:gdLst>
                <a:gd name="T0" fmla="*/ 0 w 100"/>
                <a:gd name="T1" fmla="*/ 0 h 42"/>
                <a:gd name="T2" fmla="*/ 0 w 100"/>
                <a:gd name="T3" fmla="*/ 3 h 42"/>
                <a:gd name="T4" fmla="*/ 0 w 100"/>
                <a:gd name="T5" fmla="*/ 3 h 42"/>
                <a:gd name="T6" fmla="*/ 0 w 100"/>
                <a:gd name="T7" fmla="*/ 3 h 42"/>
                <a:gd name="T8" fmla="*/ 0 w 100"/>
                <a:gd name="T9" fmla="*/ 3 h 42"/>
                <a:gd name="T10" fmla="*/ 0 w 100"/>
                <a:gd name="T11" fmla="*/ 3 h 42"/>
                <a:gd name="T12" fmla="*/ 0 w 100"/>
                <a:gd name="T13" fmla="*/ 3 h 42"/>
                <a:gd name="T14" fmla="*/ 0 w 100"/>
                <a:gd name="T15" fmla="*/ 3 h 42"/>
                <a:gd name="T16" fmla="*/ 0 w 100"/>
                <a:gd name="T17" fmla="*/ 3 h 42"/>
                <a:gd name="T18" fmla="*/ 0 w 100"/>
                <a:gd name="T19" fmla="*/ 3 h 42"/>
                <a:gd name="T20" fmla="*/ 0 w 100"/>
                <a:gd name="T21" fmla="*/ 3 h 42"/>
                <a:gd name="T22" fmla="*/ 0 w 100"/>
                <a:gd name="T23" fmla="*/ 3 h 42"/>
                <a:gd name="T24" fmla="*/ 0 w 100"/>
                <a:gd name="T25" fmla="*/ 3 h 42"/>
                <a:gd name="T26" fmla="*/ 0 w 100"/>
                <a:gd name="T27" fmla="*/ 3 h 42"/>
                <a:gd name="T28" fmla="*/ 0 w 100"/>
                <a:gd name="T29" fmla="*/ 3 h 42"/>
                <a:gd name="T30" fmla="*/ 0 w 100"/>
                <a:gd name="T31" fmla="*/ 3 h 42"/>
                <a:gd name="T32" fmla="*/ 0 w 100"/>
                <a:gd name="T33" fmla="*/ 3 h 42"/>
                <a:gd name="T34" fmla="*/ 0 w 100"/>
                <a:gd name="T35" fmla="*/ 3 h 42"/>
                <a:gd name="T36" fmla="*/ 0 w 100"/>
                <a:gd name="T37" fmla="*/ 3 h 42"/>
                <a:gd name="T38" fmla="*/ 0 w 100"/>
                <a:gd name="T39" fmla="*/ 3 h 42"/>
                <a:gd name="T40" fmla="*/ 0 w 100"/>
                <a:gd name="T41" fmla="*/ 3 h 42"/>
                <a:gd name="T42" fmla="*/ 0 w 100"/>
                <a:gd name="T43" fmla="*/ 3 h 42"/>
                <a:gd name="T44" fmla="*/ 0 w 100"/>
                <a:gd name="T45" fmla="*/ 3 h 42"/>
                <a:gd name="T46" fmla="*/ 0 w 100"/>
                <a:gd name="T47" fmla="*/ 3 h 42"/>
                <a:gd name="T48" fmla="*/ 0 w 100"/>
                <a:gd name="T49" fmla="*/ 1 h 42"/>
                <a:gd name="T50" fmla="*/ 0 w 100"/>
                <a:gd name="T51" fmla="*/ 0 h 42"/>
                <a:gd name="T52" fmla="*/ 0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0" name="Freeform 1056"/>
            <p:cNvSpPr>
              <a:spLocks/>
            </p:cNvSpPr>
            <p:nvPr>
              <p:custDataLst>
                <p:tags r:id="rId328"/>
              </p:custDataLst>
            </p:nvPr>
          </p:nvSpPr>
          <p:spPr bwMode="auto">
            <a:xfrm>
              <a:off x="3624" y="798"/>
              <a:ext cx="11" cy="37"/>
            </a:xfrm>
            <a:custGeom>
              <a:avLst/>
              <a:gdLst>
                <a:gd name="T0" fmla="*/ 0 w 40"/>
                <a:gd name="T1" fmla="*/ 2147483647 h 5"/>
                <a:gd name="T2" fmla="*/ 0 w 40"/>
                <a:gd name="T3" fmla="*/ 2147483647 h 5"/>
                <a:gd name="T4" fmla="*/ 0 w 40"/>
                <a:gd name="T5" fmla="*/ 2147483647 h 5"/>
                <a:gd name="T6" fmla="*/ 0 w 40"/>
                <a:gd name="T7" fmla="*/ 2147483647 h 5"/>
                <a:gd name="T8" fmla="*/ 0 w 40"/>
                <a:gd name="T9" fmla="*/ 0 h 5"/>
                <a:gd name="T10" fmla="*/ 0 w 40"/>
                <a:gd name="T11" fmla="*/ 0 h 5"/>
                <a:gd name="T12" fmla="*/ 0 w 40"/>
                <a:gd name="T13" fmla="*/ 0 h 5"/>
                <a:gd name="T14" fmla="*/ 0 w 40"/>
                <a:gd name="T15" fmla="*/ 2147483647 h 5"/>
                <a:gd name="T16" fmla="*/ 0 w 40"/>
                <a:gd name="T17" fmla="*/ 2147483647 h 5"/>
                <a:gd name="T18" fmla="*/ 0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1" name="Freeform 1057"/>
            <p:cNvSpPr>
              <a:spLocks/>
            </p:cNvSpPr>
            <p:nvPr>
              <p:custDataLst>
                <p:tags r:id="rId329"/>
              </p:custDataLst>
            </p:nvPr>
          </p:nvSpPr>
          <p:spPr bwMode="auto">
            <a:xfrm>
              <a:off x="3639" y="772"/>
              <a:ext cx="10" cy="38"/>
            </a:xfrm>
            <a:custGeom>
              <a:avLst/>
              <a:gdLst>
                <a:gd name="T0" fmla="*/ 0 w 33"/>
                <a:gd name="T1" fmla="*/ 1082 h 31"/>
                <a:gd name="T2" fmla="*/ 0 w 33"/>
                <a:gd name="T3" fmla="*/ 0 h 31"/>
                <a:gd name="T4" fmla="*/ 0 w 33"/>
                <a:gd name="T5" fmla="*/ 241 h 31"/>
                <a:gd name="T6" fmla="*/ 0 w 33"/>
                <a:gd name="T7" fmla="*/ 571 h 31"/>
                <a:gd name="T8" fmla="*/ 0 w 33"/>
                <a:gd name="T9" fmla="*/ 830 h 31"/>
                <a:gd name="T10" fmla="*/ 0 w 33"/>
                <a:gd name="T11" fmla="*/ 1052 h 31"/>
                <a:gd name="T12" fmla="*/ 0 w 33"/>
                <a:gd name="T13" fmla="*/ 1529 h 31"/>
                <a:gd name="T14" fmla="*/ 0 w 33"/>
                <a:gd name="T15" fmla="*/ 1847 h 31"/>
                <a:gd name="T16" fmla="*/ 0 w 33"/>
                <a:gd name="T17" fmla="*/ 1847 h 31"/>
                <a:gd name="T18" fmla="*/ 0 w 33"/>
                <a:gd name="T19" fmla="*/ 1507 h 31"/>
                <a:gd name="T20" fmla="*/ 0 w 33"/>
                <a:gd name="T21" fmla="*/ 1082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2" name="Freeform 1058"/>
            <p:cNvSpPr>
              <a:spLocks/>
            </p:cNvSpPr>
            <p:nvPr>
              <p:custDataLst>
                <p:tags r:id="rId330"/>
              </p:custDataLst>
            </p:nvPr>
          </p:nvSpPr>
          <p:spPr bwMode="auto">
            <a:xfrm>
              <a:off x="3738" y="845"/>
              <a:ext cx="11" cy="36"/>
            </a:xfrm>
            <a:custGeom>
              <a:avLst/>
              <a:gdLst>
                <a:gd name="T0" fmla="*/ 0 w 41"/>
                <a:gd name="T1" fmla="*/ 0 h 43"/>
                <a:gd name="T2" fmla="*/ 0 w 41"/>
                <a:gd name="T3" fmla="*/ 3 h 43"/>
                <a:gd name="T4" fmla="*/ 0 w 41"/>
                <a:gd name="T5" fmla="*/ 3 h 43"/>
                <a:gd name="T6" fmla="*/ 0 w 41"/>
                <a:gd name="T7" fmla="*/ 3 h 43"/>
                <a:gd name="T8" fmla="*/ 0 w 41"/>
                <a:gd name="T9" fmla="*/ 3 h 43"/>
                <a:gd name="T10" fmla="*/ 0 w 41"/>
                <a:gd name="T11" fmla="*/ 3 h 43"/>
                <a:gd name="T12" fmla="*/ 0 w 41"/>
                <a:gd name="T13" fmla="*/ 3 h 43"/>
                <a:gd name="T14" fmla="*/ 0 w 41"/>
                <a:gd name="T15" fmla="*/ 3 h 43"/>
                <a:gd name="T16" fmla="*/ 0 w 41"/>
                <a:gd name="T17" fmla="*/ 3 h 43"/>
                <a:gd name="T18" fmla="*/ 0 w 41"/>
                <a:gd name="T19" fmla="*/ 3 h 43"/>
                <a:gd name="T20" fmla="*/ 0 w 41"/>
                <a:gd name="T21" fmla="*/ 2 h 43"/>
                <a:gd name="T22" fmla="*/ 0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3" name="Freeform 1059"/>
            <p:cNvSpPr>
              <a:spLocks/>
            </p:cNvSpPr>
            <p:nvPr>
              <p:custDataLst>
                <p:tags r:id="rId331"/>
              </p:custDataLst>
            </p:nvPr>
          </p:nvSpPr>
          <p:spPr bwMode="auto">
            <a:xfrm>
              <a:off x="3774" y="772"/>
              <a:ext cx="64" cy="38"/>
            </a:xfrm>
            <a:custGeom>
              <a:avLst/>
              <a:gdLst>
                <a:gd name="T0" fmla="*/ 0 w 213"/>
                <a:gd name="T1" fmla="*/ 0 h 62"/>
                <a:gd name="T2" fmla="*/ 0 w 213"/>
                <a:gd name="T3" fmla="*/ 0 h 62"/>
                <a:gd name="T4" fmla="*/ 0 w 213"/>
                <a:gd name="T5" fmla="*/ 1 h 62"/>
                <a:gd name="T6" fmla="*/ 0 w 213"/>
                <a:gd name="T7" fmla="*/ 1 h 62"/>
                <a:gd name="T8" fmla="*/ 0 w 213"/>
                <a:gd name="T9" fmla="*/ 1 h 62"/>
                <a:gd name="T10" fmla="*/ 0 w 213"/>
                <a:gd name="T11" fmla="*/ 1 h 62"/>
                <a:gd name="T12" fmla="*/ 0 w 213"/>
                <a:gd name="T13" fmla="*/ 1 h 62"/>
                <a:gd name="T14" fmla="*/ 0 w 213"/>
                <a:gd name="T15" fmla="*/ 1 h 62"/>
                <a:gd name="T16" fmla="*/ 0 w 213"/>
                <a:gd name="T17" fmla="*/ 1 h 62"/>
                <a:gd name="T18" fmla="*/ 0 w 213"/>
                <a:gd name="T19" fmla="*/ 1 h 62"/>
                <a:gd name="T20" fmla="*/ 0 w 213"/>
                <a:gd name="T21" fmla="*/ 1 h 62"/>
                <a:gd name="T22" fmla="*/ 0 w 213"/>
                <a:gd name="T23" fmla="*/ 1 h 62"/>
                <a:gd name="T24" fmla="*/ 0 w 213"/>
                <a:gd name="T25" fmla="*/ 1 h 62"/>
                <a:gd name="T26" fmla="*/ 0 w 213"/>
                <a:gd name="T27" fmla="*/ 1 h 62"/>
                <a:gd name="T28" fmla="*/ 0 w 213"/>
                <a:gd name="T29" fmla="*/ 1 h 62"/>
                <a:gd name="T30" fmla="*/ 0 w 213"/>
                <a:gd name="T31" fmla="*/ 1 h 62"/>
                <a:gd name="T32" fmla="*/ 0 w 213"/>
                <a:gd name="T33" fmla="*/ 1 h 62"/>
                <a:gd name="T34" fmla="*/ 0 w 213"/>
                <a:gd name="T35" fmla="*/ 1 h 62"/>
                <a:gd name="T36" fmla="*/ 0 w 213"/>
                <a:gd name="T37" fmla="*/ 1 h 62"/>
                <a:gd name="T38" fmla="*/ 0 w 213"/>
                <a:gd name="T39" fmla="*/ 1 h 62"/>
                <a:gd name="T40" fmla="*/ 0 w 213"/>
                <a:gd name="T41" fmla="*/ 1 h 62"/>
                <a:gd name="T42" fmla="*/ 0 w 213"/>
                <a:gd name="T43" fmla="*/ 1 h 62"/>
                <a:gd name="T44" fmla="*/ 0 w 213"/>
                <a:gd name="T45" fmla="*/ 1 h 62"/>
                <a:gd name="T46" fmla="*/ 0 w 213"/>
                <a:gd name="T47" fmla="*/ 1 h 62"/>
                <a:gd name="T48" fmla="*/ 0 w 213"/>
                <a:gd name="T49" fmla="*/ 1 h 62"/>
                <a:gd name="T50" fmla="*/ 0 w 213"/>
                <a:gd name="T51" fmla="*/ 1 h 62"/>
                <a:gd name="T52" fmla="*/ 0 w 213"/>
                <a:gd name="T53" fmla="*/ 1 h 62"/>
                <a:gd name="T54" fmla="*/ 0 w 213"/>
                <a:gd name="T55" fmla="*/ 1 h 62"/>
                <a:gd name="T56" fmla="*/ 0 w 213"/>
                <a:gd name="T57" fmla="*/ 1 h 62"/>
                <a:gd name="T58" fmla="*/ 0 w 213"/>
                <a:gd name="T59" fmla="*/ 1 h 62"/>
                <a:gd name="T60" fmla="*/ 0 w 213"/>
                <a:gd name="T61" fmla="*/ 1 h 62"/>
                <a:gd name="T62" fmla="*/ 0 w 213"/>
                <a:gd name="T63" fmla="*/ 1 h 62"/>
                <a:gd name="T64" fmla="*/ 0 w 213"/>
                <a:gd name="T65" fmla="*/ 1 h 62"/>
                <a:gd name="T66" fmla="*/ 0 w 213"/>
                <a:gd name="T67" fmla="*/ 1 h 62"/>
                <a:gd name="T68" fmla="*/ 0 w 213"/>
                <a:gd name="T69" fmla="*/ 1 h 62"/>
                <a:gd name="T70" fmla="*/ 0 w 213"/>
                <a:gd name="T71" fmla="*/ 1 h 62"/>
                <a:gd name="T72" fmla="*/ 0 w 213"/>
                <a:gd name="T73" fmla="*/ 1 h 62"/>
                <a:gd name="T74" fmla="*/ 0 w 213"/>
                <a:gd name="T75" fmla="*/ 0 h 62"/>
                <a:gd name="T76" fmla="*/ 0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4" name="Freeform 1060"/>
            <p:cNvSpPr>
              <a:spLocks/>
            </p:cNvSpPr>
            <p:nvPr>
              <p:custDataLst>
                <p:tags r:id="rId332"/>
              </p:custDataLst>
            </p:nvPr>
          </p:nvSpPr>
          <p:spPr bwMode="auto">
            <a:xfrm>
              <a:off x="3816" y="788"/>
              <a:ext cx="70" cy="38"/>
            </a:xfrm>
            <a:custGeom>
              <a:avLst/>
              <a:gdLst>
                <a:gd name="T0" fmla="*/ 0 w 239"/>
                <a:gd name="T1" fmla="*/ 0 h 56"/>
                <a:gd name="T2" fmla="*/ 0 w 239"/>
                <a:gd name="T3" fmla="*/ 1 h 56"/>
                <a:gd name="T4" fmla="*/ 0 w 239"/>
                <a:gd name="T5" fmla="*/ 1 h 56"/>
                <a:gd name="T6" fmla="*/ 0 w 239"/>
                <a:gd name="T7" fmla="*/ 1 h 56"/>
                <a:gd name="T8" fmla="*/ 0 w 239"/>
                <a:gd name="T9" fmla="*/ 1 h 56"/>
                <a:gd name="T10" fmla="*/ 0 w 239"/>
                <a:gd name="T11" fmla="*/ 1 h 56"/>
                <a:gd name="T12" fmla="*/ 0 w 239"/>
                <a:gd name="T13" fmla="*/ 1 h 56"/>
                <a:gd name="T14" fmla="*/ 0 w 239"/>
                <a:gd name="T15" fmla="*/ 1 h 56"/>
                <a:gd name="T16" fmla="*/ 0 w 239"/>
                <a:gd name="T17" fmla="*/ 1 h 56"/>
                <a:gd name="T18" fmla="*/ 0 w 239"/>
                <a:gd name="T19" fmla="*/ 1 h 56"/>
                <a:gd name="T20" fmla="*/ 0 w 239"/>
                <a:gd name="T21" fmla="*/ 1 h 56"/>
                <a:gd name="T22" fmla="*/ 0 w 239"/>
                <a:gd name="T23" fmla="*/ 1 h 56"/>
                <a:gd name="T24" fmla="*/ 0 w 239"/>
                <a:gd name="T25" fmla="*/ 1 h 56"/>
                <a:gd name="T26" fmla="*/ 0 w 239"/>
                <a:gd name="T27" fmla="*/ 1 h 56"/>
                <a:gd name="T28" fmla="*/ 0 w 239"/>
                <a:gd name="T29" fmla="*/ 1 h 56"/>
                <a:gd name="T30" fmla="*/ 0 w 239"/>
                <a:gd name="T31" fmla="*/ 1 h 56"/>
                <a:gd name="T32" fmla="*/ 0 w 239"/>
                <a:gd name="T33" fmla="*/ 1 h 56"/>
                <a:gd name="T34" fmla="*/ 0 w 239"/>
                <a:gd name="T35" fmla="*/ 1 h 56"/>
                <a:gd name="T36" fmla="*/ 0 w 239"/>
                <a:gd name="T37" fmla="*/ 1 h 56"/>
                <a:gd name="T38" fmla="*/ 0 w 239"/>
                <a:gd name="T39" fmla="*/ 1 h 56"/>
                <a:gd name="T40" fmla="*/ 0 w 239"/>
                <a:gd name="T41" fmla="*/ 1 h 56"/>
                <a:gd name="T42" fmla="*/ 0 w 239"/>
                <a:gd name="T43" fmla="*/ 1 h 56"/>
                <a:gd name="T44" fmla="*/ 0 w 239"/>
                <a:gd name="T45" fmla="*/ 1 h 56"/>
                <a:gd name="T46" fmla="*/ 0 w 239"/>
                <a:gd name="T47" fmla="*/ 1 h 56"/>
                <a:gd name="T48" fmla="*/ 0 w 239"/>
                <a:gd name="T49" fmla="*/ 1 h 56"/>
                <a:gd name="T50" fmla="*/ 0 w 239"/>
                <a:gd name="T51" fmla="*/ 1 h 56"/>
                <a:gd name="T52" fmla="*/ 0 w 239"/>
                <a:gd name="T53" fmla="*/ 1 h 56"/>
                <a:gd name="T54" fmla="*/ 0 w 239"/>
                <a:gd name="T55" fmla="*/ 1 h 56"/>
                <a:gd name="T56" fmla="*/ 0 w 239"/>
                <a:gd name="T57" fmla="*/ 1 h 56"/>
                <a:gd name="T58" fmla="*/ 0 w 239"/>
                <a:gd name="T59" fmla="*/ 1 h 56"/>
                <a:gd name="T60" fmla="*/ 0 w 239"/>
                <a:gd name="T61" fmla="*/ 1 h 56"/>
                <a:gd name="T62" fmla="*/ 0 w 239"/>
                <a:gd name="T63" fmla="*/ 1 h 56"/>
                <a:gd name="T64" fmla="*/ 0 w 239"/>
                <a:gd name="T65" fmla="*/ 1 h 56"/>
                <a:gd name="T66" fmla="*/ 0 w 239"/>
                <a:gd name="T67" fmla="*/ 1 h 56"/>
                <a:gd name="T68" fmla="*/ 0 w 239"/>
                <a:gd name="T69" fmla="*/ 1 h 56"/>
                <a:gd name="T70" fmla="*/ 0 w 239"/>
                <a:gd name="T71" fmla="*/ 1 h 56"/>
                <a:gd name="T72" fmla="*/ 0 w 239"/>
                <a:gd name="T73" fmla="*/ 1 h 56"/>
                <a:gd name="T74" fmla="*/ 0 w 239"/>
                <a:gd name="T75" fmla="*/ 1 h 56"/>
                <a:gd name="T76" fmla="*/ 0 w 239"/>
                <a:gd name="T77" fmla="*/ 1 h 56"/>
                <a:gd name="T78" fmla="*/ 0 w 239"/>
                <a:gd name="T79" fmla="*/ 1 h 56"/>
                <a:gd name="T80" fmla="*/ 0 w 239"/>
                <a:gd name="T81" fmla="*/ 1 h 56"/>
                <a:gd name="T82" fmla="*/ 0 w 239"/>
                <a:gd name="T83" fmla="*/ 1 h 56"/>
                <a:gd name="T84" fmla="*/ 0 w 239"/>
                <a:gd name="T85" fmla="*/ 1 h 56"/>
                <a:gd name="T86" fmla="*/ 0 w 239"/>
                <a:gd name="T87" fmla="*/ 0 h 56"/>
                <a:gd name="T88" fmla="*/ 0 w 239"/>
                <a:gd name="T89" fmla="*/ 1 h 56"/>
                <a:gd name="T90" fmla="*/ 0 w 239"/>
                <a:gd name="T91" fmla="*/ 1 h 56"/>
                <a:gd name="T92" fmla="*/ 0 w 239"/>
                <a:gd name="T93" fmla="*/ 1 h 56"/>
                <a:gd name="T94" fmla="*/ 0 w 239"/>
                <a:gd name="T95" fmla="*/ 1 h 56"/>
                <a:gd name="T96" fmla="*/ 0 w 239"/>
                <a:gd name="T97" fmla="*/ 1 h 56"/>
                <a:gd name="T98" fmla="*/ 0 w 239"/>
                <a:gd name="T99" fmla="*/ 1 h 56"/>
                <a:gd name="T100" fmla="*/ 0 w 239"/>
                <a:gd name="T101" fmla="*/ 1 h 56"/>
                <a:gd name="T102" fmla="*/ 0 w 239"/>
                <a:gd name="T103" fmla="*/ 1 h 56"/>
                <a:gd name="T104" fmla="*/ 0 w 239"/>
                <a:gd name="T105" fmla="*/ 1 h 56"/>
                <a:gd name="T106" fmla="*/ 0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5" name="Freeform 1061"/>
            <p:cNvSpPr>
              <a:spLocks/>
            </p:cNvSpPr>
            <p:nvPr>
              <p:custDataLst>
                <p:tags r:id="rId333"/>
              </p:custDataLst>
            </p:nvPr>
          </p:nvSpPr>
          <p:spPr bwMode="auto">
            <a:xfrm>
              <a:off x="3896" y="797"/>
              <a:ext cx="56" cy="36"/>
            </a:xfrm>
            <a:custGeom>
              <a:avLst/>
              <a:gdLst>
                <a:gd name="T0" fmla="*/ 0 w 187"/>
                <a:gd name="T1" fmla="*/ 0 h 80"/>
                <a:gd name="T2" fmla="*/ 0 w 187"/>
                <a:gd name="T3" fmla="*/ 0 h 80"/>
                <a:gd name="T4" fmla="*/ 0 w 187"/>
                <a:gd name="T5" fmla="*/ 0 h 80"/>
                <a:gd name="T6" fmla="*/ 0 w 187"/>
                <a:gd name="T7" fmla="*/ 0 h 80"/>
                <a:gd name="T8" fmla="*/ 0 w 187"/>
                <a:gd name="T9" fmla="*/ 0 h 80"/>
                <a:gd name="T10" fmla="*/ 0 w 187"/>
                <a:gd name="T11" fmla="*/ 0 h 80"/>
                <a:gd name="T12" fmla="*/ 0 w 187"/>
                <a:gd name="T13" fmla="*/ 0 h 80"/>
                <a:gd name="T14" fmla="*/ 0 w 187"/>
                <a:gd name="T15" fmla="*/ 0 h 80"/>
                <a:gd name="T16" fmla="*/ 0 w 187"/>
                <a:gd name="T17" fmla="*/ 0 h 80"/>
                <a:gd name="T18" fmla="*/ 0 w 187"/>
                <a:gd name="T19" fmla="*/ 0 h 80"/>
                <a:gd name="T20" fmla="*/ 0 w 187"/>
                <a:gd name="T21" fmla="*/ 0 h 80"/>
                <a:gd name="T22" fmla="*/ 0 w 187"/>
                <a:gd name="T23" fmla="*/ 0 h 80"/>
                <a:gd name="T24" fmla="*/ 0 w 187"/>
                <a:gd name="T25" fmla="*/ 0 h 80"/>
                <a:gd name="T26" fmla="*/ 0 w 187"/>
                <a:gd name="T27" fmla="*/ 0 h 80"/>
                <a:gd name="T28" fmla="*/ 0 w 187"/>
                <a:gd name="T29" fmla="*/ 0 h 80"/>
                <a:gd name="T30" fmla="*/ 0 w 187"/>
                <a:gd name="T31" fmla="*/ 0 h 80"/>
                <a:gd name="T32" fmla="*/ 0 w 187"/>
                <a:gd name="T33" fmla="*/ 0 h 80"/>
                <a:gd name="T34" fmla="*/ 0 w 187"/>
                <a:gd name="T35" fmla="*/ 0 h 80"/>
                <a:gd name="T36" fmla="*/ 0 w 187"/>
                <a:gd name="T37" fmla="*/ 0 h 80"/>
                <a:gd name="T38" fmla="*/ 0 w 187"/>
                <a:gd name="T39" fmla="*/ 0 h 80"/>
                <a:gd name="T40" fmla="*/ 0 w 187"/>
                <a:gd name="T41" fmla="*/ 0 h 80"/>
                <a:gd name="T42" fmla="*/ 0 w 187"/>
                <a:gd name="T43" fmla="*/ 0 h 80"/>
                <a:gd name="T44" fmla="*/ 0 w 187"/>
                <a:gd name="T45" fmla="*/ 0 h 80"/>
                <a:gd name="T46" fmla="*/ 0 w 187"/>
                <a:gd name="T47" fmla="*/ 0 h 80"/>
                <a:gd name="T48" fmla="*/ 0 w 187"/>
                <a:gd name="T49" fmla="*/ 0 h 80"/>
                <a:gd name="T50" fmla="*/ 0 w 187"/>
                <a:gd name="T51" fmla="*/ 0 h 80"/>
                <a:gd name="T52" fmla="*/ 0 w 187"/>
                <a:gd name="T53" fmla="*/ 0 h 80"/>
                <a:gd name="T54" fmla="*/ 0 w 187"/>
                <a:gd name="T55" fmla="*/ 0 h 80"/>
                <a:gd name="T56" fmla="*/ 0 w 187"/>
                <a:gd name="T57" fmla="*/ 0 h 80"/>
                <a:gd name="T58" fmla="*/ 0 w 187"/>
                <a:gd name="T59" fmla="*/ 0 h 80"/>
                <a:gd name="T60" fmla="*/ 0 w 187"/>
                <a:gd name="T61" fmla="*/ 0 h 80"/>
                <a:gd name="T62" fmla="*/ 0 w 187"/>
                <a:gd name="T63" fmla="*/ 0 h 80"/>
                <a:gd name="T64" fmla="*/ 0 w 187"/>
                <a:gd name="T65" fmla="*/ 0 h 80"/>
                <a:gd name="T66" fmla="*/ 0 w 187"/>
                <a:gd name="T67" fmla="*/ 0 h 80"/>
                <a:gd name="T68" fmla="*/ 0 w 187"/>
                <a:gd name="T69" fmla="*/ 0 h 80"/>
                <a:gd name="T70" fmla="*/ 0 w 187"/>
                <a:gd name="T71" fmla="*/ 0 h 80"/>
                <a:gd name="T72" fmla="*/ 0 w 187"/>
                <a:gd name="T73" fmla="*/ 0 h 80"/>
                <a:gd name="T74" fmla="*/ 0 w 187"/>
                <a:gd name="T75" fmla="*/ 0 h 80"/>
                <a:gd name="T76" fmla="*/ 0 w 187"/>
                <a:gd name="T77" fmla="*/ 0 h 80"/>
                <a:gd name="T78" fmla="*/ 0 w 187"/>
                <a:gd name="T79" fmla="*/ 0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6" name="Freeform 1062"/>
            <p:cNvSpPr>
              <a:spLocks/>
            </p:cNvSpPr>
            <p:nvPr>
              <p:custDataLst>
                <p:tags r:id="rId334"/>
              </p:custDataLst>
            </p:nvPr>
          </p:nvSpPr>
          <p:spPr bwMode="auto">
            <a:xfrm>
              <a:off x="4255" y="876"/>
              <a:ext cx="55" cy="37"/>
            </a:xfrm>
            <a:custGeom>
              <a:avLst/>
              <a:gdLst>
                <a:gd name="T0" fmla="*/ 0 w 183"/>
                <a:gd name="T1" fmla="*/ 0 h 73"/>
                <a:gd name="T2" fmla="*/ 0 w 183"/>
                <a:gd name="T3" fmla="*/ 0 h 73"/>
                <a:gd name="T4" fmla="*/ 0 w 183"/>
                <a:gd name="T5" fmla="*/ 1 h 73"/>
                <a:gd name="T6" fmla="*/ 0 w 183"/>
                <a:gd name="T7" fmla="*/ 1 h 73"/>
                <a:gd name="T8" fmla="*/ 0 w 183"/>
                <a:gd name="T9" fmla="*/ 1 h 73"/>
                <a:gd name="T10" fmla="*/ 0 w 183"/>
                <a:gd name="T11" fmla="*/ 1 h 73"/>
                <a:gd name="T12" fmla="*/ 0 w 183"/>
                <a:gd name="T13" fmla="*/ 1 h 73"/>
                <a:gd name="T14" fmla="*/ 0 w 183"/>
                <a:gd name="T15" fmla="*/ 1 h 73"/>
                <a:gd name="T16" fmla="*/ 0 w 183"/>
                <a:gd name="T17" fmla="*/ 1 h 73"/>
                <a:gd name="T18" fmla="*/ 0 w 183"/>
                <a:gd name="T19" fmla="*/ 1 h 73"/>
                <a:gd name="T20" fmla="*/ 0 w 183"/>
                <a:gd name="T21" fmla="*/ 1 h 73"/>
                <a:gd name="T22" fmla="*/ 0 w 183"/>
                <a:gd name="T23" fmla="*/ 1 h 73"/>
                <a:gd name="T24" fmla="*/ 0 w 183"/>
                <a:gd name="T25" fmla="*/ 1 h 73"/>
                <a:gd name="T26" fmla="*/ 0 w 183"/>
                <a:gd name="T27" fmla="*/ 1 h 73"/>
                <a:gd name="T28" fmla="*/ 0 w 183"/>
                <a:gd name="T29" fmla="*/ 1 h 73"/>
                <a:gd name="T30" fmla="*/ 0 w 183"/>
                <a:gd name="T31" fmla="*/ 1 h 73"/>
                <a:gd name="T32" fmla="*/ 0 w 183"/>
                <a:gd name="T33" fmla="*/ 1 h 73"/>
                <a:gd name="T34" fmla="*/ 0 w 183"/>
                <a:gd name="T35" fmla="*/ 1 h 73"/>
                <a:gd name="T36" fmla="*/ 0 w 183"/>
                <a:gd name="T37" fmla="*/ 1 h 73"/>
                <a:gd name="T38" fmla="*/ 0 w 183"/>
                <a:gd name="T39" fmla="*/ 1 h 73"/>
                <a:gd name="T40" fmla="*/ 0 w 183"/>
                <a:gd name="T41" fmla="*/ 1 h 73"/>
                <a:gd name="T42" fmla="*/ 0 w 183"/>
                <a:gd name="T43" fmla="*/ 1 h 73"/>
                <a:gd name="T44" fmla="*/ 0 w 183"/>
                <a:gd name="T45" fmla="*/ 1 h 73"/>
                <a:gd name="T46" fmla="*/ 0 w 183"/>
                <a:gd name="T47" fmla="*/ 1 h 73"/>
                <a:gd name="T48" fmla="*/ 0 w 183"/>
                <a:gd name="T49" fmla="*/ 1 h 73"/>
                <a:gd name="T50" fmla="*/ 0 w 183"/>
                <a:gd name="T51" fmla="*/ 1 h 73"/>
                <a:gd name="T52" fmla="*/ 0 w 183"/>
                <a:gd name="T53" fmla="*/ 1 h 73"/>
                <a:gd name="T54" fmla="*/ 0 w 183"/>
                <a:gd name="T55" fmla="*/ 1 h 73"/>
                <a:gd name="T56" fmla="*/ 0 w 183"/>
                <a:gd name="T57" fmla="*/ 1 h 73"/>
                <a:gd name="T58" fmla="*/ 0 w 183"/>
                <a:gd name="T59" fmla="*/ 1 h 73"/>
                <a:gd name="T60" fmla="*/ 0 w 183"/>
                <a:gd name="T61" fmla="*/ 1 h 73"/>
                <a:gd name="T62" fmla="*/ 0 w 183"/>
                <a:gd name="T63" fmla="*/ 0 h 73"/>
                <a:gd name="T64" fmla="*/ 0 w 183"/>
                <a:gd name="T65" fmla="*/ 0 h 73"/>
                <a:gd name="T66" fmla="*/ 0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7" name="Freeform 1063"/>
            <p:cNvSpPr>
              <a:spLocks/>
            </p:cNvSpPr>
            <p:nvPr>
              <p:custDataLst>
                <p:tags r:id="rId335"/>
              </p:custDataLst>
            </p:nvPr>
          </p:nvSpPr>
          <p:spPr bwMode="auto">
            <a:xfrm>
              <a:off x="4301" y="887"/>
              <a:ext cx="23" cy="36"/>
            </a:xfrm>
            <a:custGeom>
              <a:avLst/>
              <a:gdLst>
                <a:gd name="T0" fmla="*/ 0 w 79"/>
                <a:gd name="T1" fmla="*/ 3 h 42"/>
                <a:gd name="T2" fmla="*/ 0 w 79"/>
                <a:gd name="T3" fmla="*/ 2 h 42"/>
                <a:gd name="T4" fmla="*/ 0 w 79"/>
                <a:gd name="T5" fmla="*/ 1 h 42"/>
                <a:gd name="T6" fmla="*/ 0 w 79"/>
                <a:gd name="T7" fmla="*/ 0 h 42"/>
                <a:gd name="T8" fmla="*/ 0 w 79"/>
                <a:gd name="T9" fmla="*/ 0 h 42"/>
                <a:gd name="T10" fmla="*/ 0 w 79"/>
                <a:gd name="T11" fmla="*/ 3 h 42"/>
                <a:gd name="T12" fmla="*/ 0 w 79"/>
                <a:gd name="T13" fmla="*/ 3 h 42"/>
                <a:gd name="T14" fmla="*/ 0 w 79"/>
                <a:gd name="T15" fmla="*/ 3 h 42"/>
                <a:gd name="T16" fmla="*/ 0 w 79"/>
                <a:gd name="T17" fmla="*/ 3 h 42"/>
                <a:gd name="T18" fmla="*/ 0 w 79"/>
                <a:gd name="T19" fmla="*/ 3 h 42"/>
                <a:gd name="T20" fmla="*/ 0 w 79"/>
                <a:gd name="T21" fmla="*/ 3 h 42"/>
                <a:gd name="T22" fmla="*/ 0 w 79"/>
                <a:gd name="T23" fmla="*/ 3 h 42"/>
                <a:gd name="T24" fmla="*/ 0 w 79"/>
                <a:gd name="T25" fmla="*/ 3 h 42"/>
                <a:gd name="T26" fmla="*/ 0 w 79"/>
                <a:gd name="T27" fmla="*/ 3 h 42"/>
                <a:gd name="T28" fmla="*/ 0 w 79"/>
                <a:gd name="T29" fmla="*/ 3 h 42"/>
                <a:gd name="T30" fmla="*/ 0 w 79"/>
                <a:gd name="T31" fmla="*/ 3 h 42"/>
                <a:gd name="T32" fmla="*/ 0 w 79"/>
                <a:gd name="T33" fmla="*/ 3 h 42"/>
                <a:gd name="T34" fmla="*/ 0 w 79"/>
                <a:gd name="T35" fmla="*/ 3 h 42"/>
                <a:gd name="T36" fmla="*/ 0 w 79"/>
                <a:gd name="T37" fmla="*/ 3 h 42"/>
                <a:gd name="T38" fmla="*/ 0 w 79"/>
                <a:gd name="T39" fmla="*/ 3 h 42"/>
                <a:gd name="T40" fmla="*/ 0 w 79"/>
                <a:gd name="T41" fmla="*/ 3 h 42"/>
                <a:gd name="T42" fmla="*/ 0 w 79"/>
                <a:gd name="T43" fmla="*/ 3 h 42"/>
                <a:gd name="T44" fmla="*/ 0 w 79"/>
                <a:gd name="T45" fmla="*/ 3 h 42"/>
                <a:gd name="T46" fmla="*/ 0 w 79"/>
                <a:gd name="T47" fmla="*/ 3 h 42"/>
                <a:gd name="T48" fmla="*/ 0 w 79"/>
                <a:gd name="T49" fmla="*/ 3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8" name="Freeform 1064"/>
            <p:cNvSpPr>
              <a:spLocks/>
            </p:cNvSpPr>
            <p:nvPr>
              <p:custDataLst>
                <p:tags r:id="rId336"/>
              </p:custDataLst>
            </p:nvPr>
          </p:nvSpPr>
          <p:spPr bwMode="auto">
            <a:xfrm>
              <a:off x="4321" y="894"/>
              <a:ext cx="36" cy="37"/>
            </a:xfrm>
            <a:custGeom>
              <a:avLst/>
              <a:gdLst>
                <a:gd name="T0" fmla="*/ 0 w 113"/>
                <a:gd name="T1" fmla="*/ 1 h 52"/>
                <a:gd name="T2" fmla="*/ 0 w 113"/>
                <a:gd name="T3" fmla="*/ 1 h 52"/>
                <a:gd name="T4" fmla="*/ 0 w 113"/>
                <a:gd name="T5" fmla="*/ 1 h 52"/>
                <a:gd name="T6" fmla="*/ 0 w 113"/>
                <a:gd name="T7" fmla="*/ 1 h 52"/>
                <a:gd name="T8" fmla="*/ 0 w 113"/>
                <a:gd name="T9" fmla="*/ 1 h 52"/>
                <a:gd name="T10" fmla="*/ 0 w 113"/>
                <a:gd name="T11" fmla="*/ 1 h 52"/>
                <a:gd name="T12" fmla="*/ 0 w 113"/>
                <a:gd name="T13" fmla="*/ 1 h 52"/>
                <a:gd name="T14" fmla="*/ 0 w 113"/>
                <a:gd name="T15" fmla="*/ 1 h 52"/>
                <a:gd name="T16" fmla="*/ 0 w 113"/>
                <a:gd name="T17" fmla="*/ 1 h 52"/>
                <a:gd name="T18" fmla="*/ 0 w 113"/>
                <a:gd name="T19" fmla="*/ 1 h 52"/>
                <a:gd name="T20" fmla="*/ 0 w 113"/>
                <a:gd name="T21" fmla="*/ 1 h 52"/>
                <a:gd name="T22" fmla="*/ 0 w 113"/>
                <a:gd name="T23" fmla="*/ 1 h 52"/>
                <a:gd name="T24" fmla="*/ 0 w 113"/>
                <a:gd name="T25" fmla="*/ 1 h 52"/>
                <a:gd name="T26" fmla="*/ 0 w 113"/>
                <a:gd name="T27" fmla="*/ 1 h 52"/>
                <a:gd name="T28" fmla="*/ 0 w 113"/>
                <a:gd name="T29" fmla="*/ 1 h 52"/>
                <a:gd name="T30" fmla="*/ 0 w 113"/>
                <a:gd name="T31" fmla="*/ 1 h 52"/>
                <a:gd name="T32" fmla="*/ 0 w 113"/>
                <a:gd name="T33" fmla="*/ 1 h 52"/>
                <a:gd name="T34" fmla="*/ 0 w 113"/>
                <a:gd name="T35" fmla="*/ 1 h 52"/>
                <a:gd name="T36" fmla="*/ 0 w 113"/>
                <a:gd name="T37" fmla="*/ 1 h 52"/>
                <a:gd name="T38" fmla="*/ 0 w 113"/>
                <a:gd name="T39" fmla="*/ 1 h 52"/>
                <a:gd name="T40" fmla="*/ 0 w 113"/>
                <a:gd name="T41" fmla="*/ 1 h 52"/>
                <a:gd name="T42" fmla="*/ 0 w 113"/>
                <a:gd name="T43" fmla="*/ 1 h 52"/>
                <a:gd name="T44" fmla="*/ 0 w 113"/>
                <a:gd name="T45" fmla="*/ 1 h 52"/>
                <a:gd name="T46" fmla="*/ 0 w 113"/>
                <a:gd name="T47" fmla="*/ 1 h 52"/>
                <a:gd name="T48" fmla="*/ 0 w 113"/>
                <a:gd name="T49" fmla="*/ 1 h 52"/>
                <a:gd name="T50" fmla="*/ 0 w 113"/>
                <a:gd name="T51" fmla="*/ 1 h 52"/>
                <a:gd name="T52" fmla="*/ 0 w 113"/>
                <a:gd name="T53" fmla="*/ 0 h 52"/>
                <a:gd name="T54" fmla="*/ 0 w 113"/>
                <a:gd name="T55" fmla="*/ 0 h 52"/>
                <a:gd name="T56" fmla="*/ 0 w 113"/>
                <a:gd name="T57" fmla="*/ 1 h 52"/>
                <a:gd name="T58" fmla="*/ 0 w 113"/>
                <a:gd name="T59" fmla="*/ 1 h 52"/>
                <a:gd name="T60" fmla="*/ 0 w 113"/>
                <a:gd name="T61" fmla="*/ 1 h 52"/>
                <a:gd name="T62" fmla="*/ 0 w 113"/>
                <a:gd name="T63" fmla="*/ 1 h 52"/>
                <a:gd name="T64" fmla="*/ 0 w 113"/>
                <a:gd name="T65" fmla="*/ 1 h 52"/>
                <a:gd name="T66" fmla="*/ 0 w 113"/>
                <a:gd name="T67" fmla="*/ 1 h 52"/>
                <a:gd name="T68" fmla="*/ 0 w 113"/>
                <a:gd name="T69" fmla="*/ 1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9" name="Freeform 1065"/>
            <p:cNvSpPr>
              <a:spLocks/>
            </p:cNvSpPr>
            <p:nvPr>
              <p:custDataLst>
                <p:tags r:id="rId337"/>
              </p:custDataLst>
            </p:nvPr>
          </p:nvSpPr>
          <p:spPr bwMode="auto">
            <a:xfrm>
              <a:off x="4165" y="877"/>
              <a:ext cx="43" cy="37"/>
            </a:xfrm>
            <a:custGeom>
              <a:avLst/>
              <a:gdLst>
                <a:gd name="T0" fmla="*/ 0 w 139"/>
                <a:gd name="T1" fmla="*/ 6 h 40"/>
                <a:gd name="T2" fmla="*/ 0 w 139"/>
                <a:gd name="T3" fmla="*/ 6 h 40"/>
                <a:gd name="T4" fmla="*/ 0 w 139"/>
                <a:gd name="T5" fmla="*/ 6 h 40"/>
                <a:gd name="T6" fmla="*/ 0 w 139"/>
                <a:gd name="T7" fmla="*/ 6 h 40"/>
                <a:gd name="T8" fmla="*/ 0 w 139"/>
                <a:gd name="T9" fmla="*/ 5 h 40"/>
                <a:gd name="T10" fmla="*/ 0 w 139"/>
                <a:gd name="T11" fmla="*/ 2 h 40"/>
                <a:gd name="T12" fmla="*/ 0 w 139"/>
                <a:gd name="T13" fmla="*/ 1 h 40"/>
                <a:gd name="T14" fmla="*/ 0 w 139"/>
                <a:gd name="T15" fmla="*/ 0 h 40"/>
                <a:gd name="T16" fmla="*/ 0 w 139"/>
                <a:gd name="T17" fmla="*/ 2 h 40"/>
                <a:gd name="T18" fmla="*/ 0 w 139"/>
                <a:gd name="T19" fmla="*/ 8 h 40"/>
                <a:gd name="T20" fmla="*/ 0 w 139"/>
                <a:gd name="T21" fmla="*/ 8 h 40"/>
                <a:gd name="T22" fmla="*/ 0 w 139"/>
                <a:gd name="T23" fmla="*/ 8 h 40"/>
                <a:gd name="T24" fmla="*/ 0 w 139"/>
                <a:gd name="T25" fmla="*/ 8 h 40"/>
                <a:gd name="T26" fmla="*/ 0 w 139"/>
                <a:gd name="T27" fmla="*/ 7 h 40"/>
                <a:gd name="T28" fmla="*/ 0 w 139"/>
                <a:gd name="T29" fmla="*/ 6 h 40"/>
                <a:gd name="T30" fmla="*/ 0 w 139"/>
                <a:gd name="T31" fmla="*/ 6 h 40"/>
                <a:gd name="T32" fmla="*/ 0 w 139"/>
                <a:gd name="T33" fmla="*/ 6 h 40"/>
                <a:gd name="T34" fmla="*/ 0 w 139"/>
                <a:gd name="T35" fmla="*/ 6 h 40"/>
                <a:gd name="T36" fmla="*/ 0 w 139"/>
                <a:gd name="T37" fmla="*/ 6 h 40"/>
                <a:gd name="T38" fmla="*/ 0 w 139"/>
                <a:gd name="T39" fmla="*/ 6 h 40"/>
                <a:gd name="T40" fmla="*/ 0 w 139"/>
                <a:gd name="T41" fmla="*/ 6 h 40"/>
                <a:gd name="T42" fmla="*/ 0 w 139"/>
                <a:gd name="T43" fmla="*/ 6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0" name="Freeform 1066"/>
            <p:cNvSpPr>
              <a:spLocks/>
            </p:cNvSpPr>
            <p:nvPr>
              <p:custDataLst>
                <p:tags r:id="rId338"/>
              </p:custDataLst>
            </p:nvPr>
          </p:nvSpPr>
          <p:spPr bwMode="auto">
            <a:xfrm>
              <a:off x="4370" y="840"/>
              <a:ext cx="96" cy="36"/>
            </a:xfrm>
            <a:custGeom>
              <a:avLst/>
              <a:gdLst>
                <a:gd name="T0" fmla="*/ 0 w 325"/>
                <a:gd name="T1" fmla="*/ 1 h 71"/>
                <a:gd name="T2" fmla="*/ 0 w 325"/>
                <a:gd name="T3" fmla="*/ 1 h 71"/>
                <a:gd name="T4" fmla="*/ 0 w 325"/>
                <a:gd name="T5" fmla="*/ 0 h 71"/>
                <a:gd name="T6" fmla="*/ 0 w 325"/>
                <a:gd name="T7" fmla="*/ 1 h 71"/>
                <a:gd name="T8" fmla="*/ 0 w 325"/>
                <a:gd name="T9" fmla="*/ 1 h 71"/>
                <a:gd name="T10" fmla="*/ 0 w 325"/>
                <a:gd name="T11" fmla="*/ 1 h 71"/>
                <a:gd name="T12" fmla="*/ 0 w 325"/>
                <a:gd name="T13" fmla="*/ 1 h 71"/>
                <a:gd name="T14" fmla="*/ 0 w 325"/>
                <a:gd name="T15" fmla="*/ 1 h 71"/>
                <a:gd name="T16" fmla="*/ 0 w 325"/>
                <a:gd name="T17" fmla="*/ 1 h 71"/>
                <a:gd name="T18" fmla="*/ 0 w 325"/>
                <a:gd name="T19" fmla="*/ 1 h 71"/>
                <a:gd name="T20" fmla="*/ 0 w 325"/>
                <a:gd name="T21" fmla="*/ 1 h 71"/>
                <a:gd name="T22" fmla="*/ 0 w 325"/>
                <a:gd name="T23" fmla="*/ 1 h 71"/>
                <a:gd name="T24" fmla="*/ 0 w 325"/>
                <a:gd name="T25" fmla="*/ 1 h 71"/>
                <a:gd name="T26" fmla="*/ 0 w 325"/>
                <a:gd name="T27" fmla="*/ 1 h 71"/>
                <a:gd name="T28" fmla="*/ 0 w 325"/>
                <a:gd name="T29" fmla="*/ 1 h 71"/>
                <a:gd name="T30" fmla="*/ 0 w 325"/>
                <a:gd name="T31" fmla="*/ 1 h 71"/>
                <a:gd name="T32" fmla="*/ 0 w 325"/>
                <a:gd name="T33" fmla="*/ 1 h 71"/>
                <a:gd name="T34" fmla="*/ 0 w 325"/>
                <a:gd name="T35" fmla="*/ 1 h 71"/>
                <a:gd name="T36" fmla="*/ 0 w 325"/>
                <a:gd name="T37" fmla="*/ 1 h 71"/>
                <a:gd name="T38" fmla="*/ 0 w 325"/>
                <a:gd name="T39" fmla="*/ 1 h 71"/>
                <a:gd name="T40" fmla="*/ 0 w 325"/>
                <a:gd name="T41" fmla="*/ 1 h 71"/>
                <a:gd name="T42" fmla="*/ 0 w 325"/>
                <a:gd name="T43" fmla="*/ 1 h 71"/>
                <a:gd name="T44" fmla="*/ 0 w 325"/>
                <a:gd name="T45" fmla="*/ 1 h 71"/>
                <a:gd name="T46" fmla="*/ 0 w 325"/>
                <a:gd name="T47" fmla="*/ 1 h 71"/>
                <a:gd name="T48" fmla="*/ 0 w 325"/>
                <a:gd name="T49" fmla="*/ 1 h 71"/>
                <a:gd name="T50" fmla="*/ 0 w 325"/>
                <a:gd name="T51" fmla="*/ 1 h 71"/>
                <a:gd name="T52" fmla="*/ 0 w 325"/>
                <a:gd name="T53" fmla="*/ 1 h 71"/>
                <a:gd name="T54" fmla="*/ 0 w 325"/>
                <a:gd name="T55" fmla="*/ 1 h 71"/>
                <a:gd name="T56" fmla="*/ 0 w 325"/>
                <a:gd name="T57" fmla="*/ 1 h 71"/>
                <a:gd name="T58" fmla="*/ 0 w 325"/>
                <a:gd name="T59" fmla="*/ 1 h 71"/>
                <a:gd name="T60" fmla="*/ 0 w 325"/>
                <a:gd name="T61" fmla="*/ 1 h 71"/>
                <a:gd name="T62" fmla="*/ 0 w 325"/>
                <a:gd name="T63" fmla="*/ 1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1" name="Freeform 1067"/>
            <p:cNvSpPr>
              <a:spLocks/>
            </p:cNvSpPr>
            <p:nvPr>
              <p:custDataLst>
                <p:tags r:id="rId339"/>
              </p:custDataLst>
            </p:nvPr>
          </p:nvSpPr>
          <p:spPr bwMode="auto">
            <a:xfrm>
              <a:off x="4480" y="845"/>
              <a:ext cx="65" cy="36"/>
            </a:xfrm>
            <a:custGeom>
              <a:avLst/>
              <a:gdLst>
                <a:gd name="T0" fmla="*/ 0 w 220"/>
                <a:gd name="T1" fmla="*/ 1 h 72"/>
                <a:gd name="T2" fmla="*/ 0 w 220"/>
                <a:gd name="T3" fmla="*/ 1 h 72"/>
                <a:gd name="T4" fmla="*/ 0 w 220"/>
                <a:gd name="T5" fmla="*/ 1 h 72"/>
                <a:gd name="T6" fmla="*/ 0 w 220"/>
                <a:gd name="T7" fmla="*/ 1 h 72"/>
                <a:gd name="T8" fmla="*/ 0 w 220"/>
                <a:gd name="T9" fmla="*/ 1 h 72"/>
                <a:gd name="T10" fmla="*/ 0 w 220"/>
                <a:gd name="T11" fmla="*/ 1 h 72"/>
                <a:gd name="T12" fmla="*/ 0 w 220"/>
                <a:gd name="T13" fmla="*/ 1 h 72"/>
                <a:gd name="T14" fmla="*/ 0 w 220"/>
                <a:gd name="T15" fmla="*/ 1 h 72"/>
                <a:gd name="T16" fmla="*/ 0 w 220"/>
                <a:gd name="T17" fmla="*/ 1 h 72"/>
                <a:gd name="T18" fmla="*/ 0 w 220"/>
                <a:gd name="T19" fmla="*/ 1 h 72"/>
                <a:gd name="T20" fmla="*/ 0 w 220"/>
                <a:gd name="T21" fmla="*/ 1 h 72"/>
                <a:gd name="T22" fmla="*/ 0 w 220"/>
                <a:gd name="T23" fmla="*/ 1 h 72"/>
                <a:gd name="T24" fmla="*/ 0 w 220"/>
                <a:gd name="T25" fmla="*/ 1 h 72"/>
                <a:gd name="T26" fmla="*/ 0 w 220"/>
                <a:gd name="T27" fmla="*/ 1 h 72"/>
                <a:gd name="T28" fmla="*/ 0 w 220"/>
                <a:gd name="T29" fmla="*/ 0 h 72"/>
                <a:gd name="T30" fmla="*/ 0 w 220"/>
                <a:gd name="T31" fmla="*/ 1 h 72"/>
                <a:gd name="T32" fmla="*/ 0 w 220"/>
                <a:gd name="T33" fmla="*/ 1 h 72"/>
                <a:gd name="T34" fmla="*/ 0 w 220"/>
                <a:gd name="T35" fmla="*/ 1 h 72"/>
                <a:gd name="T36" fmla="*/ 0 w 220"/>
                <a:gd name="T37" fmla="*/ 1 h 72"/>
                <a:gd name="T38" fmla="*/ 0 w 220"/>
                <a:gd name="T39" fmla="*/ 1 h 72"/>
                <a:gd name="T40" fmla="*/ 0 w 220"/>
                <a:gd name="T41" fmla="*/ 1 h 72"/>
                <a:gd name="T42" fmla="*/ 0 w 220"/>
                <a:gd name="T43" fmla="*/ 1 h 72"/>
                <a:gd name="T44" fmla="*/ 0 w 220"/>
                <a:gd name="T45" fmla="*/ 1 h 72"/>
                <a:gd name="T46" fmla="*/ 0 w 220"/>
                <a:gd name="T47" fmla="*/ 1 h 72"/>
                <a:gd name="T48" fmla="*/ 0 w 220"/>
                <a:gd name="T49" fmla="*/ 1 h 72"/>
                <a:gd name="T50" fmla="*/ 0 w 220"/>
                <a:gd name="T51" fmla="*/ 1 h 72"/>
                <a:gd name="T52" fmla="*/ 0 w 220"/>
                <a:gd name="T53" fmla="*/ 1 h 72"/>
                <a:gd name="T54" fmla="*/ 0 w 220"/>
                <a:gd name="T55" fmla="*/ 1 h 72"/>
                <a:gd name="T56" fmla="*/ 0 w 220"/>
                <a:gd name="T57" fmla="*/ 1 h 72"/>
                <a:gd name="T58" fmla="*/ 0 w 220"/>
                <a:gd name="T59" fmla="*/ 1 h 72"/>
                <a:gd name="T60" fmla="*/ 0 w 220"/>
                <a:gd name="T61" fmla="*/ 1 h 72"/>
                <a:gd name="T62" fmla="*/ 0 w 220"/>
                <a:gd name="T63" fmla="*/ 1 h 72"/>
                <a:gd name="T64" fmla="*/ 0 w 220"/>
                <a:gd name="T65" fmla="*/ 1 h 72"/>
                <a:gd name="T66" fmla="*/ 0 w 220"/>
                <a:gd name="T67" fmla="*/ 1 h 72"/>
                <a:gd name="T68" fmla="*/ 0 w 220"/>
                <a:gd name="T69" fmla="*/ 1 h 72"/>
                <a:gd name="T70" fmla="*/ 0 w 220"/>
                <a:gd name="T71" fmla="*/ 1 h 72"/>
                <a:gd name="T72" fmla="*/ 0 w 220"/>
                <a:gd name="T73" fmla="*/ 1 h 72"/>
                <a:gd name="T74" fmla="*/ 0 w 220"/>
                <a:gd name="T75" fmla="*/ 1 h 72"/>
                <a:gd name="T76" fmla="*/ 0 w 220"/>
                <a:gd name="T77" fmla="*/ 1 h 72"/>
                <a:gd name="T78" fmla="*/ 0 w 220"/>
                <a:gd name="T79" fmla="*/ 1 h 72"/>
                <a:gd name="T80" fmla="*/ 0 w 220"/>
                <a:gd name="T81" fmla="*/ 1 h 72"/>
                <a:gd name="T82" fmla="*/ 0 w 220"/>
                <a:gd name="T83" fmla="*/ 1 h 72"/>
                <a:gd name="T84" fmla="*/ 0 w 220"/>
                <a:gd name="T85" fmla="*/ 1 h 72"/>
                <a:gd name="T86" fmla="*/ 0 w 220"/>
                <a:gd name="T87" fmla="*/ 1 h 72"/>
                <a:gd name="T88" fmla="*/ 0 w 220"/>
                <a:gd name="T89" fmla="*/ 1 h 72"/>
                <a:gd name="T90" fmla="*/ 0 w 220"/>
                <a:gd name="T91" fmla="*/ 1 h 72"/>
                <a:gd name="T92" fmla="*/ 0 w 220"/>
                <a:gd name="T93" fmla="*/ 1 h 72"/>
                <a:gd name="T94" fmla="*/ 0 w 220"/>
                <a:gd name="T95" fmla="*/ 1 h 72"/>
                <a:gd name="T96" fmla="*/ 0 w 220"/>
                <a:gd name="T97" fmla="*/ 1 h 72"/>
                <a:gd name="T98" fmla="*/ 0 w 220"/>
                <a:gd name="T99" fmla="*/ 1 h 72"/>
                <a:gd name="T100" fmla="*/ 0 w 220"/>
                <a:gd name="T101" fmla="*/ 1 h 72"/>
                <a:gd name="T102" fmla="*/ 0 w 220"/>
                <a:gd name="T103" fmla="*/ 1 h 72"/>
                <a:gd name="T104" fmla="*/ 0 w 220"/>
                <a:gd name="T105" fmla="*/ 1 h 72"/>
                <a:gd name="T106" fmla="*/ 0 w 220"/>
                <a:gd name="T107" fmla="*/ 1 h 72"/>
                <a:gd name="T108" fmla="*/ 0 w 220"/>
                <a:gd name="T109" fmla="*/ 1 h 72"/>
                <a:gd name="T110" fmla="*/ 0 w 220"/>
                <a:gd name="T111" fmla="*/ 1 h 72"/>
                <a:gd name="T112" fmla="*/ 0 w 220"/>
                <a:gd name="T113" fmla="*/ 1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2" name="Freeform 1068"/>
            <p:cNvSpPr>
              <a:spLocks/>
            </p:cNvSpPr>
            <p:nvPr>
              <p:custDataLst>
                <p:tags r:id="rId340"/>
              </p:custDataLst>
            </p:nvPr>
          </p:nvSpPr>
          <p:spPr bwMode="auto">
            <a:xfrm>
              <a:off x="4453" y="875"/>
              <a:ext cx="43" cy="37"/>
            </a:xfrm>
            <a:custGeom>
              <a:avLst/>
              <a:gdLst>
                <a:gd name="T0" fmla="*/ 0 w 146"/>
                <a:gd name="T1" fmla="*/ 1677 h 30"/>
                <a:gd name="T2" fmla="*/ 0 w 146"/>
                <a:gd name="T3" fmla="*/ 1103 h 30"/>
                <a:gd name="T4" fmla="*/ 0 w 146"/>
                <a:gd name="T5" fmla="*/ 594 h 30"/>
                <a:gd name="T6" fmla="*/ 0 w 146"/>
                <a:gd name="T7" fmla="*/ 257 h 30"/>
                <a:gd name="T8" fmla="*/ 0 w 146"/>
                <a:gd name="T9" fmla="*/ 1 h 30"/>
                <a:gd name="T10" fmla="*/ 0 w 146"/>
                <a:gd name="T11" fmla="*/ 1 h 30"/>
                <a:gd name="T12" fmla="*/ 0 w 146"/>
                <a:gd name="T13" fmla="*/ 1 h 30"/>
                <a:gd name="T14" fmla="*/ 0 w 146"/>
                <a:gd name="T15" fmla="*/ 2 h 30"/>
                <a:gd name="T16" fmla="*/ 0 w 146"/>
                <a:gd name="T17" fmla="*/ 208 h 30"/>
                <a:gd name="T18" fmla="*/ 0 w 146"/>
                <a:gd name="T19" fmla="*/ 594 h 30"/>
                <a:gd name="T20" fmla="*/ 0 w 146"/>
                <a:gd name="T21" fmla="*/ 1221 h 30"/>
                <a:gd name="T22" fmla="*/ 0 w 146"/>
                <a:gd name="T23" fmla="*/ 1221 h 30"/>
                <a:gd name="T24" fmla="*/ 0 w 146"/>
                <a:gd name="T25" fmla="*/ 1189 h 30"/>
                <a:gd name="T26" fmla="*/ 0 w 146"/>
                <a:gd name="T27" fmla="*/ 1115 h 30"/>
                <a:gd name="T28" fmla="*/ 0 w 146"/>
                <a:gd name="T29" fmla="*/ 904 h 30"/>
                <a:gd name="T30" fmla="*/ 0 w 146"/>
                <a:gd name="T31" fmla="*/ 803 h 30"/>
                <a:gd name="T32" fmla="*/ 0 w 146"/>
                <a:gd name="T33" fmla="*/ 391 h 30"/>
                <a:gd name="T34" fmla="*/ 0 w 146"/>
                <a:gd name="T35" fmla="*/ 0 h 30"/>
                <a:gd name="T36" fmla="*/ 0 w 146"/>
                <a:gd name="T37" fmla="*/ 594 h 30"/>
                <a:gd name="T38" fmla="*/ 0 w 146"/>
                <a:gd name="T39" fmla="*/ 990 h 30"/>
                <a:gd name="T40" fmla="*/ 0 w 146"/>
                <a:gd name="T41" fmla="*/ 1360 h 30"/>
                <a:gd name="T42" fmla="*/ 0 w 146"/>
                <a:gd name="T43" fmla="*/ 1677 h 30"/>
                <a:gd name="T44" fmla="*/ 0 w 146"/>
                <a:gd name="T45" fmla="*/ 1677 h 30"/>
                <a:gd name="T46" fmla="*/ 0 w 146"/>
                <a:gd name="T47" fmla="*/ 1677 h 30"/>
                <a:gd name="T48" fmla="*/ 0 w 146"/>
                <a:gd name="T49" fmla="*/ 1677 h 30"/>
                <a:gd name="T50" fmla="*/ 0 w 146"/>
                <a:gd name="T51" fmla="*/ 1677 h 30"/>
                <a:gd name="T52" fmla="*/ 0 w 146"/>
                <a:gd name="T53" fmla="*/ 1696 h 30"/>
                <a:gd name="T54" fmla="*/ 0 w 146"/>
                <a:gd name="T55" fmla="*/ 1922 h 30"/>
                <a:gd name="T56" fmla="*/ 0 w 146"/>
                <a:gd name="T57" fmla="*/ 2013 h 30"/>
                <a:gd name="T58" fmla="*/ 0 w 146"/>
                <a:gd name="T59" fmla="*/ 2013 h 30"/>
                <a:gd name="T60" fmla="*/ 0 w 146"/>
                <a:gd name="T61" fmla="*/ 1857 h 30"/>
                <a:gd name="T62" fmla="*/ 0 w 146"/>
                <a:gd name="T63" fmla="*/ 167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3" name="Freeform 1069"/>
            <p:cNvSpPr>
              <a:spLocks/>
            </p:cNvSpPr>
            <p:nvPr>
              <p:custDataLst>
                <p:tags r:id="rId341"/>
              </p:custDataLst>
            </p:nvPr>
          </p:nvSpPr>
          <p:spPr bwMode="auto">
            <a:xfrm>
              <a:off x="4438" y="873"/>
              <a:ext cx="15" cy="37"/>
            </a:xfrm>
            <a:custGeom>
              <a:avLst/>
              <a:gdLst>
                <a:gd name="T0" fmla="*/ 0 w 53"/>
                <a:gd name="T1" fmla="*/ 2147483647 h 9"/>
                <a:gd name="T2" fmla="*/ 0 w 53"/>
                <a:gd name="T3" fmla="*/ 2147483647 h 9"/>
                <a:gd name="T4" fmla="*/ 0 w 53"/>
                <a:gd name="T5" fmla="*/ 2147483647 h 9"/>
                <a:gd name="T6" fmla="*/ 0 w 53"/>
                <a:gd name="T7" fmla="*/ 2147483647 h 9"/>
                <a:gd name="T8" fmla="*/ 0 w 53"/>
                <a:gd name="T9" fmla="*/ 2147483647 h 9"/>
                <a:gd name="T10" fmla="*/ 0 w 53"/>
                <a:gd name="T11" fmla="*/ 2147483647 h 9"/>
                <a:gd name="T12" fmla="*/ 0 w 53"/>
                <a:gd name="T13" fmla="*/ 2147483647 h 9"/>
                <a:gd name="T14" fmla="*/ 0 w 53"/>
                <a:gd name="T15" fmla="*/ 2147483647 h 9"/>
                <a:gd name="T16" fmla="*/ 0 w 53"/>
                <a:gd name="T17" fmla="*/ 0 h 9"/>
                <a:gd name="T18" fmla="*/ 0 w 53"/>
                <a:gd name="T19" fmla="*/ 0 h 9"/>
                <a:gd name="T20" fmla="*/ 0 w 53"/>
                <a:gd name="T21" fmla="*/ 0 h 9"/>
                <a:gd name="T22" fmla="*/ 0 w 53"/>
                <a:gd name="T23" fmla="*/ 2147483647 h 9"/>
                <a:gd name="T24" fmla="*/ 0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4" name="Line 1070"/>
            <p:cNvSpPr>
              <a:spLocks noChangeShapeType="1"/>
            </p:cNvSpPr>
            <p:nvPr>
              <p:custDataLst>
                <p:tags r:id="rId342"/>
              </p:custDataLst>
            </p:nvPr>
          </p:nvSpPr>
          <p:spPr bwMode="auto">
            <a:xfrm flipV="1">
              <a:off x="4440" y="872"/>
              <a:ext cx="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95" name="Freeform 1071"/>
            <p:cNvSpPr>
              <a:spLocks/>
            </p:cNvSpPr>
            <p:nvPr>
              <p:custDataLst>
                <p:tags r:id="rId343"/>
              </p:custDataLst>
            </p:nvPr>
          </p:nvSpPr>
          <p:spPr bwMode="auto">
            <a:xfrm>
              <a:off x="3873" y="827"/>
              <a:ext cx="8" cy="35"/>
            </a:xfrm>
            <a:custGeom>
              <a:avLst/>
              <a:gdLst>
                <a:gd name="T0" fmla="*/ 0 w 26"/>
                <a:gd name="T1" fmla="*/ 21088 h 25"/>
                <a:gd name="T2" fmla="*/ 0 w 26"/>
                <a:gd name="T3" fmla="*/ 14682 h 25"/>
                <a:gd name="T4" fmla="*/ 0 w 26"/>
                <a:gd name="T5" fmla="*/ 6359 h 25"/>
                <a:gd name="T6" fmla="*/ 0 w 26"/>
                <a:gd name="T7" fmla="*/ 4351 h 25"/>
                <a:gd name="T8" fmla="*/ 0 w 26"/>
                <a:gd name="T9" fmla="*/ 1655 h 25"/>
                <a:gd name="T10" fmla="*/ 0 w 26"/>
                <a:gd name="T11" fmla="*/ 1 h 25"/>
                <a:gd name="T12" fmla="*/ 0 w 26"/>
                <a:gd name="T13" fmla="*/ 0 h 25"/>
                <a:gd name="T14" fmla="*/ 0 w 26"/>
                <a:gd name="T15" fmla="*/ 21088 h 25"/>
                <a:gd name="T16" fmla="*/ 0 w 26"/>
                <a:gd name="T17" fmla="*/ 21088 h 25"/>
                <a:gd name="T18" fmla="*/ 0 w 26"/>
                <a:gd name="T19" fmla="*/ 21088 h 25"/>
                <a:gd name="T20" fmla="*/ 0 w 26"/>
                <a:gd name="T21" fmla="*/ 21088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6" name="Freeform 1072"/>
            <p:cNvSpPr>
              <a:spLocks/>
            </p:cNvSpPr>
            <p:nvPr>
              <p:custDataLst>
                <p:tags r:id="rId344"/>
              </p:custDataLst>
            </p:nvPr>
          </p:nvSpPr>
          <p:spPr bwMode="auto">
            <a:xfrm>
              <a:off x="4384" y="872"/>
              <a:ext cx="7" cy="36"/>
            </a:xfrm>
            <a:custGeom>
              <a:avLst/>
              <a:gdLst>
                <a:gd name="T0" fmla="*/ 0 w 33"/>
                <a:gd name="T1" fmla="*/ 37107 h 25"/>
                <a:gd name="T2" fmla="*/ 0 w 33"/>
                <a:gd name="T3" fmla="*/ 17182 h 25"/>
                <a:gd name="T4" fmla="*/ 0 w 33"/>
                <a:gd name="T5" fmla="*/ 0 h 25"/>
                <a:gd name="T6" fmla="*/ 0 w 33"/>
                <a:gd name="T7" fmla="*/ 0 h 25"/>
                <a:gd name="T8" fmla="*/ 0 w 33"/>
                <a:gd name="T9" fmla="*/ 13329 h 25"/>
                <a:gd name="T10" fmla="*/ 0 w 33"/>
                <a:gd name="T11" fmla="*/ 24742 h 25"/>
                <a:gd name="T12" fmla="*/ 0 w 33"/>
                <a:gd name="T13" fmla="*/ 29591 h 25"/>
                <a:gd name="T14" fmla="*/ 0 w 33"/>
                <a:gd name="T15" fmla="*/ 33998 h 25"/>
                <a:gd name="T16" fmla="*/ 0 w 33"/>
                <a:gd name="T17" fmla="*/ 35628 h 25"/>
                <a:gd name="T18" fmla="*/ 0 w 33"/>
                <a:gd name="T19" fmla="*/ 3710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7" name="Freeform 1073"/>
            <p:cNvSpPr>
              <a:spLocks/>
            </p:cNvSpPr>
            <p:nvPr>
              <p:custDataLst>
                <p:tags r:id="rId345"/>
              </p:custDataLst>
            </p:nvPr>
          </p:nvSpPr>
          <p:spPr bwMode="auto">
            <a:xfrm>
              <a:off x="4353" y="849"/>
              <a:ext cx="6" cy="36"/>
            </a:xfrm>
            <a:custGeom>
              <a:avLst/>
              <a:gdLst>
                <a:gd name="T0" fmla="*/ 0 w 20"/>
                <a:gd name="T1" fmla="*/ 0 h 18"/>
                <a:gd name="T2" fmla="*/ 0 w 20"/>
                <a:gd name="T3" fmla="*/ 18874368 h 18"/>
                <a:gd name="T4" fmla="*/ 0 w 20"/>
                <a:gd name="T5" fmla="*/ 11534335 h 18"/>
                <a:gd name="T6" fmla="*/ 0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8" name="Freeform 1074"/>
            <p:cNvSpPr>
              <a:spLocks/>
            </p:cNvSpPr>
            <p:nvPr>
              <p:custDataLst>
                <p:tags r:id="rId346"/>
              </p:custDataLst>
            </p:nvPr>
          </p:nvSpPr>
          <p:spPr bwMode="auto">
            <a:xfrm>
              <a:off x="4694" y="1208"/>
              <a:ext cx="9" cy="37"/>
            </a:xfrm>
            <a:custGeom>
              <a:avLst/>
              <a:gdLst>
                <a:gd name="T0" fmla="*/ 0 w 33"/>
                <a:gd name="T1" fmla="*/ 1072 h 31"/>
                <a:gd name="T2" fmla="*/ 0 w 33"/>
                <a:gd name="T3" fmla="*/ 0 h 31"/>
                <a:gd name="T4" fmla="*/ 0 w 33"/>
                <a:gd name="T5" fmla="*/ 0 h 31"/>
                <a:gd name="T6" fmla="*/ 0 w 33"/>
                <a:gd name="T7" fmla="*/ 0 h 31"/>
                <a:gd name="T8" fmla="*/ 0 w 33"/>
                <a:gd name="T9" fmla="*/ 0 h 31"/>
                <a:gd name="T10" fmla="*/ 0 w 33"/>
                <a:gd name="T11" fmla="*/ 0 h 31"/>
                <a:gd name="T12" fmla="*/ 0 w 33"/>
                <a:gd name="T13" fmla="*/ 2 h 31"/>
                <a:gd name="T14" fmla="*/ 0 w 33"/>
                <a:gd name="T15" fmla="*/ 175 h 31"/>
                <a:gd name="T16" fmla="*/ 0 w 33"/>
                <a:gd name="T17" fmla="*/ 315 h 31"/>
                <a:gd name="T18" fmla="*/ 0 w 33"/>
                <a:gd name="T19" fmla="*/ 449 h 31"/>
                <a:gd name="T20" fmla="*/ 0 w 33"/>
                <a:gd name="T21" fmla="*/ 603 h 31"/>
                <a:gd name="T22" fmla="*/ 0 w 33"/>
                <a:gd name="T23" fmla="*/ 728 h 31"/>
                <a:gd name="T24" fmla="*/ 0 w 33"/>
                <a:gd name="T25" fmla="*/ 898 h 31"/>
                <a:gd name="T26" fmla="*/ 0 w 33"/>
                <a:gd name="T27" fmla="*/ 1072 h 31"/>
                <a:gd name="T28" fmla="*/ 0 w 33"/>
                <a:gd name="T29" fmla="*/ 1072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9" name="Freeform 1075"/>
            <p:cNvSpPr>
              <a:spLocks/>
            </p:cNvSpPr>
            <p:nvPr>
              <p:custDataLst>
                <p:tags r:id="rId347"/>
              </p:custDataLst>
            </p:nvPr>
          </p:nvSpPr>
          <p:spPr bwMode="auto">
            <a:xfrm>
              <a:off x="4895" y="907"/>
              <a:ext cx="37" cy="37"/>
            </a:xfrm>
            <a:custGeom>
              <a:avLst/>
              <a:gdLst>
                <a:gd name="T0" fmla="*/ 0 w 129"/>
                <a:gd name="T1" fmla="*/ 1 h 56"/>
                <a:gd name="T2" fmla="*/ 0 w 129"/>
                <a:gd name="T3" fmla="*/ 1 h 56"/>
                <a:gd name="T4" fmla="*/ 0 w 129"/>
                <a:gd name="T5" fmla="*/ 1 h 56"/>
                <a:gd name="T6" fmla="*/ 0 w 129"/>
                <a:gd name="T7" fmla="*/ 1 h 56"/>
                <a:gd name="T8" fmla="*/ 0 w 129"/>
                <a:gd name="T9" fmla="*/ 1 h 56"/>
                <a:gd name="T10" fmla="*/ 0 w 129"/>
                <a:gd name="T11" fmla="*/ 1 h 56"/>
                <a:gd name="T12" fmla="*/ 0 w 129"/>
                <a:gd name="T13" fmla="*/ 1 h 56"/>
                <a:gd name="T14" fmla="*/ 0 w 129"/>
                <a:gd name="T15" fmla="*/ 1 h 56"/>
                <a:gd name="T16" fmla="*/ 0 w 129"/>
                <a:gd name="T17" fmla="*/ 1 h 56"/>
                <a:gd name="T18" fmla="*/ 0 w 129"/>
                <a:gd name="T19" fmla="*/ 1 h 56"/>
                <a:gd name="T20" fmla="*/ 0 w 129"/>
                <a:gd name="T21" fmla="*/ 1 h 56"/>
                <a:gd name="T22" fmla="*/ 0 w 129"/>
                <a:gd name="T23" fmla="*/ 1 h 56"/>
                <a:gd name="T24" fmla="*/ 0 w 129"/>
                <a:gd name="T25" fmla="*/ 0 h 56"/>
                <a:gd name="T26" fmla="*/ 0 w 129"/>
                <a:gd name="T27" fmla="*/ 1 h 56"/>
                <a:gd name="T28" fmla="*/ 0 w 129"/>
                <a:gd name="T29" fmla="*/ 1 h 56"/>
                <a:gd name="T30" fmla="*/ 0 w 129"/>
                <a:gd name="T31" fmla="*/ 1 h 56"/>
                <a:gd name="T32" fmla="*/ 0 w 129"/>
                <a:gd name="T33" fmla="*/ 1 h 56"/>
                <a:gd name="T34" fmla="*/ 0 w 129"/>
                <a:gd name="T35" fmla="*/ 1 h 56"/>
                <a:gd name="T36" fmla="*/ 0 w 129"/>
                <a:gd name="T37" fmla="*/ 1 h 56"/>
                <a:gd name="T38" fmla="*/ 0 w 129"/>
                <a:gd name="T39" fmla="*/ 1 h 56"/>
                <a:gd name="T40" fmla="*/ 0 w 129"/>
                <a:gd name="T41" fmla="*/ 1 h 56"/>
                <a:gd name="T42" fmla="*/ 0 w 129"/>
                <a:gd name="T43" fmla="*/ 1 h 56"/>
                <a:gd name="T44" fmla="*/ 0 w 129"/>
                <a:gd name="T45" fmla="*/ 1 h 56"/>
                <a:gd name="T46" fmla="*/ 0 w 129"/>
                <a:gd name="T47" fmla="*/ 1 h 56"/>
                <a:gd name="T48" fmla="*/ 0 w 129"/>
                <a:gd name="T49" fmla="*/ 1 h 56"/>
                <a:gd name="T50" fmla="*/ 0 w 129"/>
                <a:gd name="T51" fmla="*/ 1 h 56"/>
                <a:gd name="T52" fmla="*/ 0 w 129"/>
                <a:gd name="T53" fmla="*/ 1 h 56"/>
                <a:gd name="T54" fmla="*/ 0 w 129"/>
                <a:gd name="T55" fmla="*/ 1 h 56"/>
                <a:gd name="T56" fmla="*/ 0 w 129"/>
                <a:gd name="T57" fmla="*/ 1 h 56"/>
                <a:gd name="T58" fmla="*/ 0 w 129"/>
                <a:gd name="T59" fmla="*/ 1 h 56"/>
                <a:gd name="T60" fmla="*/ 0 w 129"/>
                <a:gd name="T61" fmla="*/ 1 h 56"/>
                <a:gd name="T62" fmla="*/ 0 w 129"/>
                <a:gd name="T63" fmla="*/ 1 h 56"/>
                <a:gd name="T64" fmla="*/ 0 w 129"/>
                <a:gd name="T65" fmla="*/ 1 h 56"/>
                <a:gd name="T66" fmla="*/ 0 w 129"/>
                <a:gd name="T67" fmla="*/ 1 h 56"/>
                <a:gd name="T68" fmla="*/ 0 w 129"/>
                <a:gd name="T69" fmla="*/ 1 h 56"/>
                <a:gd name="T70" fmla="*/ 0 w 129"/>
                <a:gd name="T71" fmla="*/ 1 h 56"/>
                <a:gd name="T72" fmla="*/ 0 w 129"/>
                <a:gd name="T73" fmla="*/ 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0" name="Freeform 1076"/>
            <p:cNvSpPr>
              <a:spLocks/>
            </p:cNvSpPr>
            <p:nvPr>
              <p:custDataLst>
                <p:tags r:id="rId348"/>
              </p:custDataLst>
            </p:nvPr>
          </p:nvSpPr>
          <p:spPr bwMode="auto">
            <a:xfrm>
              <a:off x="4988" y="1129"/>
              <a:ext cx="9" cy="36"/>
            </a:xfrm>
            <a:custGeom>
              <a:avLst/>
              <a:gdLst>
                <a:gd name="T0" fmla="*/ 0 w 41"/>
                <a:gd name="T1" fmla="*/ 3 h 42"/>
                <a:gd name="T2" fmla="*/ 0 w 41"/>
                <a:gd name="T3" fmla="*/ 3 h 42"/>
                <a:gd name="T4" fmla="*/ 0 w 41"/>
                <a:gd name="T5" fmla="*/ 3 h 42"/>
                <a:gd name="T6" fmla="*/ 0 w 41"/>
                <a:gd name="T7" fmla="*/ 3 h 42"/>
                <a:gd name="T8" fmla="*/ 0 w 41"/>
                <a:gd name="T9" fmla="*/ 3 h 42"/>
                <a:gd name="T10" fmla="*/ 0 w 41"/>
                <a:gd name="T11" fmla="*/ 1 h 42"/>
                <a:gd name="T12" fmla="*/ 0 w 41"/>
                <a:gd name="T13" fmla="*/ 0 h 42"/>
                <a:gd name="T14" fmla="*/ 0 w 41"/>
                <a:gd name="T15" fmla="*/ 3 h 42"/>
                <a:gd name="T16" fmla="*/ 0 w 41"/>
                <a:gd name="T17" fmla="*/ 3 h 42"/>
                <a:gd name="T18" fmla="*/ 0 w 41"/>
                <a:gd name="T19" fmla="*/ 3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1" name="Freeform 1077"/>
            <p:cNvSpPr>
              <a:spLocks/>
            </p:cNvSpPr>
            <p:nvPr>
              <p:custDataLst>
                <p:tags r:id="rId349"/>
              </p:custDataLst>
            </p:nvPr>
          </p:nvSpPr>
          <p:spPr bwMode="auto">
            <a:xfrm>
              <a:off x="5090" y="1200"/>
              <a:ext cx="29" cy="38"/>
            </a:xfrm>
            <a:custGeom>
              <a:avLst/>
              <a:gdLst>
                <a:gd name="T0" fmla="*/ 0 w 93"/>
                <a:gd name="T1" fmla="*/ 9 h 39"/>
                <a:gd name="T2" fmla="*/ 0 w 93"/>
                <a:gd name="T3" fmla="*/ 18 h 39"/>
                <a:gd name="T4" fmla="*/ 0 w 93"/>
                <a:gd name="T5" fmla="*/ 19 h 39"/>
                <a:gd name="T6" fmla="*/ 0 w 93"/>
                <a:gd name="T7" fmla="*/ 19 h 39"/>
                <a:gd name="T8" fmla="*/ 0 w 93"/>
                <a:gd name="T9" fmla="*/ 19 h 39"/>
                <a:gd name="T10" fmla="*/ 0 w 93"/>
                <a:gd name="T11" fmla="*/ 19 h 39"/>
                <a:gd name="T12" fmla="*/ 0 w 93"/>
                <a:gd name="T13" fmla="*/ 19 h 39"/>
                <a:gd name="T14" fmla="*/ 0 w 93"/>
                <a:gd name="T15" fmla="*/ 19 h 39"/>
                <a:gd name="T16" fmla="*/ 0 w 93"/>
                <a:gd name="T17" fmla="*/ 19 h 39"/>
                <a:gd name="T18" fmla="*/ 0 w 93"/>
                <a:gd name="T19" fmla="*/ 19 h 39"/>
                <a:gd name="T20" fmla="*/ 0 w 93"/>
                <a:gd name="T21" fmla="*/ 19 h 39"/>
                <a:gd name="T22" fmla="*/ 0 w 93"/>
                <a:gd name="T23" fmla="*/ 19 h 39"/>
                <a:gd name="T24" fmla="*/ 0 w 93"/>
                <a:gd name="T25" fmla="*/ 18 h 39"/>
                <a:gd name="T26" fmla="*/ 0 w 93"/>
                <a:gd name="T27" fmla="*/ 13 h 39"/>
                <a:gd name="T28" fmla="*/ 0 w 93"/>
                <a:gd name="T29" fmla="*/ 7 h 39"/>
                <a:gd name="T30" fmla="*/ 0 w 93"/>
                <a:gd name="T31" fmla="*/ 3 h 39"/>
                <a:gd name="T32" fmla="*/ 0 w 93"/>
                <a:gd name="T33" fmla="*/ 1 h 39"/>
                <a:gd name="T34" fmla="*/ 0 w 93"/>
                <a:gd name="T35" fmla="*/ 0 h 39"/>
                <a:gd name="T36" fmla="*/ 0 w 93"/>
                <a:gd name="T37" fmla="*/ 0 h 39"/>
                <a:gd name="T38" fmla="*/ 0 w 93"/>
                <a:gd name="T39" fmla="*/ 1 h 39"/>
                <a:gd name="T40" fmla="*/ 0 w 93"/>
                <a:gd name="T41" fmla="*/ 4 h 39"/>
                <a:gd name="T42" fmla="*/ 0 w 93"/>
                <a:gd name="T43" fmla="*/ 9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2" name="Freeform 1078"/>
            <p:cNvSpPr>
              <a:spLocks/>
            </p:cNvSpPr>
            <p:nvPr>
              <p:custDataLst>
                <p:tags r:id="rId350"/>
              </p:custDataLst>
            </p:nvPr>
          </p:nvSpPr>
          <p:spPr bwMode="auto">
            <a:xfrm>
              <a:off x="5124" y="1210"/>
              <a:ext cx="13" cy="37"/>
            </a:xfrm>
            <a:custGeom>
              <a:avLst/>
              <a:gdLst>
                <a:gd name="T0" fmla="*/ 0 w 39"/>
                <a:gd name="T1" fmla="*/ 11682013 h 19"/>
                <a:gd name="T2" fmla="*/ 0 w 39"/>
                <a:gd name="T3" fmla="*/ 11682013 h 19"/>
                <a:gd name="T4" fmla="*/ 0 w 39"/>
                <a:gd name="T5" fmla="*/ 11682013 h 19"/>
                <a:gd name="T6" fmla="*/ 0 w 39"/>
                <a:gd name="T7" fmla="*/ 10392069 h 19"/>
                <a:gd name="T8" fmla="*/ 0 w 39"/>
                <a:gd name="T9" fmla="*/ 8583323 h 19"/>
                <a:gd name="T10" fmla="*/ 0 w 39"/>
                <a:gd name="T11" fmla="*/ 6677537 h 19"/>
                <a:gd name="T12" fmla="*/ 0 w 39"/>
                <a:gd name="T13" fmla="*/ 3080503 h 19"/>
                <a:gd name="T14" fmla="*/ 0 w 39"/>
                <a:gd name="T15" fmla="*/ 0 h 19"/>
                <a:gd name="T16" fmla="*/ 0 w 39"/>
                <a:gd name="T17" fmla="*/ 2571611 h 19"/>
                <a:gd name="T18" fmla="*/ 0 w 39"/>
                <a:gd name="T19" fmla="*/ 5642141 h 19"/>
                <a:gd name="T20" fmla="*/ 0 w 39"/>
                <a:gd name="T21" fmla="*/ 8583323 h 19"/>
                <a:gd name="T22" fmla="*/ 0 w 39"/>
                <a:gd name="T23" fmla="*/ 11682013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3" name="Freeform 1079"/>
            <p:cNvSpPr>
              <a:spLocks/>
            </p:cNvSpPr>
            <p:nvPr>
              <p:custDataLst>
                <p:tags r:id="rId351"/>
              </p:custDataLst>
            </p:nvPr>
          </p:nvSpPr>
          <p:spPr bwMode="auto">
            <a:xfrm>
              <a:off x="5032" y="1290"/>
              <a:ext cx="10" cy="36"/>
            </a:xfrm>
            <a:custGeom>
              <a:avLst/>
              <a:gdLst>
                <a:gd name="T0" fmla="*/ 0 w 26"/>
                <a:gd name="T1" fmla="*/ 36 h 36"/>
                <a:gd name="T2" fmla="*/ 0 w 26"/>
                <a:gd name="T3" fmla="*/ 31 h 36"/>
                <a:gd name="T4" fmla="*/ 0 w 26"/>
                <a:gd name="T5" fmla="*/ 20 h 36"/>
                <a:gd name="T6" fmla="*/ 0 w 26"/>
                <a:gd name="T7" fmla="*/ 8 h 36"/>
                <a:gd name="T8" fmla="*/ 0 w 26"/>
                <a:gd name="T9" fmla="*/ 0 h 36"/>
                <a:gd name="T10" fmla="*/ 0 w 26"/>
                <a:gd name="T11" fmla="*/ 9 h 36"/>
                <a:gd name="T12" fmla="*/ 0 w 26"/>
                <a:gd name="T13" fmla="*/ 18 h 36"/>
                <a:gd name="T14" fmla="*/ 0 w 26"/>
                <a:gd name="T15" fmla="*/ 22 h 36"/>
                <a:gd name="T16" fmla="*/ 0 w 26"/>
                <a:gd name="T17" fmla="*/ 26 h 36"/>
                <a:gd name="T18" fmla="*/ 0 w 26"/>
                <a:gd name="T19" fmla="*/ 29 h 36"/>
                <a:gd name="T20" fmla="*/ 0 w 26"/>
                <a:gd name="T21" fmla="*/ 32 h 36"/>
                <a:gd name="T22" fmla="*/ 0 w 26"/>
                <a:gd name="T23" fmla="*/ 34 h 36"/>
                <a:gd name="T24" fmla="*/ 0 w 26"/>
                <a:gd name="T25" fmla="*/ 35 h 36"/>
                <a:gd name="T26" fmla="*/ 0 w 26"/>
                <a:gd name="T27" fmla="*/ 36 h 36"/>
                <a:gd name="T28" fmla="*/ 0 w 26"/>
                <a:gd name="T29" fmla="*/ 36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4" name="Freeform 1080"/>
            <p:cNvSpPr>
              <a:spLocks/>
            </p:cNvSpPr>
            <p:nvPr>
              <p:custDataLst>
                <p:tags r:id="rId352"/>
              </p:custDataLst>
            </p:nvPr>
          </p:nvSpPr>
          <p:spPr bwMode="auto">
            <a:xfrm>
              <a:off x="5040" y="1308"/>
              <a:ext cx="2" cy="38"/>
            </a:xfrm>
            <a:custGeom>
              <a:avLst/>
              <a:gdLst>
                <a:gd name="T0" fmla="*/ 0 w 6"/>
                <a:gd name="T1" fmla="*/ 58 h 37"/>
                <a:gd name="T2" fmla="*/ 0 w 6"/>
                <a:gd name="T3" fmla="*/ 0 h 37"/>
                <a:gd name="T4" fmla="*/ 0 w 6"/>
                <a:gd name="T5" fmla="*/ 0 h 37"/>
                <a:gd name="T6" fmla="*/ 0 w 6"/>
                <a:gd name="T7" fmla="*/ 51 h 37"/>
                <a:gd name="T8" fmla="*/ 0 w 6"/>
                <a:gd name="T9" fmla="*/ 58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5" name="Freeform 1081"/>
            <p:cNvSpPr>
              <a:spLocks/>
            </p:cNvSpPr>
            <p:nvPr>
              <p:custDataLst>
                <p:tags r:id="rId353"/>
              </p:custDataLst>
            </p:nvPr>
          </p:nvSpPr>
          <p:spPr bwMode="auto">
            <a:xfrm>
              <a:off x="5031" y="1360"/>
              <a:ext cx="7" cy="35"/>
            </a:xfrm>
            <a:custGeom>
              <a:avLst/>
              <a:gdLst>
                <a:gd name="T0" fmla="*/ 0 w 20"/>
                <a:gd name="T1" fmla="*/ 2 h 43"/>
                <a:gd name="T2" fmla="*/ 0 w 20"/>
                <a:gd name="T3" fmla="*/ 2 h 43"/>
                <a:gd name="T4" fmla="*/ 0 w 20"/>
                <a:gd name="T5" fmla="*/ 2 h 43"/>
                <a:gd name="T6" fmla="*/ 0 w 20"/>
                <a:gd name="T7" fmla="*/ 2 h 43"/>
                <a:gd name="T8" fmla="*/ 0 w 20"/>
                <a:gd name="T9" fmla="*/ 0 h 43"/>
                <a:gd name="T10" fmla="*/ 0 w 20"/>
                <a:gd name="T11" fmla="*/ 2 h 43"/>
                <a:gd name="T12" fmla="*/ 0 w 20"/>
                <a:gd name="T13" fmla="*/ 2 h 43"/>
                <a:gd name="T14" fmla="*/ 0 w 20"/>
                <a:gd name="T15" fmla="*/ 2 h 43"/>
                <a:gd name="T16" fmla="*/ 0 w 20"/>
                <a:gd name="T17" fmla="*/ 2 h 43"/>
                <a:gd name="T18" fmla="*/ 0 w 20"/>
                <a:gd name="T19" fmla="*/ 2 h 43"/>
                <a:gd name="T20" fmla="*/ 0 w 20"/>
                <a:gd name="T21" fmla="*/ 2 h 43"/>
                <a:gd name="T22" fmla="*/ 0 w 20"/>
                <a:gd name="T23" fmla="*/ 2 h 43"/>
                <a:gd name="T24" fmla="*/ 0 w 20"/>
                <a:gd name="T25" fmla="*/ 2 h 43"/>
                <a:gd name="T26" fmla="*/ 0 w 20"/>
                <a:gd name="T27" fmla="*/ 2 h 43"/>
                <a:gd name="T28" fmla="*/ 0 w 20"/>
                <a:gd name="T29" fmla="*/ 2 h 43"/>
                <a:gd name="T30" fmla="*/ 0 w 20"/>
                <a:gd name="T31" fmla="*/ 2 h 43"/>
                <a:gd name="T32" fmla="*/ 0 w 20"/>
                <a:gd name="T33" fmla="*/ 2 h 43"/>
                <a:gd name="T34" fmla="*/ 0 w 20"/>
                <a:gd name="T35" fmla="*/ 2 h 43"/>
                <a:gd name="T36" fmla="*/ 0 w 20"/>
                <a:gd name="T37" fmla="*/ 2 h 43"/>
                <a:gd name="T38" fmla="*/ 0 w 20"/>
                <a:gd name="T39" fmla="*/ 2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6" name="Freeform 1082"/>
            <p:cNvSpPr>
              <a:spLocks/>
            </p:cNvSpPr>
            <p:nvPr>
              <p:custDataLst>
                <p:tags r:id="rId354"/>
              </p:custDataLst>
            </p:nvPr>
          </p:nvSpPr>
          <p:spPr bwMode="auto">
            <a:xfrm>
              <a:off x="5016" y="1382"/>
              <a:ext cx="0" cy="37"/>
            </a:xfrm>
            <a:custGeom>
              <a:avLst/>
              <a:gdLst>
                <a:gd name="T0" fmla="*/ 2013 h 30"/>
                <a:gd name="T1" fmla="*/ 1677 h 30"/>
                <a:gd name="T2" fmla="*/ 1189 h 30"/>
                <a:gd name="T3" fmla="*/ 594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7" name="Freeform 1083"/>
            <p:cNvSpPr>
              <a:spLocks/>
            </p:cNvSpPr>
            <p:nvPr>
              <p:custDataLst>
                <p:tags r:id="rId355"/>
              </p:custDataLst>
            </p:nvPr>
          </p:nvSpPr>
          <p:spPr bwMode="auto">
            <a:xfrm>
              <a:off x="5016" y="1382"/>
              <a:ext cx="5" cy="37"/>
            </a:xfrm>
            <a:custGeom>
              <a:avLst/>
              <a:gdLst>
                <a:gd name="T0" fmla="*/ 0 w 20"/>
                <a:gd name="T1" fmla="*/ 0 h 24"/>
                <a:gd name="T2" fmla="*/ 0 w 20"/>
                <a:gd name="T3" fmla="*/ 0 h 24"/>
                <a:gd name="T4" fmla="*/ 0 w 20"/>
                <a:gd name="T5" fmla="*/ 139024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8" name="Freeform 1084"/>
            <p:cNvSpPr>
              <a:spLocks/>
            </p:cNvSpPr>
            <p:nvPr>
              <p:custDataLst>
                <p:tags r:id="rId356"/>
              </p:custDataLst>
            </p:nvPr>
          </p:nvSpPr>
          <p:spPr bwMode="auto">
            <a:xfrm>
              <a:off x="4848" y="1122"/>
              <a:ext cx="12" cy="38"/>
            </a:xfrm>
            <a:custGeom>
              <a:avLst/>
              <a:gdLst>
                <a:gd name="T0" fmla="*/ 0 w 46"/>
                <a:gd name="T1" fmla="*/ 0 h 19"/>
                <a:gd name="T2" fmla="*/ 0 w 46"/>
                <a:gd name="T3" fmla="*/ 3145728 h 19"/>
                <a:gd name="T4" fmla="*/ 0 w 46"/>
                <a:gd name="T5" fmla="*/ 5242880 h 19"/>
                <a:gd name="T6" fmla="*/ 0 w 46"/>
                <a:gd name="T7" fmla="*/ 8388609 h 19"/>
                <a:gd name="T8" fmla="*/ 0 w 46"/>
                <a:gd name="T9" fmla="*/ 10485760 h 19"/>
                <a:gd name="T10" fmla="*/ 0 w 46"/>
                <a:gd name="T11" fmla="*/ 12582911 h 19"/>
                <a:gd name="T12" fmla="*/ 0 w 46"/>
                <a:gd name="T13" fmla="*/ 14680062 h 19"/>
                <a:gd name="T14" fmla="*/ 0 w 46"/>
                <a:gd name="T15" fmla="*/ 17825793 h 19"/>
                <a:gd name="T16" fmla="*/ 0 w 46"/>
                <a:gd name="T17" fmla="*/ 19922944 h 19"/>
                <a:gd name="T18" fmla="*/ 0 w 46"/>
                <a:gd name="T19" fmla="*/ 19922944 h 19"/>
                <a:gd name="T20" fmla="*/ 0 w 46"/>
                <a:gd name="T21" fmla="*/ 19922944 h 19"/>
                <a:gd name="T22" fmla="*/ 0 w 46"/>
                <a:gd name="T23" fmla="*/ 18874368 h 19"/>
                <a:gd name="T24" fmla="*/ 0 w 46"/>
                <a:gd name="T25" fmla="*/ 17825793 h 19"/>
                <a:gd name="T26" fmla="*/ 0 w 46"/>
                <a:gd name="T27" fmla="*/ 14680062 h 19"/>
                <a:gd name="T28" fmla="*/ 0 w 46"/>
                <a:gd name="T29" fmla="*/ 11534335 h 19"/>
                <a:gd name="T30" fmla="*/ 0 w 46"/>
                <a:gd name="T31" fmla="*/ 7340031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9" name="Freeform 1085"/>
            <p:cNvSpPr>
              <a:spLocks/>
            </p:cNvSpPr>
            <p:nvPr>
              <p:custDataLst>
                <p:tags r:id="rId357"/>
              </p:custDataLst>
            </p:nvPr>
          </p:nvSpPr>
          <p:spPr bwMode="auto">
            <a:xfrm>
              <a:off x="3016" y="1210"/>
              <a:ext cx="33" cy="37"/>
            </a:xfrm>
            <a:custGeom>
              <a:avLst/>
              <a:gdLst>
                <a:gd name="T0" fmla="*/ 0 w 100"/>
                <a:gd name="T1" fmla="*/ 0 h 55"/>
                <a:gd name="T2" fmla="*/ 0 w 100"/>
                <a:gd name="T3" fmla="*/ 1 h 55"/>
                <a:gd name="T4" fmla="*/ 0 w 100"/>
                <a:gd name="T5" fmla="*/ 1 h 55"/>
                <a:gd name="T6" fmla="*/ 0 w 100"/>
                <a:gd name="T7" fmla="*/ 1 h 55"/>
                <a:gd name="T8" fmla="*/ 0 w 100"/>
                <a:gd name="T9" fmla="*/ 1 h 55"/>
                <a:gd name="T10" fmla="*/ 0 w 100"/>
                <a:gd name="T11" fmla="*/ 1 h 55"/>
                <a:gd name="T12" fmla="*/ 0 w 100"/>
                <a:gd name="T13" fmla="*/ 1 h 55"/>
                <a:gd name="T14" fmla="*/ 0 w 100"/>
                <a:gd name="T15" fmla="*/ 1 h 55"/>
                <a:gd name="T16" fmla="*/ 0 w 100"/>
                <a:gd name="T17" fmla="*/ 1 h 55"/>
                <a:gd name="T18" fmla="*/ 0 w 100"/>
                <a:gd name="T19" fmla="*/ 1 h 55"/>
                <a:gd name="T20" fmla="*/ 0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0" name="Freeform 1086"/>
            <p:cNvSpPr>
              <a:spLocks/>
            </p:cNvSpPr>
            <p:nvPr>
              <p:custDataLst>
                <p:tags r:id="rId358"/>
              </p:custDataLst>
            </p:nvPr>
          </p:nvSpPr>
          <p:spPr bwMode="auto">
            <a:xfrm>
              <a:off x="3323" y="953"/>
              <a:ext cx="29" cy="37"/>
            </a:xfrm>
            <a:custGeom>
              <a:avLst/>
              <a:gdLst>
                <a:gd name="T0" fmla="*/ 0 w 99"/>
                <a:gd name="T1" fmla="*/ 1 h 51"/>
                <a:gd name="T2" fmla="*/ 0 w 99"/>
                <a:gd name="T3" fmla="*/ 1 h 51"/>
                <a:gd name="T4" fmla="*/ 0 w 99"/>
                <a:gd name="T5" fmla="*/ 0 h 51"/>
                <a:gd name="T6" fmla="*/ 0 w 99"/>
                <a:gd name="T7" fmla="*/ 0 h 51"/>
                <a:gd name="T8" fmla="*/ 0 w 99"/>
                <a:gd name="T9" fmla="*/ 1 h 51"/>
                <a:gd name="T10" fmla="*/ 0 w 99"/>
                <a:gd name="T11" fmla="*/ 1 h 51"/>
                <a:gd name="T12" fmla="*/ 0 w 99"/>
                <a:gd name="T13" fmla="*/ 1 h 51"/>
                <a:gd name="T14" fmla="*/ 0 w 99"/>
                <a:gd name="T15" fmla="*/ 1 h 51"/>
                <a:gd name="T16" fmla="*/ 0 w 99"/>
                <a:gd name="T17" fmla="*/ 1 h 51"/>
                <a:gd name="T18" fmla="*/ 0 w 99"/>
                <a:gd name="T19" fmla="*/ 1 h 51"/>
                <a:gd name="T20" fmla="*/ 0 w 99"/>
                <a:gd name="T21" fmla="*/ 1 h 51"/>
                <a:gd name="T22" fmla="*/ 0 w 99"/>
                <a:gd name="T23" fmla="*/ 1 h 51"/>
                <a:gd name="T24" fmla="*/ 0 w 99"/>
                <a:gd name="T25" fmla="*/ 1 h 51"/>
                <a:gd name="T26" fmla="*/ 0 w 99"/>
                <a:gd name="T27" fmla="*/ 1 h 51"/>
                <a:gd name="T28" fmla="*/ 0 w 99"/>
                <a:gd name="T29" fmla="*/ 1 h 51"/>
                <a:gd name="T30" fmla="*/ 0 w 99"/>
                <a:gd name="T31" fmla="*/ 1 h 51"/>
                <a:gd name="T32" fmla="*/ 0 w 99"/>
                <a:gd name="T33" fmla="*/ 1 h 51"/>
                <a:gd name="T34" fmla="*/ 0 w 99"/>
                <a:gd name="T35" fmla="*/ 1 h 51"/>
                <a:gd name="T36" fmla="*/ 0 w 99"/>
                <a:gd name="T37" fmla="*/ 1 h 51"/>
                <a:gd name="T38" fmla="*/ 0 w 99"/>
                <a:gd name="T39" fmla="*/ 1 h 51"/>
                <a:gd name="T40" fmla="*/ 0 w 99"/>
                <a:gd name="T41" fmla="*/ 1 h 51"/>
                <a:gd name="T42" fmla="*/ 0 w 99"/>
                <a:gd name="T43" fmla="*/ 1 h 51"/>
                <a:gd name="T44" fmla="*/ 0 w 99"/>
                <a:gd name="T45" fmla="*/ 1 h 51"/>
                <a:gd name="T46" fmla="*/ 0 w 99"/>
                <a:gd name="T47" fmla="*/ 1 h 51"/>
                <a:gd name="T48" fmla="*/ 0 w 99"/>
                <a:gd name="T49" fmla="*/ 1 h 51"/>
                <a:gd name="T50" fmla="*/ 0 w 99"/>
                <a:gd name="T51" fmla="*/ 1 h 51"/>
                <a:gd name="T52" fmla="*/ 0 w 99"/>
                <a:gd name="T53" fmla="*/ 1 h 51"/>
                <a:gd name="T54" fmla="*/ 0 w 99"/>
                <a:gd name="T55" fmla="*/ 1 h 51"/>
                <a:gd name="T56" fmla="*/ 0 w 99"/>
                <a:gd name="T57" fmla="*/ 1 h 51"/>
                <a:gd name="T58" fmla="*/ 0 w 99"/>
                <a:gd name="T59" fmla="*/ 1 h 51"/>
                <a:gd name="T60" fmla="*/ 0 w 99"/>
                <a:gd name="T61" fmla="*/ 1 h 51"/>
                <a:gd name="T62" fmla="*/ 0 w 99"/>
                <a:gd name="T63" fmla="*/ 1 h 51"/>
                <a:gd name="T64" fmla="*/ 0 w 99"/>
                <a:gd name="T65" fmla="*/ 1 h 51"/>
                <a:gd name="T66" fmla="*/ 0 w 99"/>
                <a:gd name="T67" fmla="*/ 1 h 51"/>
                <a:gd name="T68" fmla="*/ 0 w 99"/>
                <a:gd name="T69" fmla="*/ 1 h 51"/>
                <a:gd name="T70" fmla="*/ 0 w 99"/>
                <a:gd name="T71" fmla="*/ 1 h 51"/>
                <a:gd name="T72" fmla="*/ 0 w 99"/>
                <a:gd name="T73" fmla="*/ 1 h 51"/>
                <a:gd name="T74" fmla="*/ 0 w 99"/>
                <a:gd name="T75" fmla="*/ 1 h 51"/>
                <a:gd name="T76" fmla="*/ 0 w 99"/>
                <a:gd name="T77" fmla="*/ 1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1" name="Freeform 1087"/>
            <p:cNvSpPr>
              <a:spLocks/>
            </p:cNvSpPr>
            <p:nvPr>
              <p:custDataLst>
                <p:tags r:id="rId359"/>
              </p:custDataLst>
            </p:nvPr>
          </p:nvSpPr>
          <p:spPr bwMode="auto">
            <a:xfrm>
              <a:off x="3346" y="835"/>
              <a:ext cx="156" cy="103"/>
            </a:xfrm>
            <a:custGeom>
              <a:avLst/>
              <a:gdLst>
                <a:gd name="T0" fmla="*/ 0 w 525"/>
                <a:gd name="T1" fmla="*/ 0 h 311"/>
                <a:gd name="T2" fmla="*/ 0 w 525"/>
                <a:gd name="T3" fmla="*/ 0 h 311"/>
                <a:gd name="T4" fmla="*/ 0 w 525"/>
                <a:gd name="T5" fmla="*/ 0 h 311"/>
                <a:gd name="T6" fmla="*/ 0 w 525"/>
                <a:gd name="T7" fmla="*/ 0 h 311"/>
                <a:gd name="T8" fmla="*/ 0 w 525"/>
                <a:gd name="T9" fmla="*/ 0 h 311"/>
                <a:gd name="T10" fmla="*/ 0 w 525"/>
                <a:gd name="T11" fmla="*/ 0 h 311"/>
                <a:gd name="T12" fmla="*/ 0 w 525"/>
                <a:gd name="T13" fmla="*/ 0 h 311"/>
                <a:gd name="T14" fmla="*/ 0 w 525"/>
                <a:gd name="T15" fmla="*/ 0 h 311"/>
                <a:gd name="T16" fmla="*/ 0 w 525"/>
                <a:gd name="T17" fmla="*/ 0 h 311"/>
                <a:gd name="T18" fmla="*/ 0 w 525"/>
                <a:gd name="T19" fmla="*/ 0 h 311"/>
                <a:gd name="T20" fmla="*/ 0 w 525"/>
                <a:gd name="T21" fmla="*/ 0 h 311"/>
                <a:gd name="T22" fmla="*/ 0 w 525"/>
                <a:gd name="T23" fmla="*/ 0 h 311"/>
                <a:gd name="T24" fmla="*/ 0 w 525"/>
                <a:gd name="T25" fmla="*/ 0 h 311"/>
                <a:gd name="T26" fmla="*/ 0 w 525"/>
                <a:gd name="T27" fmla="*/ 0 h 311"/>
                <a:gd name="T28" fmla="*/ 0 w 525"/>
                <a:gd name="T29" fmla="*/ 0 h 311"/>
                <a:gd name="T30" fmla="*/ 0 w 525"/>
                <a:gd name="T31" fmla="*/ 0 h 311"/>
                <a:gd name="T32" fmla="*/ 0 w 525"/>
                <a:gd name="T33" fmla="*/ 0 h 311"/>
                <a:gd name="T34" fmla="*/ 0 w 525"/>
                <a:gd name="T35" fmla="*/ 0 h 311"/>
                <a:gd name="T36" fmla="*/ 0 w 525"/>
                <a:gd name="T37" fmla="*/ 0 h 311"/>
                <a:gd name="T38" fmla="*/ 0 w 525"/>
                <a:gd name="T39" fmla="*/ 0 h 311"/>
                <a:gd name="T40" fmla="*/ 0 w 525"/>
                <a:gd name="T41" fmla="*/ 0 h 311"/>
                <a:gd name="T42" fmla="*/ 0 w 525"/>
                <a:gd name="T43" fmla="*/ 0 h 311"/>
                <a:gd name="T44" fmla="*/ 0 w 525"/>
                <a:gd name="T45" fmla="*/ 0 h 311"/>
                <a:gd name="T46" fmla="*/ 0 w 525"/>
                <a:gd name="T47" fmla="*/ 0 h 311"/>
                <a:gd name="T48" fmla="*/ 0 w 525"/>
                <a:gd name="T49" fmla="*/ 0 h 311"/>
                <a:gd name="T50" fmla="*/ 0 w 525"/>
                <a:gd name="T51" fmla="*/ 0 h 311"/>
                <a:gd name="T52" fmla="*/ 0 w 525"/>
                <a:gd name="T53" fmla="*/ 0 h 311"/>
                <a:gd name="T54" fmla="*/ 0 w 525"/>
                <a:gd name="T55" fmla="*/ 0 h 311"/>
                <a:gd name="T56" fmla="*/ 0 w 525"/>
                <a:gd name="T57" fmla="*/ 0 h 311"/>
                <a:gd name="T58" fmla="*/ 0 w 525"/>
                <a:gd name="T59" fmla="*/ 0 h 311"/>
                <a:gd name="T60" fmla="*/ 0 w 525"/>
                <a:gd name="T61" fmla="*/ 0 h 311"/>
                <a:gd name="T62" fmla="*/ 0 w 525"/>
                <a:gd name="T63" fmla="*/ 0 h 311"/>
                <a:gd name="T64" fmla="*/ 0 w 525"/>
                <a:gd name="T65" fmla="*/ 0 h 311"/>
                <a:gd name="T66" fmla="*/ 0 w 525"/>
                <a:gd name="T67" fmla="*/ 0 h 311"/>
                <a:gd name="T68" fmla="*/ 0 w 525"/>
                <a:gd name="T69" fmla="*/ 0 h 311"/>
                <a:gd name="T70" fmla="*/ 0 w 525"/>
                <a:gd name="T71" fmla="*/ 0 h 311"/>
                <a:gd name="T72" fmla="*/ 0 w 525"/>
                <a:gd name="T73" fmla="*/ 0 h 311"/>
                <a:gd name="T74" fmla="*/ 0 w 525"/>
                <a:gd name="T75" fmla="*/ 0 h 311"/>
                <a:gd name="T76" fmla="*/ 0 w 525"/>
                <a:gd name="T77" fmla="*/ 0 h 311"/>
                <a:gd name="T78" fmla="*/ 0 w 525"/>
                <a:gd name="T79" fmla="*/ 0 h 311"/>
                <a:gd name="T80" fmla="*/ 0 w 525"/>
                <a:gd name="T81" fmla="*/ 0 h 311"/>
                <a:gd name="T82" fmla="*/ 0 w 525"/>
                <a:gd name="T83" fmla="*/ 0 h 311"/>
                <a:gd name="T84" fmla="*/ 0 w 525"/>
                <a:gd name="T85" fmla="*/ 0 h 311"/>
                <a:gd name="T86" fmla="*/ 0 w 525"/>
                <a:gd name="T87" fmla="*/ 0 h 311"/>
                <a:gd name="T88" fmla="*/ 0 w 525"/>
                <a:gd name="T89" fmla="*/ 0 h 311"/>
                <a:gd name="T90" fmla="*/ 0 w 525"/>
                <a:gd name="T91" fmla="*/ 0 h 311"/>
                <a:gd name="T92" fmla="*/ 0 w 525"/>
                <a:gd name="T93" fmla="*/ 0 h 311"/>
                <a:gd name="T94" fmla="*/ 0 w 525"/>
                <a:gd name="T95" fmla="*/ 0 h 311"/>
                <a:gd name="T96" fmla="*/ 0 w 525"/>
                <a:gd name="T97" fmla="*/ 0 h 311"/>
                <a:gd name="T98" fmla="*/ 0 w 525"/>
                <a:gd name="T99" fmla="*/ 0 h 311"/>
                <a:gd name="T100" fmla="*/ 0 w 525"/>
                <a:gd name="T101" fmla="*/ 0 h 311"/>
                <a:gd name="T102" fmla="*/ 0 w 525"/>
                <a:gd name="T103" fmla="*/ 0 h 311"/>
                <a:gd name="T104" fmla="*/ 0 w 525"/>
                <a:gd name="T105" fmla="*/ 0 h 311"/>
                <a:gd name="T106" fmla="*/ 0 w 525"/>
                <a:gd name="T107" fmla="*/ 0 h 311"/>
                <a:gd name="T108" fmla="*/ 0 w 525"/>
                <a:gd name="T109" fmla="*/ 0 h 311"/>
                <a:gd name="T110" fmla="*/ 0 w 525"/>
                <a:gd name="T111" fmla="*/ 0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2" name="Freeform 1088"/>
            <p:cNvSpPr>
              <a:spLocks/>
            </p:cNvSpPr>
            <p:nvPr>
              <p:custDataLst>
                <p:tags r:id="rId360"/>
              </p:custDataLst>
            </p:nvPr>
          </p:nvSpPr>
          <p:spPr bwMode="auto">
            <a:xfrm>
              <a:off x="3205" y="1031"/>
              <a:ext cx="21" cy="35"/>
            </a:xfrm>
            <a:custGeom>
              <a:avLst/>
              <a:gdLst>
                <a:gd name="T0" fmla="*/ 0 w 79"/>
                <a:gd name="T1" fmla="*/ 0 h 38"/>
                <a:gd name="T2" fmla="*/ 0 w 79"/>
                <a:gd name="T3" fmla="*/ 1 h 38"/>
                <a:gd name="T4" fmla="*/ 0 w 79"/>
                <a:gd name="T5" fmla="*/ 3 h 38"/>
                <a:gd name="T6" fmla="*/ 0 w 79"/>
                <a:gd name="T7" fmla="*/ 6 h 38"/>
                <a:gd name="T8" fmla="*/ 0 w 79"/>
                <a:gd name="T9" fmla="*/ 6 h 38"/>
                <a:gd name="T10" fmla="*/ 0 w 79"/>
                <a:gd name="T11" fmla="*/ 6 h 38"/>
                <a:gd name="T12" fmla="*/ 0 w 79"/>
                <a:gd name="T13" fmla="*/ 6 h 38"/>
                <a:gd name="T14" fmla="*/ 0 w 79"/>
                <a:gd name="T15" fmla="*/ 6 h 38"/>
                <a:gd name="T16" fmla="*/ 0 w 79"/>
                <a:gd name="T17" fmla="*/ 6 h 38"/>
                <a:gd name="T18" fmla="*/ 0 w 79"/>
                <a:gd name="T19" fmla="*/ 6 h 38"/>
                <a:gd name="T20" fmla="*/ 0 w 79"/>
                <a:gd name="T21" fmla="*/ 6 h 38"/>
                <a:gd name="T22" fmla="*/ 0 w 79"/>
                <a:gd name="T23" fmla="*/ 6 h 38"/>
                <a:gd name="T24" fmla="*/ 0 w 79"/>
                <a:gd name="T25" fmla="*/ 7 h 38"/>
                <a:gd name="T26" fmla="*/ 0 w 79"/>
                <a:gd name="T27" fmla="*/ 7 h 38"/>
                <a:gd name="T28" fmla="*/ 0 w 79"/>
                <a:gd name="T29" fmla="*/ 7 h 38"/>
                <a:gd name="T30" fmla="*/ 0 w 79"/>
                <a:gd name="T31" fmla="*/ 7 h 38"/>
                <a:gd name="T32" fmla="*/ 0 w 79"/>
                <a:gd name="T33" fmla="*/ 6 h 38"/>
                <a:gd name="T34" fmla="*/ 0 w 79"/>
                <a:gd name="T35" fmla="*/ 6 h 38"/>
                <a:gd name="T36" fmla="*/ 0 w 79"/>
                <a:gd name="T37" fmla="*/ 6 h 38"/>
                <a:gd name="T38" fmla="*/ 0 w 79"/>
                <a:gd name="T39" fmla="*/ 6 h 38"/>
                <a:gd name="T40" fmla="*/ 0 w 79"/>
                <a:gd name="T41" fmla="*/ 6 h 38"/>
                <a:gd name="T42" fmla="*/ 0 w 79"/>
                <a:gd name="T43" fmla="*/ 6 h 38"/>
                <a:gd name="T44" fmla="*/ 0 w 79"/>
                <a:gd name="T45" fmla="*/ 6 h 38"/>
                <a:gd name="T46" fmla="*/ 0 w 79"/>
                <a:gd name="T47" fmla="*/ 6 h 38"/>
                <a:gd name="T48" fmla="*/ 0 w 79"/>
                <a:gd name="T49" fmla="*/ 6 h 38"/>
                <a:gd name="T50" fmla="*/ 0 w 79"/>
                <a:gd name="T51" fmla="*/ 6 h 38"/>
                <a:gd name="T52" fmla="*/ 0 w 79"/>
                <a:gd name="T53" fmla="*/ 6 h 38"/>
                <a:gd name="T54" fmla="*/ 0 w 79"/>
                <a:gd name="T55" fmla="*/ 6 h 38"/>
                <a:gd name="T56" fmla="*/ 0 w 79"/>
                <a:gd name="T57" fmla="*/ 4 h 38"/>
                <a:gd name="T58" fmla="*/ 0 w 79"/>
                <a:gd name="T59" fmla="*/ 1 h 38"/>
                <a:gd name="T60" fmla="*/ 0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3" name="Freeform 1089"/>
            <p:cNvSpPr>
              <a:spLocks/>
            </p:cNvSpPr>
            <p:nvPr>
              <p:custDataLst>
                <p:tags r:id="rId361"/>
              </p:custDataLst>
            </p:nvPr>
          </p:nvSpPr>
          <p:spPr bwMode="auto">
            <a:xfrm>
              <a:off x="4778" y="1218"/>
              <a:ext cx="134" cy="169"/>
            </a:xfrm>
            <a:custGeom>
              <a:avLst/>
              <a:gdLst>
                <a:gd name="T0" fmla="*/ 0 w 459"/>
                <a:gd name="T1" fmla="*/ 0 h 511"/>
                <a:gd name="T2" fmla="*/ 0 w 459"/>
                <a:gd name="T3" fmla="*/ 0 h 511"/>
                <a:gd name="T4" fmla="*/ 0 w 459"/>
                <a:gd name="T5" fmla="*/ 0 h 511"/>
                <a:gd name="T6" fmla="*/ 0 w 459"/>
                <a:gd name="T7" fmla="*/ 0 h 511"/>
                <a:gd name="T8" fmla="*/ 0 w 459"/>
                <a:gd name="T9" fmla="*/ 0 h 511"/>
                <a:gd name="T10" fmla="*/ 0 w 459"/>
                <a:gd name="T11" fmla="*/ 0 h 511"/>
                <a:gd name="T12" fmla="*/ 0 w 459"/>
                <a:gd name="T13" fmla="*/ 0 h 511"/>
                <a:gd name="T14" fmla="*/ 0 w 459"/>
                <a:gd name="T15" fmla="*/ 0 h 511"/>
                <a:gd name="T16" fmla="*/ 0 w 459"/>
                <a:gd name="T17" fmla="*/ 0 h 511"/>
                <a:gd name="T18" fmla="*/ 0 w 459"/>
                <a:gd name="T19" fmla="*/ 0 h 511"/>
                <a:gd name="T20" fmla="*/ 0 w 459"/>
                <a:gd name="T21" fmla="*/ 0 h 511"/>
                <a:gd name="T22" fmla="*/ 0 w 459"/>
                <a:gd name="T23" fmla="*/ 0 h 511"/>
                <a:gd name="T24" fmla="*/ 0 w 459"/>
                <a:gd name="T25" fmla="*/ 0 h 511"/>
                <a:gd name="T26" fmla="*/ 0 w 459"/>
                <a:gd name="T27" fmla="*/ 0 h 511"/>
                <a:gd name="T28" fmla="*/ 0 w 459"/>
                <a:gd name="T29" fmla="*/ 0 h 511"/>
                <a:gd name="T30" fmla="*/ 0 w 459"/>
                <a:gd name="T31" fmla="*/ 0 h 511"/>
                <a:gd name="T32" fmla="*/ 0 w 459"/>
                <a:gd name="T33" fmla="*/ 0 h 511"/>
                <a:gd name="T34" fmla="*/ 0 w 459"/>
                <a:gd name="T35" fmla="*/ 0 h 511"/>
                <a:gd name="T36" fmla="*/ 0 w 459"/>
                <a:gd name="T37" fmla="*/ 0 h 511"/>
                <a:gd name="T38" fmla="*/ 0 w 459"/>
                <a:gd name="T39" fmla="*/ 0 h 511"/>
                <a:gd name="T40" fmla="*/ 0 w 459"/>
                <a:gd name="T41" fmla="*/ 0 h 511"/>
                <a:gd name="T42" fmla="*/ 0 w 459"/>
                <a:gd name="T43" fmla="*/ 0 h 511"/>
                <a:gd name="T44" fmla="*/ 0 w 459"/>
                <a:gd name="T45" fmla="*/ 0 h 511"/>
                <a:gd name="T46" fmla="*/ 0 w 459"/>
                <a:gd name="T47" fmla="*/ 0 h 511"/>
                <a:gd name="T48" fmla="*/ 0 w 459"/>
                <a:gd name="T49" fmla="*/ 0 h 511"/>
                <a:gd name="T50" fmla="*/ 0 w 459"/>
                <a:gd name="T51" fmla="*/ 0 h 511"/>
                <a:gd name="T52" fmla="*/ 0 w 459"/>
                <a:gd name="T53" fmla="*/ 0 h 511"/>
                <a:gd name="T54" fmla="*/ 0 w 459"/>
                <a:gd name="T55" fmla="*/ 0 h 511"/>
                <a:gd name="T56" fmla="*/ 0 w 459"/>
                <a:gd name="T57" fmla="*/ 0 h 511"/>
                <a:gd name="T58" fmla="*/ 0 w 459"/>
                <a:gd name="T59" fmla="*/ 0 h 511"/>
                <a:gd name="T60" fmla="*/ 0 w 459"/>
                <a:gd name="T61" fmla="*/ 0 h 511"/>
                <a:gd name="T62" fmla="*/ 0 w 459"/>
                <a:gd name="T63" fmla="*/ 0 h 511"/>
                <a:gd name="T64" fmla="*/ 0 w 459"/>
                <a:gd name="T65" fmla="*/ 0 h 511"/>
                <a:gd name="T66" fmla="*/ 0 w 459"/>
                <a:gd name="T67" fmla="*/ 0 h 511"/>
                <a:gd name="T68" fmla="*/ 0 w 459"/>
                <a:gd name="T69" fmla="*/ 0 h 511"/>
                <a:gd name="T70" fmla="*/ 0 w 459"/>
                <a:gd name="T71" fmla="*/ 0 h 511"/>
                <a:gd name="T72" fmla="*/ 0 w 459"/>
                <a:gd name="T73" fmla="*/ 0 h 511"/>
                <a:gd name="T74" fmla="*/ 0 w 459"/>
                <a:gd name="T75" fmla="*/ 0 h 511"/>
                <a:gd name="T76" fmla="*/ 0 w 459"/>
                <a:gd name="T77" fmla="*/ 0 h 511"/>
                <a:gd name="T78" fmla="*/ 0 w 459"/>
                <a:gd name="T79" fmla="*/ 0 h 511"/>
                <a:gd name="T80" fmla="*/ 0 w 459"/>
                <a:gd name="T81" fmla="*/ 0 h 511"/>
                <a:gd name="T82" fmla="*/ 0 w 459"/>
                <a:gd name="T83" fmla="*/ 0 h 511"/>
                <a:gd name="T84" fmla="*/ 0 w 459"/>
                <a:gd name="T85" fmla="*/ 0 h 511"/>
                <a:gd name="T86" fmla="*/ 0 w 459"/>
                <a:gd name="T87" fmla="*/ 0 h 511"/>
                <a:gd name="T88" fmla="*/ 0 w 459"/>
                <a:gd name="T89" fmla="*/ 0 h 511"/>
                <a:gd name="T90" fmla="*/ 0 w 459"/>
                <a:gd name="T91" fmla="*/ 0 h 511"/>
                <a:gd name="T92" fmla="*/ 0 w 459"/>
                <a:gd name="T93" fmla="*/ 0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7" name="Group 1090"/>
            <p:cNvGrpSpPr>
              <a:grpSpLocks/>
            </p:cNvGrpSpPr>
            <p:nvPr>
              <p:custDataLst>
                <p:tags r:id="rId362"/>
              </p:custDataLst>
            </p:nvPr>
          </p:nvGrpSpPr>
          <p:grpSpPr bwMode="auto">
            <a:xfrm>
              <a:off x="3952" y="1190"/>
              <a:ext cx="458" cy="242"/>
              <a:chOff x="4115" y="1551"/>
              <a:chExt cx="504" cy="244"/>
            </a:xfrm>
            <a:grpFill/>
          </p:grpSpPr>
          <p:sp>
            <p:nvSpPr>
              <p:cNvPr id="18839" name="Freeform 1091"/>
              <p:cNvSpPr>
                <a:spLocks/>
              </p:cNvSpPr>
              <p:nvPr/>
            </p:nvSpPr>
            <p:spPr bwMode="auto">
              <a:xfrm>
                <a:off x="4540" y="1551"/>
                <a:ext cx="79" cy="86"/>
              </a:xfrm>
              <a:custGeom>
                <a:avLst/>
                <a:gdLst>
                  <a:gd name="T0" fmla="*/ 0 w 240"/>
                  <a:gd name="T1" fmla="*/ 0 h 259"/>
                  <a:gd name="T2" fmla="*/ 0 w 240"/>
                  <a:gd name="T3" fmla="*/ 0 h 259"/>
                  <a:gd name="T4" fmla="*/ 0 w 240"/>
                  <a:gd name="T5" fmla="*/ 0 h 259"/>
                  <a:gd name="T6" fmla="*/ 0 w 240"/>
                  <a:gd name="T7" fmla="*/ 0 h 259"/>
                  <a:gd name="T8" fmla="*/ 0 w 240"/>
                  <a:gd name="T9" fmla="*/ 0 h 259"/>
                  <a:gd name="T10" fmla="*/ 0 w 240"/>
                  <a:gd name="T11" fmla="*/ 0 h 259"/>
                  <a:gd name="T12" fmla="*/ 0 w 240"/>
                  <a:gd name="T13" fmla="*/ 0 h 259"/>
                  <a:gd name="T14" fmla="*/ 0 w 240"/>
                  <a:gd name="T15" fmla="*/ 0 h 259"/>
                  <a:gd name="T16" fmla="*/ 0 w 240"/>
                  <a:gd name="T17" fmla="*/ 0 h 259"/>
                  <a:gd name="T18" fmla="*/ 0 w 240"/>
                  <a:gd name="T19" fmla="*/ 0 h 259"/>
                  <a:gd name="T20" fmla="*/ 0 w 240"/>
                  <a:gd name="T21" fmla="*/ 0 h 259"/>
                  <a:gd name="T22" fmla="*/ 0 w 240"/>
                  <a:gd name="T23" fmla="*/ 0 h 259"/>
                  <a:gd name="T24" fmla="*/ 0 w 240"/>
                  <a:gd name="T25" fmla="*/ 0 h 259"/>
                  <a:gd name="T26" fmla="*/ 0 w 240"/>
                  <a:gd name="T27" fmla="*/ 0 h 259"/>
                  <a:gd name="T28" fmla="*/ 0 w 240"/>
                  <a:gd name="T29" fmla="*/ 0 h 259"/>
                  <a:gd name="T30" fmla="*/ 0 w 240"/>
                  <a:gd name="T31" fmla="*/ 0 h 259"/>
                  <a:gd name="T32" fmla="*/ 0 w 240"/>
                  <a:gd name="T33" fmla="*/ 0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0" name="Freeform 1092"/>
              <p:cNvSpPr>
                <a:spLocks/>
              </p:cNvSpPr>
              <p:nvPr/>
            </p:nvSpPr>
            <p:spPr bwMode="auto">
              <a:xfrm>
                <a:off x="4115" y="1761"/>
                <a:ext cx="84" cy="34"/>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0 w 259"/>
                  <a:gd name="T11" fmla="*/ 0 h 104"/>
                  <a:gd name="T12" fmla="*/ 0 w 259"/>
                  <a:gd name="T13" fmla="*/ 0 h 104"/>
                  <a:gd name="T14" fmla="*/ 0 w 259"/>
                  <a:gd name="T15" fmla="*/ 0 h 104"/>
                  <a:gd name="T16" fmla="*/ 0 w 259"/>
                  <a:gd name="T17" fmla="*/ 0 h 104"/>
                  <a:gd name="T18" fmla="*/ 0 w 259"/>
                  <a:gd name="T19" fmla="*/ 0 h 104"/>
                  <a:gd name="T20" fmla="*/ 0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15" name="Freeform 1093"/>
            <p:cNvSpPr>
              <a:spLocks/>
            </p:cNvSpPr>
            <p:nvPr>
              <p:custDataLst>
                <p:tags r:id="rId363"/>
              </p:custDataLst>
            </p:nvPr>
          </p:nvSpPr>
          <p:spPr bwMode="auto">
            <a:xfrm>
              <a:off x="3309" y="1662"/>
              <a:ext cx="361" cy="322"/>
            </a:xfrm>
            <a:custGeom>
              <a:avLst/>
              <a:gdLst>
                <a:gd name="T0" fmla="*/ 0 w 1227"/>
                <a:gd name="T1" fmla="*/ 0 h 979"/>
                <a:gd name="T2" fmla="*/ 0 w 1227"/>
                <a:gd name="T3" fmla="*/ 0 h 979"/>
                <a:gd name="T4" fmla="*/ 0 w 1227"/>
                <a:gd name="T5" fmla="*/ 0 h 979"/>
                <a:gd name="T6" fmla="*/ 0 w 1227"/>
                <a:gd name="T7" fmla="*/ 0 h 979"/>
                <a:gd name="T8" fmla="*/ 0 w 1227"/>
                <a:gd name="T9" fmla="*/ 0 h 979"/>
                <a:gd name="T10" fmla="*/ 0 w 1227"/>
                <a:gd name="T11" fmla="*/ 0 h 979"/>
                <a:gd name="T12" fmla="*/ 0 w 1227"/>
                <a:gd name="T13" fmla="*/ 0 h 979"/>
                <a:gd name="T14" fmla="*/ 0 w 1227"/>
                <a:gd name="T15" fmla="*/ 0 h 979"/>
                <a:gd name="T16" fmla="*/ 0 w 1227"/>
                <a:gd name="T17" fmla="*/ 0 h 979"/>
                <a:gd name="T18" fmla="*/ 0 w 1227"/>
                <a:gd name="T19" fmla="*/ 0 h 979"/>
                <a:gd name="T20" fmla="*/ 0 w 1227"/>
                <a:gd name="T21" fmla="*/ 0 h 979"/>
                <a:gd name="T22" fmla="*/ 0 w 1227"/>
                <a:gd name="T23" fmla="*/ 0 h 979"/>
                <a:gd name="T24" fmla="*/ 0 w 1227"/>
                <a:gd name="T25" fmla="*/ 0 h 979"/>
                <a:gd name="T26" fmla="*/ 0 w 1227"/>
                <a:gd name="T27" fmla="*/ 0 h 979"/>
                <a:gd name="T28" fmla="*/ 0 w 1227"/>
                <a:gd name="T29" fmla="*/ 0 h 979"/>
                <a:gd name="T30" fmla="*/ 0 w 1227"/>
                <a:gd name="T31" fmla="*/ 0 h 979"/>
                <a:gd name="T32" fmla="*/ 0 w 1227"/>
                <a:gd name="T33" fmla="*/ 0 h 979"/>
                <a:gd name="T34" fmla="*/ 0 w 1227"/>
                <a:gd name="T35" fmla="*/ 0 h 979"/>
                <a:gd name="T36" fmla="*/ 0 w 1227"/>
                <a:gd name="T37" fmla="*/ 0 h 979"/>
                <a:gd name="T38" fmla="*/ 0 w 1227"/>
                <a:gd name="T39" fmla="*/ 0 h 979"/>
                <a:gd name="T40" fmla="*/ 0 w 1227"/>
                <a:gd name="T41" fmla="*/ 0 h 979"/>
                <a:gd name="T42" fmla="*/ 0 w 1227"/>
                <a:gd name="T43" fmla="*/ 0 h 979"/>
                <a:gd name="T44" fmla="*/ 0 w 1227"/>
                <a:gd name="T45" fmla="*/ 0 h 979"/>
                <a:gd name="T46" fmla="*/ 0 w 1227"/>
                <a:gd name="T47" fmla="*/ 0 h 979"/>
                <a:gd name="T48" fmla="*/ 0 w 1227"/>
                <a:gd name="T49" fmla="*/ 0 h 979"/>
                <a:gd name="T50" fmla="*/ 0 w 1227"/>
                <a:gd name="T51" fmla="*/ 0 h 979"/>
                <a:gd name="T52" fmla="*/ 0 w 1227"/>
                <a:gd name="T53" fmla="*/ 0 h 979"/>
                <a:gd name="T54" fmla="*/ 0 w 1227"/>
                <a:gd name="T55" fmla="*/ 0 h 979"/>
                <a:gd name="T56" fmla="*/ 0 w 1227"/>
                <a:gd name="T57" fmla="*/ 0 h 979"/>
                <a:gd name="T58" fmla="*/ 0 w 1227"/>
                <a:gd name="T59" fmla="*/ 0 h 979"/>
                <a:gd name="T60" fmla="*/ 0 w 1227"/>
                <a:gd name="T61" fmla="*/ 0 h 979"/>
                <a:gd name="T62" fmla="*/ 0 w 1227"/>
                <a:gd name="T63" fmla="*/ 0 h 979"/>
                <a:gd name="T64" fmla="*/ 0 w 1227"/>
                <a:gd name="T65" fmla="*/ 0 h 979"/>
                <a:gd name="T66" fmla="*/ 0 w 1227"/>
                <a:gd name="T67" fmla="*/ 0 h 979"/>
                <a:gd name="T68" fmla="*/ 0 w 1227"/>
                <a:gd name="T69" fmla="*/ 0 h 979"/>
                <a:gd name="T70" fmla="*/ 0 w 1227"/>
                <a:gd name="T71" fmla="*/ 0 h 979"/>
                <a:gd name="T72" fmla="*/ 0 w 1227"/>
                <a:gd name="T73" fmla="*/ 0 h 979"/>
                <a:gd name="T74" fmla="*/ 0 w 1227"/>
                <a:gd name="T75" fmla="*/ 0 h 979"/>
                <a:gd name="T76" fmla="*/ 0 w 1227"/>
                <a:gd name="T77" fmla="*/ 0 h 979"/>
                <a:gd name="T78" fmla="*/ 0 w 1227"/>
                <a:gd name="T79" fmla="*/ 0 h 979"/>
                <a:gd name="T80" fmla="*/ 0 w 1227"/>
                <a:gd name="T81" fmla="*/ 0 h 979"/>
                <a:gd name="T82" fmla="*/ 0 w 1227"/>
                <a:gd name="T83" fmla="*/ 0 h 979"/>
                <a:gd name="T84" fmla="*/ 0 w 1227"/>
                <a:gd name="T85" fmla="*/ 0 h 979"/>
                <a:gd name="T86" fmla="*/ 0 w 1227"/>
                <a:gd name="T87" fmla="*/ 0 h 979"/>
                <a:gd name="T88" fmla="*/ 0 w 1227"/>
                <a:gd name="T89" fmla="*/ 0 h 979"/>
                <a:gd name="T90" fmla="*/ 0 w 1227"/>
                <a:gd name="T91" fmla="*/ 0 h 979"/>
                <a:gd name="T92" fmla="*/ 0 w 1227"/>
                <a:gd name="T93" fmla="*/ 0 h 979"/>
                <a:gd name="T94" fmla="*/ 0 w 1227"/>
                <a:gd name="T95" fmla="*/ 0 h 979"/>
                <a:gd name="T96" fmla="*/ 0 w 1227"/>
                <a:gd name="T97" fmla="*/ 0 h 979"/>
                <a:gd name="T98" fmla="*/ 0 w 1227"/>
                <a:gd name="T99" fmla="*/ 0 h 979"/>
                <a:gd name="T100" fmla="*/ 0 w 1227"/>
                <a:gd name="T101" fmla="*/ 0 h 979"/>
                <a:gd name="T102" fmla="*/ 0 w 1227"/>
                <a:gd name="T103" fmla="*/ 0 h 979"/>
                <a:gd name="T104" fmla="*/ 0 w 1227"/>
                <a:gd name="T105" fmla="*/ 0 h 979"/>
                <a:gd name="T106" fmla="*/ 0 w 1227"/>
                <a:gd name="T107" fmla="*/ 0 h 979"/>
                <a:gd name="T108" fmla="*/ 0 w 1227"/>
                <a:gd name="T109" fmla="*/ 0 h 979"/>
                <a:gd name="T110" fmla="*/ 0 w 1227"/>
                <a:gd name="T111" fmla="*/ 0 h 979"/>
                <a:gd name="T112" fmla="*/ 0 w 1227"/>
                <a:gd name="T113" fmla="*/ 0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6" name="Freeform 1094"/>
            <p:cNvSpPr>
              <a:spLocks/>
            </p:cNvSpPr>
            <p:nvPr>
              <p:custDataLst>
                <p:tags r:id="rId364"/>
              </p:custDataLst>
            </p:nvPr>
          </p:nvSpPr>
          <p:spPr bwMode="auto">
            <a:xfrm>
              <a:off x="2950" y="1375"/>
              <a:ext cx="39" cy="36"/>
            </a:xfrm>
            <a:custGeom>
              <a:avLst/>
              <a:gdLst>
                <a:gd name="T0" fmla="*/ 0 w 146"/>
                <a:gd name="T1" fmla="*/ 0 h 81"/>
                <a:gd name="T2" fmla="*/ 0 w 146"/>
                <a:gd name="T3" fmla="*/ 0 h 81"/>
                <a:gd name="T4" fmla="*/ 0 w 146"/>
                <a:gd name="T5" fmla="*/ 0 h 81"/>
                <a:gd name="T6" fmla="*/ 0 w 146"/>
                <a:gd name="T7" fmla="*/ 0 h 81"/>
                <a:gd name="T8" fmla="*/ 0 w 146"/>
                <a:gd name="T9" fmla="*/ 0 h 81"/>
                <a:gd name="T10" fmla="*/ 0 w 146"/>
                <a:gd name="T11" fmla="*/ 0 h 81"/>
                <a:gd name="T12" fmla="*/ 0 w 146"/>
                <a:gd name="T13" fmla="*/ 0 h 81"/>
                <a:gd name="T14" fmla="*/ 0 w 146"/>
                <a:gd name="T15" fmla="*/ 0 h 81"/>
                <a:gd name="T16" fmla="*/ 0 w 146"/>
                <a:gd name="T17" fmla="*/ 0 h 81"/>
                <a:gd name="T18" fmla="*/ 0 w 146"/>
                <a:gd name="T19" fmla="*/ 0 h 81"/>
                <a:gd name="T20" fmla="*/ 0 w 146"/>
                <a:gd name="T21" fmla="*/ 0 h 81"/>
                <a:gd name="T22" fmla="*/ 0 w 146"/>
                <a:gd name="T23" fmla="*/ 0 h 81"/>
                <a:gd name="T24" fmla="*/ 0 w 146"/>
                <a:gd name="T25" fmla="*/ 0 h 81"/>
                <a:gd name="T26" fmla="*/ 0 w 146"/>
                <a:gd name="T27" fmla="*/ 0 h 81"/>
                <a:gd name="T28" fmla="*/ 0 w 146"/>
                <a:gd name="T29" fmla="*/ 0 h 81"/>
                <a:gd name="T30" fmla="*/ 0 w 146"/>
                <a:gd name="T31" fmla="*/ 0 h 81"/>
                <a:gd name="T32" fmla="*/ 0 w 146"/>
                <a:gd name="T33" fmla="*/ 0 h 81"/>
                <a:gd name="T34" fmla="*/ 0 w 146"/>
                <a:gd name="T35" fmla="*/ 0 h 81"/>
                <a:gd name="T36" fmla="*/ 0 w 146"/>
                <a:gd name="T37" fmla="*/ 0 h 81"/>
                <a:gd name="T38" fmla="*/ 0 w 146"/>
                <a:gd name="T39" fmla="*/ 0 h 81"/>
                <a:gd name="T40" fmla="*/ 0 w 146"/>
                <a:gd name="T41" fmla="*/ 0 h 81"/>
                <a:gd name="T42" fmla="*/ 0 w 146"/>
                <a:gd name="T43" fmla="*/ 0 h 81"/>
                <a:gd name="T44" fmla="*/ 0 w 146"/>
                <a:gd name="T45" fmla="*/ 0 h 81"/>
                <a:gd name="T46" fmla="*/ 0 w 146"/>
                <a:gd name="T47" fmla="*/ 0 h 81"/>
                <a:gd name="T48" fmla="*/ 0 w 146"/>
                <a:gd name="T49" fmla="*/ 0 h 81"/>
                <a:gd name="T50" fmla="*/ 0 w 146"/>
                <a:gd name="T51" fmla="*/ 0 h 81"/>
                <a:gd name="T52" fmla="*/ 0 w 146"/>
                <a:gd name="T53" fmla="*/ 0 h 81"/>
                <a:gd name="T54" fmla="*/ 0 w 146"/>
                <a:gd name="T55" fmla="*/ 0 h 81"/>
                <a:gd name="T56" fmla="*/ 0 w 146"/>
                <a:gd name="T57" fmla="*/ 0 h 81"/>
                <a:gd name="T58" fmla="*/ 0 w 146"/>
                <a:gd name="T59" fmla="*/ 0 h 81"/>
                <a:gd name="T60" fmla="*/ 0 w 146"/>
                <a:gd name="T61" fmla="*/ 0 h 81"/>
                <a:gd name="T62" fmla="*/ 0 w 146"/>
                <a:gd name="T63" fmla="*/ 0 h 81"/>
                <a:gd name="T64" fmla="*/ 0 w 146"/>
                <a:gd name="T65" fmla="*/ 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7" name="Freeform 1095"/>
            <p:cNvSpPr>
              <a:spLocks/>
            </p:cNvSpPr>
            <p:nvPr>
              <p:custDataLst>
                <p:tags r:id="rId365"/>
              </p:custDataLst>
            </p:nvPr>
          </p:nvSpPr>
          <p:spPr bwMode="auto">
            <a:xfrm>
              <a:off x="2772" y="1509"/>
              <a:ext cx="11" cy="36"/>
            </a:xfrm>
            <a:custGeom>
              <a:avLst/>
              <a:gdLst>
                <a:gd name="T0" fmla="*/ 0 w 34"/>
                <a:gd name="T1" fmla="*/ 1 h 49"/>
                <a:gd name="T2" fmla="*/ 0 w 34"/>
                <a:gd name="T3" fmla="*/ 1 h 49"/>
                <a:gd name="T4" fmla="*/ 0 w 34"/>
                <a:gd name="T5" fmla="*/ 1 h 49"/>
                <a:gd name="T6" fmla="*/ 0 w 34"/>
                <a:gd name="T7" fmla="*/ 1 h 49"/>
                <a:gd name="T8" fmla="*/ 0 w 34"/>
                <a:gd name="T9" fmla="*/ 1 h 49"/>
                <a:gd name="T10" fmla="*/ 0 w 34"/>
                <a:gd name="T11" fmla="*/ 1 h 49"/>
                <a:gd name="T12" fmla="*/ 0 w 34"/>
                <a:gd name="T13" fmla="*/ 1 h 49"/>
                <a:gd name="T14" fmla="*/ 0 w 34"/>
                <a:gd name="T15" fmla="*/ 1 h 49"/>
                <a:gd name="T16" fmla="*/ 0 w 34"/>
                <a:gd name="T17" fmla="*/ 0 h 49"/>
                <a:gd name="T18" fmla="*/ 0 w 34"/>
                <a:gd name="T19" fmla="*/ 0 h 49"/>
                <a:gd name="T20" fmla="*/ 0 w 34"/>
                <a:gd name="T21" fmla="*/ 0 h 49"/>
                <a:gd name="T22" fmla="*/ 0 w 34"/>
                <a:gd name="T23" fmla="*/ 1 h 49"/>
                <a:gd name="T24" fmla="*/ 0 w 34"/>
                <a:gd name="T25" fmla="*/ 1 h 49"/>
                <a:gd name="T26" fmla="*/ 0 w 34"/>
                <a:gd name="T27" fmla="*/ 1 h 49"/>
                <a:gd name="T28" fmla="*/ 0 w 34"/>
                <a:gd name="T29" fmla="*/ 1 h 49"/>
                <a:gd name="T30" fmla="*/ 0 w 34"/>
                <a:gd name="T31" fmla="*/ 1 h 49"/>
                <a:gd name="T32" fmla="*/ 0 w 34"/>
                <a:gd name="T33" fmla="*/ 1 h 49"/>
                <a:gd name="T34" fmla="*/ 0 w 34"/>
                <a:gd name="T35" fmla="*/ 1 h 49"/>
                <a:gd name="T36" fmla="*/ 0 w 34"/>
                <a:gd name="T37" fmla="*/ 1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8" name="Freeform 1096"/>
            <p:cNvSpPr>
              <a:spLocks/>
            </p:cNvSpPr>
            <p:nvPr>
              <p:custDataLst>
                <p:tags r:id="rId366"/>
              </p:custDataLst>
            </p:nvPr>
          </p:nvSpPr>
          <p:spPr bwMode="auto">
            <a:xfrm>
              <a:off x="2494" y="1727"/>
              <a:ext cx="19" cy="36"/>
            </a:xfrm>
            <a:custGeom>
              <a:avLst/>
              <a:gdLst>
                <a:gd name="T0" fmla="*/ 0 w 60"/>
                <a:gd name="T1" fmla="*/ 0 h 74"/>
                <a:gd name="T2" fmla="*/ 0 w 60"/>
                <a:gd name="T3" fmla="*/ 0 h 74"/>
                <a:gd name="T4" fmla="*/ 0 w 60"/>
                <a:gd name="T5" fmla="*/ 0 h 74"/>
                <a:gd name="T6" fmla="*/ 0 w 60"/>
                <a:gd name="T7" fmla="*/ 0 h 74"/>
                <a:gd name="T8" fmla="*/ 0 w 60"/>
                <a:gd name="T9" fmla="*/ 0 h 74"/>
                <a:gd name="T10" fmla="*/ 0 w 60"/>
                <a:gd name="T11" fmla="*/ 0 h 74"/>
                <a:gd name="T12" fmla="*/ 0 w 60"/>
                <a:gd name="T13" fmla="*/ 0 h 74"/>
                <a:gd name="T14" fmla="*/ 0 w 60"/>
                <a:gd name="T15" fmla="*/ 0 h 74"/>
                <a:gd name="T16" fmla="*/ 0 w 60"/>
                <a:gd name="T17" fmla="*/ 0 h 74"/>
                <a:gd name="T18" fmla="*/ 0 w 60"/>
                <a:gd name="T19" fmla="*/ 0 h 74"/>
                <a:gd name="T20" fmla="*/ 0 w 60"/>
                <a:gd name="T21" fmla="*/ 0 h 74"/>
                <a:gd name="T22" fmla="*/ 0 w 60"/>
                <a:gd name="T23" fmla="*/ 0 h 74"/>
                <a:gd name="T24" fmla="*/ 0 w 60"/>
                <a:gd name="T25" fmla="*/ 0 h 74"/>
                <a:gd name="T26" fmla="*/ 0 w 60"/>
                <a:gd name="T27" fmla="*/ 0 h 74"/>
                <a:gd name="T28" fmla="*/ 0 w 60"/>
                <a:gd name="T29" fmla="*/ 0 h 74"/>
                <a:gd name="T30" fmla="*/ 0 w 60"/>
                <a:gd name="T31" fmla="*/ 0 h 74"/>
                <a:gd name="T32" fmla="*/ 0 w 60"/>
                <a:gd name="T33" fmla="*/ 0 h 74"/>
                <a:gd name="T34" fmla="*/ 0 w 60"/>
                <a:gd name="T35" fmla="*/ 0 h 74"/>
                <a:gd name="T36" fmla="*/ 0 w 60"/>
                <a:gd name="T37" fmla="*/ 0 h 74"/>
                <a:gd name="T38" fmla="*/ 0 w 60"/>
                <a:gd name="T39" fmla="*/ 0 h 74"/>
                <a:gd name="T40" fmla="*/ 0 w 60"/>
                <a:gd name="T41" fmla="*/ 0 h 74"/>
                <a:gd name="T42" fmla="*/ 0 w 60"/>
                <a:gd name="T43" fmla="*/ 0 h 74"/>
                <a:gd name="T44" fmla="*/ 0 w 60"/>
                <a:gd name="T45" fmla="*/ 0 h 74"/>
                <a:gd name="T46" fmla="*/ 0 w 60"/>
                <a:gd name="T47" fmla="*/ 0 h 74"/>
                <a:gd name="T48" fmla="*/ 0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9" name="Freeform 1097"/>
            <p:cNvSpPr>
              <a:spLocks/>
            </p:cNvSpPr>
            <p:nvPr>
              <p:custDataLst>
                <p:tags r:id="rId367"/>
              </p:custDataLst>
            </p:nvPr>
          </p:nvSpPr>
          <p:spPr bwMode="auto">
            <a:xfrm>
              <a:off x="2454" y="1737"/>
              <a:ext cx="16" cy="38"/>
            </a:xfrm>
            <a:custGeom>
              <a:avLst/>
              <a:gdLst>
                <a:gd name="T0" fmla="*/ 0 w 47"/>
                <a:gd name="T1" fmla="*/ 3 h 45"/>
                <a:gd name="T2" fmla="*/ 0 w 47"/>
                <a:gd name="T3" fmla="*/ 3 h 45"/>
                <a:gd name="T4" fmla="*/ 0 w 47"/>
                <a:gd name="T5" fmla="*/ 3 h 45"/>
                <a:gd name="T6" fmla="*/ 0 w 47"/>
                <a:gd name="T7" fmla="*/ 3 h 45"/>
                <a:gd name="T8" fmla="*/ 0 w 47"/>
                <a:gd name="T9" fmla="*/ 3 h 45"/>
                <a:gd name="T10" fmla="*/ 0 w 47"/>
                <a:gd name="T11" fmla="*/ 1 h 45"/>
                <a:gd name="T12" fmla="*/ 0 w 47"/>
                <a:gd name="T13" fmla="*/ 0 h 45"/>
                <a:gd name="T14" fmla="*/ 0 w 47"/>
                <a:gd name="T15" fmla="*/ 1 h 45"/>
                <a:gd name="T16" fmla="*/ 0 w 47"/>
                <a:gd name="T17" fmla="*/ 2 h 45"/>
                <a:gd name="T18" fmla="*/ 0 w 47"/>
                <a:gd name="T19" fmla="*/ 3 h 45"/>
                <a:gd name="T20" fmla="*/ 0 w 47"/>
                <a:gd name="T21" fmla="*/ 3 h 45"/>
                <a:gd name="T22" fmla="*/ 0 w 47"/>
                <a:gd name="T23" fmla="*/ 3 h 45"/>
                <a:gd name="T24" fmla="*/ 0 w 47"/>
                <a:gd name="T25" fmla="*/ 3 h 45"/>
                <a:gd name="T26" fmla="*/ 0 w 47"/>
                <a:gd name="T27" fmla="*/ 3 h 45"/>
                <a:gd name="T28" fmla="*/ 0 w 47"/>
                <a:gd name="T29" fmla="*/ 3 h 45"/>
                <a:gd name="T30" fmla="*/ 0 w 47"/>
                <a:gd name="T31" fmla="*/ 3 h 45"/>
                <a:gd name="T32" fmla="*/ 0 w 47"/>
                <a:gd name="T33" fmla="*/ 3 h 45"/>
                <a:gd name="T34" fmla="*/ 0 w 47"/>
                <a:gd name="T35" fmla="*/ 3 h 45"/>
                <a:gd name="T36" fmla="*/ 0 w 47"/>
                <a:gd name="T37" fmla="*/ 3 h 45"/>
                <a:gd name="T38" fmla="*/ 0 w 47"/>
                <a:gd name="T39" fmla="*/ 3 h 45"/>
                <a:gd name="T40" fmla="*/ 0 w 47"/>
                <a:gd name="T41" fmla="*/ 3 h 45"/>
                <a:gd name="T42" fmla="*/ 0 w 47"/>
                <a:gd name="T43" fmla="*/ 3 h 45"/>
                <a:gd name="T44" fmla="*/ 0 w 47"/>
                <a:gd name="T45" fmla="*/ 3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0" name="Freeform 1098"/>
            <p:cNvSpPr>
              <a:spLocks/>
            </p:cNvSpPr>
            <p:nvPr>
              <p:custDataLst>
                <p:tags r:id="rId368"/>
              </p:custDataLst>
            </p:nvPr>
          </p:nvSpPr>
          <p:spPr bwMode="auto">
            <a:xfrm>
              <a:off x="2436" y="1733"/>
              <a:ext cx="5" cy="36"/>
            </a:xfrm>
            <a:custGeom>
              <a:avLst/>
              <a:gdLst>
                <a:gd name="T0" fmla="*/ 0 w 26"/>
                <a:gd name="T1" fmla="*/ 36 h 36"/>
                <a:gd name="T2" fmla="*/ 0 w 26"/>
                <a:gd name="T3" fmla="*/ 30 h 36"/>
                <a:gd name="T4" fmla="*/ 0 w 26"/>
                <a:gd name="T5" fmla="*/ 20 h 36"/>
                <a:gd name="T6" fmla="*/ 0 w 26"/>
                <a:gd name="T7" fmla="*/ 10 h 36"/>
                <a:gd name="T8" fmla="*/ 0 w 26"/>
                <a:gd name="T9" fmla="*/ 0 h 36"/>
                <a:gd name="T10" fmla="*/ 0 w 26"/>
                <a:gd name="T11" fmla="*/ 0 h 36"/>
                <a:gd name="T12" fmla="*/ 0 w 26"/>
                <a:gd name="T13" fmla="*/ 12 h 36"/>
                <a:gd name="T14" fmla="*/ 0 w 26"/>
                <a:gd name="T15" fmla="*/ 23 h 36"/>
                <a:gd name="T16" fmla="*/ 0 w 26"/>
                <a:gd name="T17" fmla="*/ 27 h 36"/>
                <a:gd name="T18" fmla="*/ 0 w 26"/>
                <a:gd name="T19" fmla="*/ 31 h 36"/>
                <a:gd name="T20" fmla="*/ 0 w 26"/>
                <a:gd name="T21" fmla="*/ 34 h 36"/>
                <a:gd name="T22" fmla="*/ 0 w 26"/>
                <a:gd name="T23" fmla="*/ 36 h 36"/>
                <a:gd name="T24" fmla="*/ 0 w 26"/>
                <a:gd name="T25" fmla="*/ 36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1" name="Freeform 1099"/>
            <p:cNvSpPr>
              <a:spLocks/>
            </p:cNvSpPr>
            <p:nvPr>
              <p:custDataLst>
                <p:tags r:id="rId369"/>
              </p:custDataLst>
            </p:nvPr>
          </p:nvSpPr>
          <p:spPr bwMode="auto">
            <a:xfrm>
              <a:off x="3304" y="1562"/>
              <a:ext cx="119" cy="100"/>
            </a:xfrm>
            <a:custGeom>
              <a:avLst/>
              <a:gdLst>
                <a:gd name="T0" fmla="*/ 0 w 405"/>
                <a:gd name="T1" fmla="*/ 0 h 302"/>
                <a:gd name="T2" fmla="*/ 0 w 405"/>
                <a:gd name="T3" fmla="*/ 0 h 302"/>
                <a:gd name="T4" fmla="*/ 0 w 405"/>
                <a:gd name="T5" fmla="*/ 0 h 302"/>
                <a:gd name="T6" fmla="*/ 0 w 405"/>
                <a:gd name="T7" fmla="*/ 0 h 302"/>
                <a:gd name="T8" fmla="*/ 0 w 405"/>
                <a:gd name="T9" fmla="*/ 0 h 302"/>
                <a:gd name="T10" fmla="*/ 0 w 405"/>
                <a:gd name="T11" fmla="*/ 0 h 302"/>
                <a:gd name="T12" fmla="*/ 0 w 405"/>
                <a:gd name="T13" fmla="*/ 0 h 302"/>
                <a:gd name="T14" fmla="*/ 0 w 405"/>
                <a:gd name="T15" fmla="*/ 0 h 302"/>
                <a:gd name="T16" fmla="*/ 0 w 405"/>
                <a:gd name="T17" fmla="*/ 0 h 302"/>
                <a:gd name="T18" fmla="*/ 0 w 405"/>
                <a:gd name="T19" fmla="*/ 0 h 302"/>
                <a:gd name="T20" fmla="*/ 0 w 405"/>
                <a:gd name="T21" fmla="*/ 0 h 302"/>
                <a:gd name="T22" fmla="*/ 0 w 405"/>
                <a:gd name="T23" fmla="*/ 0 h 302"/>
                <a:gd name="T24" fmla="*/ 0 w 405"/>
                <a:gd name="T25" fmla="*/ 0 h 302"/>
                <a:gd name="T26" fmla="*/ 0 w 405"/>
                <a:gd name="T27" fmla="*/ 0 h 302"/>
                <a:gd name="T28" fmla="*/ 0 w 405"/>
                <a:gd name="T29" fmla="*/ 0 h 302"/>
                <a:gd name="T30" fmla="*/ 0 w 405"/>
                <a:gd name="T31" fmla="*/ 0 h 302"/>
                <a:gd name="T32" fmla="*/ 0 w 405"/>
                <a:gd name="T33" fmla="*/ 0 h 302"/>
                <a:gd name="T34" fmla="*/ 0 w 405"/>
                <a:gd name="T35" fmla="*/ 0 h 302"/>
                <a:gd name="T36" fmla="*/ 0 w 405"/>
                <a:gd name="T37" fmla="*/ 0 h 302"/>
                <a:gd name="T38" fmla="*/ 0 w 405"/>
                <a:gd name="T39" fmla="*/ 0 h 302"/>
                <a:gd name="T40" fmla="*/ 0 w 405"/>
                <a:gd name="T41" fmla="*/ 0 h 302"/>
                <a:gd name="T42" fmla="*/ 0 w 405"/>
                <a:gd name="T43" fmla="*/ 0 h 302"/>
                <a:gd name="T44" fmla="*/ 0 w 405"/>
                <a:gd name="T45" fmla="*/ 0 h 302"/>
                <a:gd name="T46" fmla="*/ 0 w 405"/>
                <a:gd name="T47" fmla="*/ 0 h 302"/>
                <a:gd name="T48" fmla="*/ 0 w 405"/>
                <a:gd name="T49" fmla="*/ 0 h 302"/>
                <a:gd name="T50" fmla="*/ 0 w 405"/>
                <a:gd name="T51" fmla="*/ 0 h 302"/>
                <a:gd name="T52" fmla="*/ 0 w 405"/>
                <a:gd name="T53" fmla="*/ 0 h 302"/>
                <a:gd name="T54" fmla="*/ 0 w 405"/>
                <a:gd name="T55" fmla="*/ 0 h 302"/>
                <a:gd name="T56" fmla="*/ 0 w 405"/>
                <a:gd name="T57" fmla="*/ 0 h 302"/>
                <a:gd name="T58" fmla="*/ 0 w 405"/>
                <a:gd name="T59" fmla="*/ 0 h 302"/>
                <a:gd name="T60" fmla="*/ 0 w 405"/>
                <a:gd name="T61" fmla="*/ 0 h 302"/>
                <a:gd name="T62" fmla="*/ 0 w 405"/>
                <a:gd name="T63" fmla="*/ 0 h 302"/>
                <a:gd name="T64" fmla="*/ 0 w 405"/>
                <a:gd name="T65" fmla="*/ 0 h 302"/>
                <a:gd name="T66" fmla="*/ 0 w 405"/>
                <a:gd name="T67" fmla="*/ 0 h 302"/>
                <a:gd name="T68" fmla="*/ 0 w 405"/>
                <a:gd name="T69" fmla="*/ 0 h 302"/>
                <a:gd name="T70" fmla="*/ 0 w 405"/>
                <a:gd name="T71" fmla="*/ 0 h 302"/>
                <a:gd name="T72" fmla="*/ 0 w 405"/>
                <a:gd name="T73" fmla="*/ 0 h 302"/>
                <a:gd name="T74" fmla="*/ 0 w 405"/>
                <a:gd name="T75" fmla="*/ 0 h 302"/>
                <a:gd name="T76" fmla="*/ 0 w 405"/>
                <a:gd name="T77" fmla="*/ 0 h 302"/>
                <a:gd name="T78" fmla="*/ 0 w 405"/>
                <a:gd name="T79" fmla="*/ 0 h 302"/>
                <a:gd name="T80" fmla="*/ 0 w 405"/>
                <a:gd name="T81" fmla="*/ 0 h 302"/>
                <a:gd name="T82" fmla="*/ 0 w 405"/>
                <a:gd name="T83" fmla="*/ 0 h 302"/>
                <a:gd name="T84" fmla="*/ 0 w 405"/>
                <a:gd name="T85" fmla="*/ 0 h 302"/>
                <a:gd name="T86" fmla="*/ 0 w 405"/>
                <a:gd name="T87" fmla="*/ 0 h 302"/>
                <a:gd name="T88" fmla="*/ 0 w 405"/>
                <a:gd name="T89" fmla="*/ 0 h 302"/>
                <a:gd name="T90" fmla="*/ 0 w 405"/>
                <a:gd name="T91" fmla="*/ 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2" name="Freeform 1100"/>
            <p:cNvSpPr>
              <a:spLocks/>
            </p:cNvSpPr>
            <p:nvPr>
              <p:custDataLst>
                <p:tags r:id="rId370"/>
              </p:custDataLst>
            </p:nvPr>
          </p:nvSpPr>
          <p:spPr bwMode="auto">
            <a:xfrm>
              <a:off x="4733" y="1802"/>
              <a:ext cx="29" cy="50"/>
            </a:xfrm>
            <a:custGeom>
              <a:avLst/>
              <a:gdLst>
                <a:gd name="T0" fmla="*/ 0 w 100"/>
                <a:gd name="T1" fmla="*/ 0 h 155"/>
                <a:gd name="T2" fmla="*/ 0 w 100"/>
                <a:gd name="T3" fmla="*/ 0 h 155"/>
                <a:gd name="T4" fmla="*/ 0 w 100"/>
                <a:gd name="T5" fmla="*/ 0 h 155"/>
                <a:gd name="T6" fmla="*/ 0 w 100"/>
                <a:gd name="T7" fmla="*/ 0 h 155"/>
                <a:gd name="T8" fmla="*/ 0 w 100"/>
                <a:gd name="T9" fmla="*/ 0 h 155"/>
                <a:gd name="T10" fmla="*/ 0 w 100"/>
                <a:gd name="T11" fmla="*/ 0 h 155"/>
                <a:gd name="T12" fmla="*/ 0 w 100"/>
                <a:gd name="T13" fmla="*/ 0 h 155"/>
                <a:gd name="T14" fmla="*/ 0 w 100"/>
                <a:gd name="T15" fmla="*/ 0 h 155"/>
                <a:gd name="T16" fmla="*/ 0 w 100"/>
                <a:gd name="T17" fmla="*/ 0 h 155"/>
                <a:gd name="T18" fmla="*/ 0 w 100"/>
                <a:gd name="T19" fmla="*/ 0 h 155"/>
                <a:gd name="T20" fmla="*/ 0 w 100"/>
                <a:gd name="T21" fmla="*/ 0 h 155"/>
                <a:gd name="T22" fmla="*/ 0 w 100"/>
                <a:gd name="T23" fmla="*/ 0 h 155"/>
                <a:gd name="T24" fmla="*/ 0 w 100"/>
                <a:gd name="T25" fmla="*/ 0 h 155"/>
                <a:gd name="T26" fmla="*/ 0 w 100"/>
                <a:gd name="T27" fmla="*/ 0 h 155"/>
                <a:gd name="T28" fmla="*/ 0 w 100"/>
                <a:gd name="T29" fmla="*/ 0 h 155"/>
                <a:gd name="T30" fmla="*/ 0 w 100"/>
                <a:gd name="T31" fmla="*/ 0 h 155"/>
                <a:gd name="T32" fmla="*/ 0 w 100"/>
                <a:gd name="T33" fmla="*/ 0 h 155"/>
                <a:gd name="T34" fmla="*/ 0 w 100"/>
                <a:gd name="T35" fmla="*/ 0 h 155"/>
                <a:gd name="T36" fmla="*/ 0 w 100"/>
                <a:gd name="T37" fmla="*/ 0 h 155"/>
                <a:gd name="T38" fmla="*/ 0 w 100"/>
                <a:gd name="T39" fmla="*/ 0 h 155"/>
                <a:gd name="T40" fmla="*/ 0 w 100"/>
                <a:gd name="T41" fmla="*/ 0 h 155"/>
                <a:gd name="T42" fmla="*/ 0 w 100"/>
                <a:gd name="T43" fmla="*/ 0 h 155"/>
                <a:gd name="T44" fmla="*/ 0 w 100"/>
                <a:gd name="T45" fmla="*/ 0 h 155"/>
                <a:gd name="T46" fmla="*/ 0 w 100"/>
                <a:gd name="T47" fmla="*/ 0 h 155"/>
                <a:gd name="T48" fmla="*/ 0 w 100"/>
                <a:gd name="T49" fmla="*/ 0 h 155"/>
                <a:gd name="T50" fmla="*/ 0 w 100"/>
                <a:gd name="T51" fmla="*/ 0 h 155"/>
                <a:gd name="T52" fmla="*/ 0 w 100"/>
                <a:gd name="T53" fmla="*/ 0 h 155"/>
                <a:gd name="T54" fmla="*/ 0 w 100"/>
                <a:gd name="T55" fmla="*/ 0 h 155"/>
                <a:gd name="T56" fmla="*/ 0 w 100"/>
                <a:gd name="T57" fmla="*/ 0 h 155"/>
                <a:gd name="T58" fmla="*/ 0 w 100"/>
                <a:gd name="T59" fmla="*/ 0 h 155"/>
                <a:gd name="T60" fmla="*/ 0 w 100"/>
                <a:gd name="T61" fmla="*/ 0 h 155"/>
                <a:gd name="T62" fmla="*/ 0 w 100"/>
                <a:gd name="T63" fmla="*/ 0 h 155"/>
                <a:gd name="T64" fmla="*/ 0 w 100"/>
                <a:gd name="T65" fmla="*/ 0 h 155"/>
                <a:gd name="T66" fmla="*/ 0 w 100"/>
                <a:gd name="T67" fmla="*/ 0 h 155"/>
                <a:gd name="T68" fmla="*/ 0 w 100"/>
                <a:gd name="T69" fmla="*/ 0 h 155"/>
                <a:gd name="T70" fmla="*/ 0 w 100"/>
                <a:gd name="T71" fmla="*/ 0 h 155"/>
                <a:gd name="T72" fmla="*/ 0 w 100"/>
                <a:gd name="T73" fmla="*/ 0 h 155"/>
                <a:gd name="T74" fmla="*/ 0 w 100"/>
                <a:gd name="T75" fmla="*/ 0 h 155"/>
                <a:gd name="T76" fmla="*/ 0 w 100"/>
                <a:gd name="T77" fmla="*/ 0 h 155"/>
                <a:gd name="T78" fmla="*/ 0 w 100"/>
                <a:gd name="T79" fmla="*/ 0 h 155"/>
                <a:gd name="T80" fmla="*/ 0 w 100"/>
                <a:gd name="T81" fmla="*/ 0 h 155"/>
                <a:gd name="T82" fmla="*/ 0 w 100"/>
                <a:gd name="T83" fmla="*/ 0 h 155"/>
                <a:gd name="T84" fmla="*/ 0 w 100"/>
                <a:gd name="T85" fmla="*/ 0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8" name="Group 1101"/>
            <p:cNvGrpSpPr>
              <a:grpSpLocks/>
            </p:cNvGrpSpPr>
            <p:nvPr>
              <p:custDataLst>
                <p:tags r:id="rId371"/>
              </p:custDataLst>
            </p:nvPr>
          </p:nvGrpSpPr>
          <p:grpSpPr bwMode="auto">
            <a:xfrm>
              <a:off x="3128" y="1467"/>
              <a:ext cx="329" cy="127"/>
              <a:chOff x="3289" y="1830"/>
              <a:chExt cx="363" cy="128"/>
            </a:xfrm>
            <a:grpFill/>
          </p:grpSpPr>
          <p:sp>
            <p:nvSpPr>
              <p:cNvPr id="18834" name="Freeform 1102"/>
              <p:cNvSpPr>
                <a:spLocks/>
              </p:cNvSpPr>
              <p:nvPr/>
            </p:nvSpPr>
            <p:spPr bwMode="auto">
              <a:xfrm>
                <a:off x="3289" y="1871"/>
                <a:ext cx="4" cy="3"/>
              </a:xfrm>
              <a:custGeom>
                <a:avLst/>
                <a:gdLst>
                  <a:gd name="T0" fmla="*/ 0 w 13"/>
                  <a:gd name="T1" fmla="*/ 0 h 7"/>
                  <a:gd name="T2" fmla="*/ 0 w 13"/>
                  <a:gd name="T3" fmla="*/ 0 h 7"/>
                  <a:gd name="T4" fmla="*/ 0 w 13"/>
                  <a:gd name="T5" fmla="*/ 0 h 7"/>
                  <a:gd name="T6" fmla="*/ 0 w 13"/>
                  <a:gd name="T7" fmla="*/ 0 h 7"/>
                  <a:gd name="T8" fmla="*/ 0 w 13"/>
                  <a:gd name="T9" fmla="*/ 0 h 7"/>
                  <a:gd name="T10" fmla="*/ 0 w 13"/>
                  <a:gd name="T11" fmla="*/ 0 h 7"/>
                  <a:gd name="T12" fmla="*/ 0 w 13"/>
                  <a:gd name="T13" fmla="*/ 0 h 7"/>
                  <a:gd name="T14" fmla="*/ 0 60000 65536"/>
                  <a:gd name="T15" fmla="*/ 0 60000 65536"/>
                  <a:gd name="T16" fmla="*/ 0 60000 65536"/>
                  <a:gd name="T17" fmla="*/ 0 60000 65536"/>
                  <a:gd name="T18" fmla="*/ 0 60000 65536"/>
                  <a:gd name="T19" fmla="*/ 0 60000 65536"/>
                  <a:gd name="T20" fmla="*/ 0 60000 65536"/>
                  <a:gd name="T21" fmla="*/ 0 w 13"/>
                  <a:gd name="T22" fmla="*/ 0 h 7"/>
                  <a:gd name="T23" fmla="*/ 13 w 13"/>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7">
                    <a:moveTo>
                      <a:pt x="13" y="0"/>
                    </a:moveTo>
                    <a:lnTo>
                      <a:pt x="12" y="1"/>
                    </a:lnTo>
                    <a:lnTo>
                      <a:pt x="9" y="3"/>
                    </a:lnTo>
                    <a:lnTo>
                      <a:pt x="4" y="5"/>
                    </a:lnTo>
                    <a:lnTo>
                      <a:pt x="0" y="7"/>
                    </a:lnTo>
                    <a:lnTo>
                      <a:pt x="7" y="3"/>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5" name="Freeform 1103"/>
              <p:cNvSpPr>
                <a:spLocks/>
              </p:cNvSpPr>
              <p:nvPr/>
            </p:nvSpPr>
            <p:spPr bwMode="auto">
              <a:xfrm>
                <a:off x="3324" y="1937"/>
                <a:ext cx="10" cy="3"/>
              </a:xfrm>
              <a:custGeom>
                <a:avLst/>
                <a:gdLst>
                  <a:gd name="T0" fmla="*/ 0 w 34"/>
                  <a:gd name="T1" fmla="*/ 0 h 8"/>
                  <a:gd name="T2" fmla="*/ 0 w 34"/>
                  <a:gd name="T3" fmla="*/ 0 h 8"/>
                  <a:gd name="T4" fmla="*/ 0 w 34"/>
                  <a:gd name="T5" fmla="*/ 0 h 8"/>
                  <a:gd name="T6" fmla="*/ 0 w 34"/>
                  <a:gd name="T7" fmla="*/ 0 h 8"/>
                  <a:gd name="T8" fmla="*/ 0 w 34"/>
                  <a:gd name="T9" fmla="*/ 0 h 8"/>
                  <a:gd name="T10" fmla="*/ 0 w 34"/>
                  <a:gd name="T11" fmla="*/ 0 h 8"/>
                  <a:gd name="T12" fmla="*/ 0 w 34"/>
                  <a:gd name="T13" fmla="*/ 0 h 8"/>
                  <a:gd name="T14" fmla="*/ 0 w 34"/>
                  <a:gd name="T15" fmla="*/ 0 h 8"/>
                  <a:gd name="T16" fmla="*/ 0 w 34"/>
                  <a:gd name="T17" fmla="*/ 0 h 8"/>
                  <a:gd name="T18" fmla="*/ 0 w 34"/>
                  <a:gd name="T19" fmla="*/ 0 h 8"/>
                  <a:gd name="T20" fmla="*/ 0 w 34"/>
                  <a:gd name="T21" fmla="*/ 0 h 8"/>
                  <a:gd name="T22" fmla="*/ 0 w 34"/>
                  <a:gd name="T23" fmla="*/ 0 h 8"/>
                  <a:gd name="T24" fmla="*/ 0 w 34"/>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8"/>
                  <a:gd name="T41" fmla="*/ 34 w 3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6" name="Freeform 1104"/>
              <p:cNvSpPr>
                <a:spLocks/>
              </p:cNvSpPr>
              <p:nvPr/>
            </p:nvSpPr>
            <p:spPr bwMode="auto">
              <a:xfrm>
                <a:off x="3343" y="1948"/>
                <a:ext cx="4" cy="8"/>
              </a:xfrm>
              <a:custGeom>
                <a:avLst/>
                <a:gdLst>
                  <a:gd name="T0" fmla="*/ 0 w 13"/>
                  <a:gd name="T1" fmla="*/ 0 h 24"/>
                  <a:gd name="T2" fmla="*/ 0 w 13"/>
                  <a:gd name="T3" fmla="*/ 0 h 24"/>
                  <a:gd name="T4" fmla="*/ 0 w 13"/>
                  <a:gd name="T5" fmla="*/ 0 h 24"/>
                  <a:gd name="T6" fmla="*/ 0 w 13"/>
                  <a:gd name="T7" fmla="*/ 0 h 24"/>
                  <a:gd name="T8" fmla="*/ 0 60000 65536"/>
                  <a:gd name="T9" fmla="*/ 0 60000 65536"/>
                  <a:gd name="T10" fmla="*/ 0 60000 65536"/>
                  <a:gd name="T11" fmla="*/ 0 60000 65536"/>
                  <a:gd name="T12" fmla="*/ 0 w 13"/>
                  <a:gd name="T13" fmla="*/ 0 h 24"/>
                  <a:gd name="T14" fmla="*/ 13 w 13"/>
                  <a:gd name="T15" fmla="*/ 24 h 24"/>
                </a:gdLst>
                <a:ahLst/>
                <a:cxnLst>
                  <a:cxn ang="T8">
                    <a:pos x="T0" y="T1"/>
                  </a:cxn>
                  <a:cxn ang="T9">
                    <a:pos x="T2" y="T3"/>
                  </a:cxn>
                  <a:cxn ang="T10">
                    <a:pos x="T4" y="T5"/>
                  </a:cxn>
                  <a:cxn ang="T11">
                    <a:pos x="T6" y="T7"/>
                  </a:cxn>
                </a:cxnLst>
                <a:rect l="T12" t="T13" r="T14" b="T15"/>
                <a:pathLst>
                  <a:path w="13" h="24">
                    <a:moveTo>
                      <a:pt x="0" y="24"/>
                    </a:moveTo>
                    <a:lnTo>
                      <a:pt x="0" y="0"/>
                    </a:lnTo>
                    <a:lnTo>
                      <a:pt x="13"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7" name="Freeform 1105"/>
              <p:cNvSpPr>
                <a:spLocks/>
              </p:cNvSpPr>
              <p:nvPr/>
            </p:nvSpPr>
            <p:spPr bwMode="auto">
              <a:xfrm>
                <a:off x="3313" y="1834"/>
                <a:ext cx="34" cy="23"/>
              </a:xfrm>
              <a:custGeom>
                <a:avLst/>
                <a:gdLst>
                  <a:gd name="T0" fmla="*/ 0 w 107"/>
                  <a:gd name="T1" fmla="*/ 0 h 69"/>
                  <a:gd name="T2" fmla="*/ 0 w 107"/>
                  <a:gd name="T3" fmla="*/ 0 h 69"/>
                  <a:gd name="T4" fmla="*/ 0 w 107"/>
                  <a:gd name="T5" fmla="*/ 0 h 69"/>
                  <a:gd name="T6" fmla="*/ 0 w 107"/>
                  <a:gd name="T7" fmla="*/ 0 h 69"/>
                  <a:gd name="T8" fmla="*/ 0 w 107"/>
                  <a:gd name="T9" fmla="*/ 0 h 69"/>
                  <a:gd name="T10" fmla="*/ 0 w 107"/>
                  <a:gd name="T11" fmla="*/ 0 h 69"/>
                  <a:gd name="T12" fmla="*/ 0 w 107"/>
                  <a:gd name="T13" fmla="*/ 0 h 69"/>
                  <a:gd name="T14" fmla="*/ 0 w 107"/>
                  <a:gd name="T15" fmla="*/ 0 h 69"/>
                  <a:gd name="T16" fmla="*/ 0 w 107"/>
                  <a:gd name="T17" fmla="*/ 0 h 69"/>
                  <a:gd name="T18" fmla="*/ 0 w 107"/>
                  <a:gd name="T19" fmla="*/ 0 h 69"/>
                  <a:gd name="T20" fmla="*/ 0 w 107"/>
                  <a:gd name="T21" fmla="*/ 0 h 69"/>
                  <a:gd name="T22" fmla="*/ 0 w 107"/>
                  <a:gd name="T23" fmla="*/ 0 h 69"/>
                  <a:gd name="T24" fmla="*/ 0 w 107"/>
                  <a:gd name="T25" fmla="*/ 0 h 69"/>
                  <a:gd name="T26" fmla="*/ 0 w 107"/>
                  <a:gd name="T27" fmla="*/ 0 h 69"/>
                  <a:gd name="T28" fmla="*/ 0 w 107"/>
                  <a:gd name="T29" fmla="*/ 0 h 69"/>
                  <a:gd name="T30" fmla="*/ 0 w 107"/>
                  <a:gd name="T31" fmla="*/ 0 h 69"/>
                  <a:gd name="T32" fmla="*/ 0 w 107"/>
                  <a:gd name="T33" fmla="*/ 0 h 69"/>
                  <a:gd name="T34" fmla="*/ 0 w 107"/>
                  <a:gd name="T35" fmla="*/ 0 h 69"/>
                  <a:gd name="T36" fmla="*/ 0 w 107"/>
                  <a:gd name="T37" fmla="*/ 0 h 69"/>
                  <a:gd name="T38" fmla="*/ 0 w 107"/>
                  <a:gd name="T39" fmla="*/ 0 h 69"/>
                  <a:gd name="T40" fmla="*/ 0 w 107"/>
                  <a:gd name="T41" fmla="*/ 0 h 69"/>
                  <a:gd name="T42" fmla="*/ 0 w 107"/>
                  <a:gd name="T43" fmla="*/ 0 h 69"/>
                  <a:gd name="T44" fmla="*/ 0 w 107"/>
                  <a:gd name="T45" fmla="*/ 0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69"/>
                  <a:gd name="T71" fmla="*/ 107 w 107"/>
                  <a:gd name="T72" fmla="*/ 69 h 6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8" name="Freeform 1106"/>
              <p:cNvSpPr>
                <a:spLocks/>
              </p:cNvSpPr>
              <p:nvPr/>
            </p:nvSpPr>
            <p:spPr bwMode="auto">
              <a:xfrm>
                <a:off x="3302" y="1830"/>
                <a:ext cx="350" cy="128"/>
              </a:xfrm>
              <a:custGeom>
                <a:avLst/>
                <a:gdLst>
                  <a:gd name="T0" fmla="*/ 0 w 1070"/>
                  <a:gd name="T1" fmla="*/ 0 h 382"/>
                  <a:gd name="T2" fmla="*/ 0 w 1070"/>
                  <a:gd name="T3" fmla="*/ 0 h 382"/>
                  <a:gd name="T4" fmla="*/ 0 w 1070"/>
                  <a:gd name="T5" fmla="*/ 0 h 382"/>
                  <a:gd name="T6" fmla="*/ 0 w 1070"/>
                  <a:gd name="T7" fmla="*/ 0 h 382"/>
                  <a:gd name="T8" fmla="*/ 0 w 1070"/>
                  <a:gd name="T9" fmla="*/ 0 h 382"/>
                  <a:gd name="T10" fmla="*/ 0 w 1070"/>
                  <a:gd name="T11" fmla="*/ 0 h 382"/>
                  <a:gd name="T12" fmla="*/ 0 w 1070"/>
                  <a:gd name="T13" fmla="*/ 0 h 382"/>
                  <a:gd name="T14" fmla="*/ 0 w 1070"/>
                  <a:gd name="T15" fmla="*/ 0 h 382"/>
                  <a:gd name="T16" fmla="*/ 0 w 1070"/>
                  <a:gd name="T17" fmla="*/ 0 h 382"/>
                  <a:gd name="T18" fmla="*/ 0 w 1070"/>
                  <a:gd name="T19" fmla="*/ 0 h 382"/>
                  <a:gd name="T20" fmla="*/ 0 w 1070"/>
                  <a:gd name="T21" fmla="*/ 0 h 382"/>
                  <a:gd name="T22" fmla="*/ 0 w 1070"/>
                  <a:gd name="T23" fmla="*/ 0 h 382"/>
                  <a:gd name="T24" fmla="*/ 0 w 1070"/>
                  <a:gd name="T25" fmla="*/ 0 h 382"/>
                  <a:gd name="T26" fmla="*/ 0 w 1070"/>
                  <a:gd name="T27" fmla="*/ 0 h 382"/>
                  <a:gd name="T28" fmla="*/ 0 w 1070"/>
                  <a:gd name="T29" fmla="*/ 0 h 382"/>
                  <a:gd name="T30" fmla="*/ 0 w 1070"/>
                  <a:gd name="T31" fmla="*/ 0 h 382"/>
                  <a:gd name="T32" fmla="*/ 0 w 1070"/>
                  <a:gd name="T33" fmla="*/ 0 h 382"/>
                  <a:gd name="T34" fmla="*/ 0 w 1070"/>
                  <a:gd name="T35" fmla="*/ 0 h 382"/>
                  <a:gd name="T36" fmla="*/ 0 w 1070"/>
                  <a:gd name="T37" fmla="*/ 0 h 382"/>
                  <a:gd name="T38" fmla="*/ 0 w 1070"/>
                  <a:gd name="T39" fmla="*/ 0 h 382"/>
                  <a:gd name="T40" fmla="*/ 0 w 1070"/>
                  <a:gd name="T41" fmla="*/ 0 h 382"/>
                  <a:gd name="T42" fmla="*/ 0 w 1070"/>
                  <a:gd name="T43" fmla="*/ 0 h 382"/>
                  <a:gd name="T44" fmla="*/ 0 w 1070"/>
                  <a:gd name="T45" fmla="*/ 0 h 382"/>
                  <a:gd name="T46" fmla="*/ 0 w 1070"/>
                  <a:gd name="T47" fmla="*/ 0 h 382"/>
                  <a:gd name="T48" fmla="*/ 0 w 1070"/>
                  <a:gd name="T49" fmla="*/ 0 h 382"/>
                  <a:gd name="T50" fmla="*/ 0 w 1070"/>
                  <a:gd name="T51" fmla="*/ 0 h 382"/>
                  <a:gd name="T52" fmla="*/ 0 w 1070"/>
                  <a:gd name="T53" fmla="*/ 0 h 382"/>
                  <a:gd name="T54" fmla="*/ 0 w 1070"/>
                  <a:gd name="T55" fmla="*/ 0 h 382"/>
                  <a:gd name="T56" fmla="*/ 0 w 1070"/>
                  <a:gd name="T57" fmla="*/ 0 h 382"/>
                  <a:gd name="T58" fmla="*/ 0 w 1070"/>
                  <a:gd name="T59" fmla="*/ 0 h 382"/>
                  <a:gd name="T60" fmla="*/ 0 w 1070"/>
                  <a:gd name="T61" fmla="*/ 0 h 382"/>
                  <a:gd name="T62" fmla="*/ 0 w 1070"/>
                  <a:gd name="T63" fmla="*/ 0 h 382"/>
                  <a:gd name="T64" fmla="*/ 0 w 1070"/>
                  <a:gd name="T65" fmla="*/ 0 h 382"/>
                  <a:gd name="T66" fmla="*/ 0 w 1070"/>
                  <a:gd name="T67" fmla="*/ 0 h 382"/>
                  <a:gd name="T68" fmla="*/ 0 w 1070"/>
                  <a:gd name="T69" fmla="*/ 0 h 382"/>
                  <a:gd name="T70" fmla="*/ 0 w 1070"/>
                  <a:gd name="T71" fmla="*/ 0 h 382"/>
                  <a:gd name="T72" fmla="*/ 0 w 1070"/>
                  <a:gd name="T73" fmla="*/ 0 h 382"/>
                  <a:gd name="T74" fmla="*/ 0 w 1070"/>
                  <a:gd name="T75" fmla="*/ 0 h 382"/>
                  <a:gd name="T76" fmla="*/ 0 w 1070"/>
                  <a:gd name="T77" fmla="*/ 0 h 382"/>
                  <a:gd name="T78" fmla="*/ 0 w 1070"/>
                  <a:gd name="T79" fmla="*/ 0 h 382"/>
                  <a:gd name="T80" fmla="*/ 0 w 1070"/>
                  <a:gd name="T81" fmla="*/ 0 h 382"/>
                  <a:gd name="T82" fmla="*/ 0 w 1070"/>
                  <a:gd name="T83" fmla="*/ 0 h 382"/>
                  <a:gd name="T84" fmla="*/ 0 w 1070"/>
                  <a:gd name="T85" fmla="*/ 0 h 382"/>
                  <a:gd name="T86" fmla="*/ 0 w 1070"/>
                  <a:gd name="T87" fmla="*/ 0 h 382"/>
                  <a:gd name="T88" fmla="*/ 0 w 1070"/>
                  <a:gd name="T89" fmla="*/ 0 h 382"/>
                  <a:gd name="T90" fmla="*/ 0 w 1070"/>
                  <a:gd name="T91" fmla="*/ 0 h 382"/>
                  <a:gd name="T92" fmla="*/ 0 w 1070"/>
                  <a:gd name="T93" fmla="*/ 0 h 382"/>
                  <a:gd name="T94" fmla="*/ 0 w 1070"/>
                  <a:gd name="T95" fmla="*/ 0 h 382"/>
                  <a:gd name="T96" fmla="*/ 0 w 1070"/>
                  <a:gd name="T97" fmla="*/ 0 h 382"/>
                  <a:gd name="T98" fmla="*/ 0 w 1070"/>
                  <a:gd name="T99" fmla="*/ 0 h 382"/>
                  <a:gd name="T100" fmla="*/ 0 w 1070"/>
                  <a:gd name="T101" fmla="*/ 0 h 382"/>
                  <a:gd name="T102" fmla="*/ 0 w 1070"/>
                  <a:gd name="T103" fmla="*/ 0 h 382"/>
                  <a:gd name="T104" fmla="*/ 0 w 1070"/>
                  <a:gd name="T105" fmla="*/ 0 h 382"/>
                  <a:gd name="T106" fmla="*/ 0 w 1070"/>
                  <a:gd name="T107" fmla="*/ 0 h 382"/>
                  <a:gd name="T108" fmla="*/ 0 w 1070"/>
                  <a:gd name="T109" fmla="*/ 0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70"/>
                  <a:gd name="T166" fmla="*/ 0 h 382"/>
                  <a:gd name="T167" fmla="*/ 1070 w 1070"/>
                  <a:gd name="T168" fmla="*/ 382 h 3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24" name="Freeform 1107"/>
            <p:cNvSpPr>
              <a:spLocks/>
            </p:cNvSpPr>
            <p:nvPr>
              <p:custDataLst>
                <p:tags r:id="rId372"/>
              </p:custDataLst>
            </p:nvPr>
          </p:nvSpPr>
          <p:spPr bwMode="auto">
            <a:xfrm>
              <a:off x="1755" y="2193"/>
              <a:ext cx="68" cy="77"/>
            </a:xfrm>
            <a:custGeom>
              <a:avLst/>
              <a:gdLst>
                <a:gd name="T0" fmla="*/ 0 w 226"/>
                <a:gd name="T1" fmla="*/ 0 h 237"/>
                <a:gd name="T2" fmla="*/ 0 w 226"/>
                <a:gd name="T3" fmla="*/ 0 h 237"/>
                <a:gd name="T4" fmla="*/ 0 w 226"/>
                <a:gd name="T5" fmla="*/ 0 h 237"/>
                <a:gd name="T6" fmla="*/ 0 w 226"/>
                <a:gd name="T7" fmla="*/ 0 h 237"/>
                <a:gd name="T8" fmla="*/ 0 w 226"/>
                <a:gd name="T9" fmla="*/ 0 h 237"/>
                <a:gd name="T10" fmla="*/ 0 w 226"/>
                <a:gd name="T11" fmla="*/ 0 h 237"/>
                <a:gd name="T12" fmla="*/ 0 w 226"/>
                <a:gd name="T13" fmla="*/ 0 h 237"/>
                <a:gd name="T14" fmla="*/ 0 w 226"/>
                <a:gd name="T15" fmla="*/ 0 h 237"/>
                <a:gd name="T16" fmla="*/ 0 w 226"/>
                <a:gd name="T17" fmla="*/ 0 h 237"/>
                <a:gd name="T18" fmla="*/ 0 w 226"/>
                <a:gd name="T19" fmla="*/ 0 h 237"/>
                <a:gd name="T20" fmla="*/ 0 w 226"/>
                <a:gd name="T21" fmla="*/ 0 h 237"/>
                <a:gd name="T22" fmla="*/ 0 w 226"/>
                <a:gd name="T23" fmla="*/ 0 h 237"/>
                <a:gd name="T24" fmla="*/ 0 w 226"/>
                <a:gd name="T25" fmla="*/ 0 h 237"/>
                <a:gd name="T26" fmla="*/ 0 w 226"/>
                <a:gd name="T27" fmla="*/ 0 h 237"/>
                <a:gd name="T28" fmla="*/ 0 w 226"/>
                <a:gd name="T29" fmla="*/ 0 h 237"/>
                <a:gd name="T30" fmla="*/ 0 w 226"/>
                <a:gd name="T31" fmla="*/ 0 h 237"/>
                <a:gd name="T32" fmla="*/ 0 w 226"/>
                <a:gd name="T33" fmla="*/ 0 h 237"/>
                <a:gd name="T34" fmla="*/ 0 w 226"/>
                <a:gd name="T35" fmla="*/ 0 h 237"/>
                <a:gd name="T36" fmla="*/ 0 w 226"/>
                <a:gd name="T37" fmla="*/ 0 h 237"/>
                <a:gd name="T38" fmla="*/ 0 w 226"/>
                <a:gd name="T39" fmla="*/ 0 h 237"/>
                <a:gd name="T40" fmla="*/ 0 w 226"/>
                <a:gd name="T41" fmla="*/ 0 h 237"/>
                <a:gd name="T42" fmla="*/ 0 w 226"/>
                <a:gd name="T43" fmla="*/ 0 h 237"/>
                <a:gd name="T44" fmla="*/ 0 w 226"/>
                <a:gd name="T45" fmla="*/ 0 h 237"/>
                <a:gd name="T46" fmla="*/ 0 w 226"/>
                <a:gd name="T47" fmla="*/ 0 h 237"/>
                <a:gd name="T48" fmla="*/ 0 w 226"/>
                <a:gd name="T49" fmla="*/ 0 h 237"/>
                <a:gd name="T50" fmla="*/ 0 w 226"/>
                <a:gd name="T51" fmla="*/ 0 h 237"/>
                <a:gd name="T52" fmla="*/ 0 w 226"/>
                <a:gd name="T53" fmla="*/ 0 h 237"/>
                <a:gd name="T54" fmla="*/ 0 w 226"/>
                <a:gd name="T55" fmla="*/ 0 h 237"/>
                <a:gd name="T56" fmla="*/ 0 w 226"/>
                <a:gd name="T57" fmla="*/ 0 h 237"/>
                <a:gd name="T58" fmla="*/ 0 w 226"/>
                <a:gd name="T59" fmla="*/ 0 h 237"/>
                <a:gd name="T60" fmla="*/ 0 w 226"/>
                <a:gd name="T61" fmla="*/ 0 h 237"/>
                <a:gd name="T62" fmla="*/ 0 w 226"/>
                <a:gd name="T63" fmla="*/ 0 h 237"/>
                <a:gd name="T64" fmla="*/ 0 w 226"/>
                <a:gd name="T65" fmla="*/ 0 h 237"/>
                <a:gd name="T66" fmla="*/ 0 w 226"/>
                <a:gd name="T67" fmla="*/ 0 h 237"/>
                <a:gd name="T68" fmla="*/ 0 w 226"/>
                <a:gd name="T69" fmla="*/ 0 h 237"/>
                <a:gd name="T70" fmla="*/ 0 w 226"/>
                <a:gd name="T71" fmla="*/ 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5" name="Freeform 1108"/>
            <p:cNvSpPr>
              <a:spLocks/>
            </p:cNvSpPr>
            <p:nvPr>
              <p:custDataLst>
                <p:tags r:id="rId373"/>
              </p:custDataLst>
            </p:nvPr>
          </p:nvSpPr>
          <p:spPr bwMode="auto">
            <a:xfrm>
              <a:off x="4447" y="1838"/>
              <a:ext cx="142" cy="289"/>
            </a:xfrm>
            <a:custGeom>
              <a:avLst/>
              <a:gdLst>
                <a:gd name="T0" fmla="*/ 0 w 478"/>
                <a:gd name="T1" fmla="*/ 0 h 875"/>
                <a:gd name="T2" fmla="*/ 0 w 478"/>
                <a:gd name="T3" fmla="*/ 0 h 875"/>
                <a:gd name="T4" fmla="*/ 0 w 478"/>
                <a:gd name="T5" fmla="*/ 0 h 875"/>
                <a:gd name="T6" fmla="*/ 0 w 478"/>
                <a:gd name="T7" fmla="*/ 0 h 875"/>
                <a:gd name="T8" fmla="*/ 0 w 478"/>
                <a:gd name="T9" fmla="*/ 0 h 875"/>
                <a:gd name="T10" fmla="*/ 0 w 478"/>
                <a:gd name="T11" fmla="*/ 0 h 875"/>
                <a:gd name="T12" fmla="*/ 0 w 478"/>
                <a:gd name="T13" fmla="*/ 0 h 875"/>
                <a:gd name="T14" fmla="*/ 0 w 478"/>
                <a:gd name="T15" fmla="*/ 0 h 875"/>
                <a:gd name="T16" fmla="*/ 0 w 478"/>
                <a:gd name="T17" fmla="*/ 0 h 875"/>
                <a:gd name="T18" fmla="*/ 0 w 478"/>
                <a:gd name="T19" fmla="*/ 0 h 875"/>
                <a:gd name="T20" fmla="*/ 0 w 478"/>
                <a:gd name="T21" fmla="*/ 0 h 875"/>
                <a:gd name="T22" fmla="*/ 0 w 478"/>
                <a:gd name="T23" fmla="*/ 0 h 875"/>
                <a:gd name="T24" fmla="*/ 0 w 478"/>
                <a:gd name="T25" fmla="*/ 0 h 875"/>
                <a:gd name="T26" fmla="*/ 0 w 478"/>
                <a:gd name="T27" fmla="*/ 0 h 875"/>
                <a:gd name="T28" fmla="*/ 0 w 478"/>
                <a:gd name="T29" fmla="*/ 0 h 875"/>
                <a:gd name="T30" fmla="*/ 0 w 478"/>
                <a:gd name="T31" fmla="*/ 0 h 875"/>
                <a:gd name="T32" fmla="*/ 0 w 478"/>
                <a:gd name="T33" fmla="*/ 0 h 875"/>
                <a:gd name="T34" fmla="*/ 0 w 478"/>
                <a:gd name="T35" fmla="*/ 0 h 875"/>
                <a:gd name="T36" fmla="*/ 0 w 478"/>
                <a:gd name="T37" fmla="*/ 0 h 875"/>
                <a:gd name="T38" fmla="*/ 0 w 478"/>
                <a:gd name="T39" fmla="*/ 0 h 875"/>
                <a:gd name="T40" fmla="*/ 0 w 478"/>
                <a:gd name="T41" fmla="*/ 0 h 875"/>
                <a:gd name="T42" fmla="*/ 0 w 478"/>
                <a:gd name="T43" fmla="*/ 0 h 875"/>
                <a:gd name="T44" fmla="*/ 0 w 478"/>
                <a:gd name="T45" fmla="*/ 0 h 875"/>
                <a:gd name="T46" fmla="*/ 0 w 478"/>
                <a:gd name="T47" fmla="*/ 0 h 875"/>
                <a:gd name="T48" fmla="*/ 0 w 478"/>
                <a:gd name="T49" fmla="*/ 0 h 875"/>
                <a:gd name="T50" fmla="*/ 0 w 478"/>
                <a:gd name="T51" fmla="*/ 0 h 875"/>
                <a:gd name="T52" fmla="*/ 0 w 478"/>
                <a:gd name="T53" fmla="*/ 0 h 875"/>
                <a:gd name="T54" fmla="*/ 0 w 478"/>
                <a:gd name="T55" fmla="*/ 0 h 875"/>
                <a:gd name="T56" fmla="*/ 0 w 478"/>
                <a:gd name="T57" fmla="*/ 0 h 875"/>
                <a:gd name="T58" fmla="*/ 0 w 478"/>
                <a:gd name="T59" fmla="*/ 0 h 875"/>
                <a:gd name="T60" fmla="*/ 0 w 478"/>
                <a:gd name="T61" fmla="*/ 0 h 875"/>
                <a:gd name="T62" fmla="*/ 0 w 478"/>
                <a:gd name="T63" fmla="*/ 0 h 875"/>
                <a:gd name="T64" fmla="*/ 0 w 478"/>
                <a:gd name="T65" fmla="*/ 0 h 875"/>
                <a:gd name="T66" fmla="*/ 0 w 478"/>
                <a:gd name="T67" fmla="*/ 0 h 875"/>
                <a:gd name="T68" fmla="*/ 0 w 478"/>
                <a:gd name="T69" fmla="*/ 0 h 875"/>
                <a:gd name="T70" fmla="*/ 0 w 478"/>
                <a:gd name="T71" fmla="*/ 0 h 875"/>
                <a:gd name="T72" fmla="*/ 0 w 478"/>
                <a:gd name="T73" fmla="*/ 0 h 875"/>
                <a:gd name="T74" fmla="*/ 0 w 478"/>
                <a:gd name="T75" fmla="*/ 0 h 875"/>
                <a:gd name="T76" fmla="*/ 0 w 478"/>
                <a:gd name="T77" fmla="*/ 0 h 875"/>
                <a:gd name="T78" fmla="*/ 0 w 478"/>
                <a:gd name="T79" fmla="*/ 0 h 875"/>
                <a:gd name="T80" fmla="*/ 0 w 478"/>
                <a:gd name="T81" fmla="*/ 0 h 875"/>
                <a:gd name="T82" fmla="*/ 0 w 478"/>
                <a:gd name="T83" fmla="*/ 0 h 875"/>
                <a:gd name="T84" fmla="*/ 0 w 478"/>
                <a:gd name="T85" fmla="*/ 0 h 875"/>
                <a:gd name="T86" fmla="*/ 0 w 478"/>
                <a:gd name="T87" fmla="*/ 0 h 875"/>
                <a:gd name="T88" fmla="*/ 0 w 478"/>
                <a:gd name="T89" fmla="*/ 0 h 875"/>
                <a:gd name="T90" fmla="*/ 0 w 478"/>
                <a:gd name="T91" fmla="*/ 0 h 875"/>
                <a:gd name="T92" fmla="*/ 0 w 478"/>
                <a:gd name="T93" fmla="*/ 0 h 875"/>
                <a:gd name="T94" fmla="*/ 0 w 478"/>
                <a:gd name="T95" fmla="*/ 0 h 875"/>
                <a:gd name="T96" fmla="*/ 0 w 478"/>
                <a:gd name="T97" fmla="*/ 0 h 875"/>
                <a:gd name="T98" fmla="*/ 0 w 478"/>
                <a:gd name="T99" fmla="*/ 0 h 875"/>
                <a:gd name="T100" fmla="*/ 0 w 478"/>
                <a:gd name="T101" fmla="*/ 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6" name="Freeform 1109"/>
            <p:cNvSpPr>
              <a:spLocks/>
            </p:cNvSpPr>
            <p:nvPr>
              <p:custDataLst>
                <p:tags r:id="rId374"/>
              </p:custDataLst>
            </p:nvPr>
          </p:nvSpPr>
          <p:spPr bwMode="auto">
            <a:xfrm>
              <a:off x="4507" y="2270"/>
              <a:ext cx="17" cy="36"/>
            </a:xfrm>
            <a:custGeom>
              <a:avLst/>
              <a:gdLst>
                <a:gd name="T0" fmla="*/ 0 w 59"/>
                <a:gd name="T1" fmla="*/ 117 h 31"/>
                <a:gd name="T2" fmla="*/ 0 w 59"/>
                <a:gd name="T3" fmla="*/ 217 h 31"/>
                <a:gd name="T4" fmla="*/ 0 w 59"/>
                <a:gd name="T5" fmla="*/ 293 h 31"/>
                <a:gd name="T6" fmla="*/ 0 w 59"/>
                <a:gd name="T7" fmla="*/ 387 h 31"/>
                <a:gd name="T8" fmla="*/ 0 w 59"/>
                <a:gd name="T9" fmla="*/ 476 h 31"/>
                <a:gd name="T10" fmla="*/ 0 w 59"/>
                <a:gd name="T11" fmla="*/ 533 h 31"/>
                <a:gd name="T12" fmla="*/ 0 w 59"/>
                <a:gd name="T13" fmla="*/ 566 h 31"/>
                <a:gd name="T14" fmla="*/ 0 w 59"/>
                <a:gd name="T15" fmla="*/ 619 h 31"/>
                <a:gd name="T16" fmla="*/ 0 w 59"/>
                <a:gd name="T17" fmla="*/ 619 h 31"/>
                <a:gd name="T18" fmla="*/ 0 w 59"/>
                <a:gd name="T19" fmla="*/ 619 h 31"/>
                <a:gd name="T20" fmla="*/ 0 w 59"/>
                <a:gd name="T21" fmla="*/ 605 h 31"/>
                <a:gd name="T22" fmla="*/ 0 w 59"/>
                <a:gd name="T23" fmla="*/ 566 h 31"/>
                <a:gd name="T24" fmla="*/ 0 w 59"/>
                <a:gd name="T25" fmla="*/ 533 h 31"/>
                <a:gd name="T26" fmla="*/ 0 w 59"/>
                <a:gd name="T27" fmla="*/ 395 h 31"/>
                <a:gd name="T28" fmla="*/ 0 w 59"/>
                <a:gd name="T29" fmla="*/ 247 h 31"/>
                <a:gd name="T30" fmla="*/ 0 w 59"/>
                <a:gd name="T31" fmla="*/ 183 h 31"/>
                <a:gd name="T32" fmla="*/ 0 w 59"/>
                <a:gd name="T33" fmla="*/ 117 h 31"/>
                <a:gd name="T34" fmla="*/ 0 w 59"/>
                <a:gd name="T35" fmla="*/ 87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87 h 31"/>
                <a:gd name="T48" fmla="*/ 0 w 59"/>
                <a:gd name="T49" fmla="*/ 11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7" name="Freeform 1110"/>
            <p:cNvSpPr>
              <a:spLocks/>
            </p:cNvSpPr>
            <p:nvPr>
              <p:custDataLst>
                <p:tags r:id="rId375"/>
              </p:custDataLst>
            </p:nvPr>
          </p:nvSpPr>
          <p:spPr bwMode="auto">
            <a:xfrm>
              <a:off x="3614" y="1803"/>
              <a:ext cx="119" cy="171"/>
            </a:xfrm>
            <a:custGeom>
              <a:avLst/>
              <a:gdLst>
                <a:gd name="T0" fmla="*/ 0 w 399"/>
                <a:gd name="T1" fmla="*/ 0 h 518"/>
                <a:gd name="T2" fmla="*/ 0 w 399"/>
                <a:gd name="T3" fmla="*/ 0 h 518"/>
                <a:gd name="T4" fmla="*/ 0 w 399"/>
                <a:gd name="T5" fmla="*/ 0 h 518"/>
                <a:gd name="T6" fmla="*/ 0 w 399"/>
                <a:gd name="T7" fmla="*/ 0 h 518"/>
                <a:gd name="T8" fmla="*/ 0 w 399"/>
                <a:gd name="T9" fmla="*/ 0 h 518"/>
                <a:gd name="T10" fmla="*/ 0 w 399"/>
                <a:gd name="T11" fmla="*/ 0 h 518"/>
                <a:gd name="T12" fmla="*/ 0 w 399"/>
                <a:gd name="T13" fmla="*/ 0 h 518"/>
                <a:gd name="T14" fmla="*/ 0 w 399"/>
                <a:gd name="T15" fmla="*/ 0 h 518"/>
                <a:gd name="T16" fmla="*/ 0 w 399"/>
                <a:gd name="T17" fmla="*/ 0 h 518"/>
                <a:gd name="T18" fmla="*/ 0 w 399"/>
                <a:gd name="T19" fmla="*/ 0 h 518"/>
                <a:gd name="T20" fmla="*/ 0 w 399"/>
                <a:gd name="T21" fmla="*/ 0 h 518"/>
                <a:gd name="T22" fmla="*/ 0 w 399"/>
                <a:gd name="T23" fmla="*/ 0 h 518"/>
                <a:gd name="T24" fmla="*/ 0 w 399"/>
                <a:gd name="T25" fmla="*/ 0 h 518"/>
                <a:gd name="T26" fmla="*/ 0 w 399"/>
                <a:gd name="T27" fmla="*/ 0 h 518"/>
                <a:gd name="T28" fmla="*/ 0 w 399"/>
                <a:gd name="T29" fmla="*/ 0 h 518"/>
                <a:gd name="T30" fmla="*/ 0 w 399"/>
                <a:gd name="T31" fmla="*/ 0 h 518"/>
                <a:gd name="T32" fmla="*/ 0 w 399"/>
                <a:gd name="T33" fmla="*/ 0 h 518"/>
                <a:gd name="T34" fmla="*/ 0 w 399"/>
                <a:gd name="T35" fmla="*/ 0 h 518"/>
                <a:gd name="T36" fmla="*/ 0 w 399"/>
                <a:gd name="T37" fmla="*/ 0 h 518"/>
                <a:gd name="T38" fmla="*/ 0 w 399"/>
                <a:gd name="T39" fmla="*/ 0 h 518"/>
                <a:gd name="T40" fmla="*/ 0 w 399"/>
                <a:gd name="T41" fmla="*/ 0 h 518"/>
                <a:gd name="T42" fmla="*/ 0 w 399"/>
                <a:gd name="T43" fmla="*/ 0 h 518"/>
                <a:gd name="T44" fmla="*/ 0 w 399"/>
                <a:gd name="T45" fmla="*/ 0 h 518"/>
                <a:gd name="T46" fmla="*/ 0 w 399"/>
                <a:gd name="T47" fmla="*/ 0 h 518"/>
                <a:gd name="T48" fmla="*/ 0 w 399"/>
                <a:gd name="T49" fmla="*/ 0 h 518"/>
                <a:gd name="T50" fmla="*/ 0 w 399"/>
                <a:gd name="T51" fmla="*/ 0 h 518"/>
                <a:gd name="T52" fmla="*/ 0 w 399"/>
                <a:gd name="T53" fmla="*/ 0 h 518"/>
                <a:gd name="T54" fmla="*/ 0 w 399"/>
                <a:gd name="T55" fmla="*/ 0 h 518"/>
                <a:gd name="T56" fmla="*/ 0 w 399"/>
                <a:gd name="T57" fmla="*/ 0 h 518"/>
                <a:gd name="T58" fmla="*/ 0 w 399"/>
                <a:gd name="T59" fmla="*/ 0 h 518"/>
                <a:gd name="T60" fmla="*/ 0 w 399"/>
                <a:gd name="T61" fmla="*/ 0 h 518"/>
                <a:gd name="T62" fmla="*/ 0 w 399"/>
                <a:gd name="T63" fmla="*/ 0 h 518"/>
                <a:gd name="T64" fmla="*/ 0 w 399"/>
                <a:gd name="T65" fmla="*/ 0 h 518"/>
                <a:gd name="T66" fmla="*/ 0 w 399"/>
                <a:gd name="T67" fmla="*/ 0 h 518"/>
                <a:gd name="T68" fmla="*/ 0 w 399"/>
                <a:gd name="T69" fmla="*/ 0 h 518"/>
                <a:gd name="T70" fmla="*/ 0 w 399"/>
                <a:gd name="T71" fmla="*/ 0 h 518"/>
                <a:gd name="T72" fmla="*/ 0 w 399"/>
                <a:gd name="T73" fmla="*/ 0 h 518"/>
                <a:gd name="T74" fmla="*/ 0 w 399"/>
                <a:gd name="T75" fmla="*/ 0 h 518"/>
                <a:gd name="T76" fmla="*/ 0 w 399"/>
                <a:gd name="T77" fmla="*/ 0 h 518"/>
                <a:gd name="T78" fmla="*/ 0 w 399"/>
                <a:gd name="T79" fmla="*/ 0 h 518"/>
                <a:gd name="T80" fmla="*/ 0 w 399"/>
                <a:gd name="T81" fmla="*/ 0 h 518"/>
                <a:gd name="T82" fmla="*/ 0 w 399"/>
                <a:gd name="T83" fmla="*/ 0 h 518"/>
                <a:gd name="T84" fmla="*/ 0 w 399"/>
                <a:gd name="T85" fmla="*/ 0 h 518"/>
                <a:gd name="T86" fmla="*/ 0 w 399"/>
                <a:gd name="T87" fmla="*/ 0 h 518"/>
                <a:gd name="T88" fmla="*/ 0 w 399"/>
                <a:gd name="T89" fmla="*/ 0 h 518"/>
                <a:gd name="T90" fmla="*/ 0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8" name="Freeform 1111"/>
            <p:cNvSpPr>
              <a:spLocks/>
            </p:cNvSpPr>
            <p:nvPr>
              <p:custDataLst>
                <p:tags r:id="rId376"/>
              </p:custDataLst>
            </p:nvPr>
          </p:nvSpPr>
          <p:spPr bwMode="auto">
            <a:xfrm>
              <a:off x="2745" y="1837"/>
              <a:ext cx="257" cy="243"/>
            </a:xfrm>
            <a:custGeom>
              <a:avLst/>
              <a:gdLst>
                <a:gd name="T0" fmla="*/ 0 w 866"/>
                <a:gd name="T1" fmla="*/ 0 h 740"/>
                <a:gd name="T2" fmla="*/ 0 w 866"/>
                <a:gd name="T3" fmla="*/ 0 h 740"/>
                <a:gd name="T4" fmla="*/ 0 w 866"/>
                <a:gd name="T5" fmla="*/ 0 h 740"/>
                <a:gd name="T6" fmla="*/ 0 w 866"/>
                <a:gd name="T7" fmla="*/ 0 h 740"/>
                <a:gd name="T8" fmla="*/ 0 w 866"/>
                <a:gd name="T9" fmla="*/ 0 h 740"/>
                <a:gd name="T10" fmla="*/ 0 w 866"/>
                <a:gd name="T11" fmla="*/ 0 h 740"/>
                <a:gd name="T12" fmla="*/ 0 w 866"/>
                <a:gd name="T13" fmla="*/ 0 h 740"/>
                <a:gd name="T14" fmla="*/ 0 w 866"/>
                <a:gd name="T15" fmla="*/ 0 h 740"/>
                <a:gd name="T16" fmla="*/ 0 w 866"/>
                <a:gd name="T17" fmla="*/ 0 h 740"/>
                <a:gd name="T18" fmla="*/ 0 w 866"/>
                <a:gd name="T19" fmla="*/ 0 h 740"/>
                <a:gd name="T20" fmla="*/ 0 w 866"/>
                <a:gd name="T21" fmla="*/ 0 h 740"/>
                <a:gd name="T22" fmla="*/ 0 w 866"/>
                <a:gd name="T23" fmla="*/ 0 h 740"/>
                <a:gd name="T24" fmla="*/ 0 w 866"/>
                <a:gd name="T25" fmla="*/ 0 h 740"/>
                <a:gd name="T26" fmla="*/ 0 w 866"/>
                <a:gd name="T27" fmla="*/ 0 h 740"/>
                <a:gd name="T28" fmla="*/ 0 w 866"/>
                <a:gd name="T29" fmla="*/ 0 h 740"/>
                <a:gd name="T30" fmla="*/ 0 w 866"/>
                <a:gd name="T31" fmla="*/ 0 h 740"/>
                <a:gd name="T32" fmla="*/ 0 w 866"/>
                <a:gd name="T33" fmla="*/ 0 h 740"/>
                <a:gd name="T34" fmla="*/ 0 w 866"/>
                <a:gd name="T35" fmla="*/ 0 h 740"/>
                <a:gd name="T36" fmla="*/ 0 w 866"/>
                <a:gd name="T37" fmla="*/ 0 h 740"/>
                <a:gd name="T38" fmla="*/ 0 w 866"/>
                <a:gd name="T39" fmla="*/ 0 h 740"/>
                <a:gd name="T40" fmla="*/ 0 w 866"/>
                <a:gd name="T41" fmla="*/ 0 h 740"/>
                <a:gd name="T42" fmla="*/ 0 w 866"/>
                <a:gd name="T43" fmla="*/ 0 h 740"/>
                <a:gd name="T44" fmla="*/ 0 w 866"/>
                <a:gd name="T45" fmla="*/ 0 h 740"/>
                <a:gd name="T46" fmla="*/ 0 w 866"/>
                <a:gd name="T47" fmla="*/ 0 h 740"/>
                <a:gd name="T48" fmla="*/ 0 w 866"/>
                <a:gd name="T49" fmla="*/ 0 h 740"/>
                <a:gd name="T50" fmla="*/ 0 w 866"/>
                <a:gd name="T51" fmla="*/ 0 h 740"/>
                <a:gd name="T52" fmla="*/ 0 w 866"/>
                <a:gd name="T53" fmla="*/ 0 h 740"/>
                <a:gd name="T54" fmla="*/ 0 w 866"/>
                <a:gd name="T55" fmla="*/ 0 h 740"/>
                <a:gd name="T56" fmla="*/ 0 w 866"/>
                <a:gd name="T57" fmla="*/ 0 h 740"/>
                <a:gd name="T58" fmla="*/ 0 w 866"/>
                <a:gd name="T59" fmla="*/ 0 h 740"/>
                <a:gd name="T60" fmla="*/ 0 w 866"/>
                <a:gd name="T61" fmla="*/ 0 h 740"/>
                <a:gd name="T62" fmla="*/ 0 w 866"/>
                <a:gd name="T63" fmla="*/ 0 h 740"/>
                <a:gd name="T64" fmla="*/ 0 w 866"/>
                <a:gd name="T65" fmla="*/ 0 h 740"/>
                <a:gd name="T66" fmla="*/ 0 w 866"/>
                <a:gd name="T67" fmla="*/ 0 h 740"/>
                <a:gd name="T68" fmla="*/ 0 w 866"/>
                <a:gd name="T69" fmla="*/ 0 h 740"/>
                <a:gd name="T70" fmla="*/ 0 w 866"/>
                <a:gd name="T71" fmla="*/ 0 h 740"/>
                <a:gd name="T72" fmla="*/ 0 w 866"/>
                <a:gd name="T73" fmla="*/ 0 h 740"/>
                <a:gd name="T74" fmla="*/ 0 w 866"/>
                <a:gd name="T75" fmla="*/ 0 h 740"/>
                <a:gd name="T76" fmla="*/ 0 w 866"/>
                <a:gd name="T77" fmla="*/ 0 h 740"/>
                <a:gd name="T78" fmla="*/ 0 w 866"/>
                <a:gd name="T79" fmla="*/ 0 h 740"/>
                <a:gd name="T80" fmla="*/ 0 w 866"/>
                <a:gd name="T81" fmla="*/ 0 h 740"/>
                <a:gd name="T82" fmla="*/ 0 w 866"/>
                <a:gd name="T83" fmla="*/ 0 h 740"/>
                <a:gd name="T84" fmla="*/ 0 w 866"/>
                <a:gd name="T85" fmla="*/ 0 h 740"/>
                <a:gd name="T86" fmla="*/ 0 w 866"/>
                <a:gd name="T87" fmla="*/ 0 h 740"/>
                <a:gd name="T88" fmla="*/ 0 w 866"/>
                <a:gd name="T89" fmla="*/ 0 h 740"/>
                <a:gd name="T90" fmla="*/ 0 w 866"/>
                <a:gd name="T91" fmla="*/ 0 h 740"/>
                <a:gd name="T92" fmla="*/ 0 w 866"/>
                <a:gd name="T93" fmla="*/ 0 h 740"/>
                <a:gd name="T94" fmla="*/ 0 w 866"/>
                <a:gd name="T95" fmla="*/ 0 h 740"/>
                <a:gd name="T96" fmla="*/ 0 w 866"/>
                <a:gd name="T97" fmla="*/ 0 h 740"/>
                <a:gd name="T98" fmla="*/ 0 w 866"/>
                <a:gd name="T99" fmla="*/ 0 h 740"/>
                <a:gd name="T100" fmla="*/ 0 w 866"/>
                <a:gd name="T101" fmla="*/ 0 h 740"/>
                <a:gd name="T102" fmla="*/ 0 w 866"/>
                <a:gd name="T103" fmla="*/ 0 h 740"/>
                <a:gd name="T104" fmla="*/ 0 w 866"/>
                <a:gd name="T105" fmla="*/ 0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9" name="Freeform 1112"/>
            <p:cNvSpPr>
              <a:spLocks/>
            </p:cNvSpPr>
            <p:nvPr>
              <p:custDataLst>
                <p:tags r:id="rId377"/>
              </p:custDataLst>
            </p:nvPr>
          </p:nvSpPr>
          <p:spPr bwMode="auto">
            <a:xfrm>
              <a:off x="2520" y="1596"/>
              <a:ext cx="205" cy="164"/>
            </a:xfrm>
            <a:custGeom>
              <a:avLst/>
              <a:gdLst>
                <a:gd name="T0" fmla="*/ 0 w 697"/>
                <a:gd name="T1" fmla="*/ 0 h 500"/>
                <a:gd name="T2" fmla="*/ 0 w 697"/>
                <a:gd name="T3" fmla="*/ 0 h 500"/>
                <a:gd name="T4" fmla="*/ 0 w 697"/>
                <a:gd name="T5" fmla="*/ 0 h 500"/>
                <a:gd name="T6" fmla="*/ 0 w 697"/>
                <a:gd name="T7" fmla="*/ 0 h 500"/>
                <a:gd name="T8" fmla="*/ 0 w 697"/>
                <a:gd name="T9" fmla="*/ 0 h 500"/>
                <a:gd name="T10" fmla="*/ 0 w 697"/>
                <a:gd name="T11" fmla="*/ 0 h 500"/>
                <a:gd name="T12" fmla="*/ 0 w 697"/>
                <a:gd name="T13" fmla="*/ 0 h 500"/>
                <a:gd name="T14" fmla="*/ 0 w 697"/>
                <a:gd name="T15" fmla="*/ 0 h 500"/>
                <a:gd name="T16" fmla="*/ 0 w 697"/>
                <a:gd name="T17" fmla="*/ 0 h 500"/>
                <a:gd name="T18" fmla="*/ 0 w 697"/>
                <a:gd name="T19" fmla="*/ 0 h 500"/>
                <a:gd name="T20" fmla="*/ 0 w 697"/>
                <a:gd name="T21" fmla="*/ 0 h 500"/>
                <a:gd name="T22" fmla="*/ 0 w 697"/>
                <a:gd name="T23" fmla="*/ 0 h 500"/>
                <a:gd name="T24" fmla="*/ 0 w 697"/>
                <a:gd name="T25" fmla="*/ 0 h 500"/>
                <a:gd name="T26" fmla="*/ 0 w 697"/>
                <a:gd name="T27" fmla="*/ 0 h 500"/>
                <a:gd name="T28" fmla="*/ 0 w 697"/>
                <a:gd name="T29" fmla="*/ 0 h 500"/>
                <a:gd name="T30" fmla="*/ 0 w 697"/>
                <a:gd name="T31" fmla="*/ 0 h 500"/>
                <a:gd name="T32" fmla="*/ 0 w 697"/>
                <a:gd name="T33" fmla="*/ 0 h 500"/>
                <a:gd name="T34" fmla="*/ 0 w 697"/>
                <a:gd name="T35" fmla="*/ 0 h 500"/>
                <a:gd name="T36" fmla="*/ 0 w 697"/>
                <a:gd name="T37" fmla="*/ 0 h 500"/>
                <a:gd name="T38" fmla="*/ 0 w 697"/>
                <a:gd name="T39" fmla="*/ 0 h 500"/>
                <a:gd name="T40" fmla="*/ 0 w 697"/>
                <a:gd name="T41" fmla="*/ 0 h 500"/>
                <a:gd name="T42" fmla="*/ 0 w 697"/>
                <a:gd name="T43" fmla="*/ 0 h 500"/>
                <a:gd name="T44" fmla="*/ 0 w 697"/>
                <a:gd name="T45" fmla="*/ 0 h 500"/>
                <a:gd name="T46" fmla="*/ 0 w 697"/>
                <a:gd name="T47" fmla="*/ 0 h 500"/>
                <a:gd name="T48" fmla="*/ 0 w 697"/>
                <a:gd name="T49" fmla="*/ 0 h 500"/>
                <a:gd name="T50" fmla="*/ 0 w 697"/>
                <a:gd name="T51" fmla="*/ 0 h 500"/>
                <a:gd name="T52" fmla="*/ 0 w 697"/>
                <a:gd name="T53" fmla="*/ 0 h 500"/>
                <a:gd name="T54" fmla="*/ 0 w 697"/>
                <a:gd name="T55" fmla="*/ 0 h 500"/>
                <a:gd name="T56" fmla="*/ 0 w 697"/>
                <a:gd name="T57" fmla="*/ 0 h 500"/>
                <a:gd name="T58" fmla="*/ 0 w 697"/>
                <a:gd name="T59" fmla="*/ 0 h 500"/>
                <a:gd name="T60" fmla="*/ 0 w 697"/>
                <a:gd name="T61" fmla="*/ 0 h 500"/>
                <a:gd name="T62" fmla="*/ 0 w 697"/>
                <a:gd name="T63" fmla="*/ 0 h 500"/>
                <a:gd name="T64" fmla="*/ 0 w 697"/>
                <a:gd name="T65" fmla="*/ 0 h 500"/>
                <a:gd name="T66" fmla="*/ 0 w 697"/>
                <a:gd name="T67" fmla="*/ 0 h 500"/>
                <a:gd name="T68" fmla="*/ 0 w 697"/>
                <a:gd name="T69" fmla="*/ 0 h 500"/>
                <a:gd name="T70" fmla="*/ 0 w 697"/>
                <a:gd name="T71" fmla="*/ 0 h 500"/>
                <a:gd name="T72" fmla="*/ 0 w 697"/>
                <a:gd name="T73" fmla="*/ 0 h 500"/>
                <a:gd name="T74" fmla="*/ 0 w 697"/>
                <a:gd name="T75" fmla="*/ 0 h 500"/>
                <a:gd name="T76" fmla="*/ 0 w 697"/>
                <a:gd name="T77" fmla="*/ 0 h 500"/>
                <a:gd name="T78" fmla="*/ 0 w 697"/>
                <a:gd name="T79" fmla="*/ 0 h 500"/>
                <a:gd name="T80" fmla="*/ 0 w 697"/>
                <a:gd name="T81" fmla="*/ 0 h 500"/>
                <a:gd name="T82" fmla="*/ 0 w 697"/>
                <a:gd name="T83" fmla="*/ 0 h 500"/>
                <a:gd name="T84" fmla="*/ 0 w 697"/>
                <a:gd name="T85" fmla="*/ 0 h 500"/>
                <a:gd name="T86" fmla="*/ 0 w 697"/>
                <a:gd name="T87" fmla="*/ 0 h 500"/>
                <a:gd name="T88" fmla="*/ 0 w 697"/>
                <a:gd name="T89" fmla="*/ 0 h 500"/>
                <a:gd name="T90" fmla="*/ 0 w 697"/>
                <a:gd name="T91" fmla="*/ 0 h 500"/>
                <a:gd name="T92" fmla="*/ 0 w 697"/>
                <a:gd name="T93" fmla="*/ 0 h 500"/>
                <a:gd name="T94" fmla="*/ 0 w 697"/>
                <a:gd name="T95" fmla="*/ 0 h 500"/>
                <a:gd name="T96" fmla="*/ 0 w 697"/>
                <a:gd name="T97" fmla="*/ 0 h 500"/>
                <a:gd name="T98" fmla="*/ 0 w 697"/>
                <a:gd name="T99" fmla="*/ 0 h 500"/>
                <a:gd name="T100" fmla="*/ 0 w 697"/>
                <a:gd name="T101" fmla="*/ 0 h 500"/>
                <a:gd name="T102" fmla="*/ 0 w 697"/>
                <a:gd name="T103" fmla="*/ 0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0" name="Freeform 1113"/>
            <p:cNvSpPr>
              <a:spLocks/>
            </p:cNvSpPr>
            <p:nvPr>
              <p:custDataLst>
                <p:tags r:id="rId378"/>
              </p:custDataLst>
            </p:nvPr>
          </p:nvSpPr>
          <p:spPr bwMode="auto">
            <a:xfrm>
              <a:off x="2998" y="922"/>
              <a:ext cx="161"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1" name="Freeform 1114"/>
            <p:cNvSpPr>
              <a:spLocks/>
            </p:cNvSpPr>
            <p:nvPr>
              <p:custDataLst>
                <p:tags r:id="rId379"/>
              </p:custDataLst>
            </p:nvPr>
          </p:nvSpPr>
          <p:spPr bwMode="auto">
            <a:xfrm>
              <a:off x="3346" y="912"/>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2" name="Freeform 1115"/>
            <p:cNvSpPr>
              <a:spLocks/>
            </p:cNvSpPr>
            <p:nvPr>
              <p:custDataLst>
                <p:tags r:id="rId380"/>
              </p:custDataLst>
            </p:nvPr>
          </p:nvSpPr>
          <p:spPr bwMode="auto">
            <a:xfrm>
              <a:off x="3444" y="901"/>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3" name="Freeform 1116"/>
            <p:cNvSpPr>
              <a:spLocks/>
            </p:cNvSpPr>
            <p:nvPr>
              <p:custDataLst>
                <p:tags r:id="rId381"/>
              </p:custDataLst>
            </p:nvPr>
          </p:nvSpPr>
          <p:spPr bwMode="auto">
            <a:xfrm>
              <a:off x="3469" y="906"/>
              <a:ext cx="89"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35" name="Rectangle 3"/>
          <p:cNvSpPr>
            <a:spLocks noGrp="1" noChangeArrowheads="1"/>
          </p:cNvSpPr>
          <p:nvPr>
            <p:ph type="title"/>
          </p:nvPr>
        </p:nvSpPr>
        <p:spPr/>
        <p:txBody>
          <a:bodyPr/>
          <a:lstStyle/>
          <a:p>
            <a:pPr eaLnBrk="1" hangingPunct="1"/>
            <a:r>
              <a:rPr lang="en-US" dirty="0" smtClean="0"/>
              <a:t>STOXX sales contacts</a:t>
            </a:r>
          </a:p>
        </p:txBody>
      </p:sp>
      <p:sp>
        <p:nvSpPr>
          <p:cNvPr id="18437" name="Rectangle 258"/>
          <p:cNvSpPr>
            <a:spLocks noChangeArrowheads="1"/>
          </p:cNvSpPr>
          <p:nvPr/>
        </p:nvSpPr>
        <p:spPr bwMode="auto">
          <a:xfrm>
            <a:off x="5511800" y="4037014"/>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0" name="Rectangle 489"/>
          <p:cNvSpPr>
            <a:spLocks noChangeArrowheads="1"/>
          </p:cNvSpPr>
          <p:nvPr/>
        </p:nvSpPr>
        <p:spPr bwMode="auto">
          <a:xfrm>
            <a:off x="1907382" y="4270378"/>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2" name="Rectangle 569"/>
          <p:cNvSpPr>
            <a:spLocks noChangeArrowheads="1"/>
          </p:cNvSpPr>
          <p:nvPr/>
        </p:nvSpPr>
        <p:spPr bwMode="auto">
          <a:xfrm>
            <a:off x="368300" y="3535223"/>
            <a:ext cx="2880360"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a:solidFill>
                  <a:srgbClr val="000000"/>
                </a:solidFill>
                <a:ea typeface="ＭＳ Ｐゴシック" pitchFamily="34" charset="-128"/>
              </a:rPr>
              <a:t>Rod Jones</a:t>
            </a:r>
          </a:p>
          <a:p>
            <a:pPr eaLnBrk="0" hangingPunct="0">
              <a:spcBef>
                <a:spcPct val="0"/>
              </a:spcBef>
            </a:pPr>
            <a:r>
              <a:rPr lang="en-US" sz="1200" dirty="0">
                <a:solidFill>
                  <a:srgbClr val="000000"/>
                </a:solidFill>
                <a:ea typeface="ＭＳ Ｐゴシック" pitchFamily="34" charset="-128"/>
              </a:rPr>
              <a:t>Head of North America</a:t>
            </a:r>
          </a:p>
          <a:p>
            <a:pPr eaLnBrk="0" hangingPunct="0">
              <a:spcBef>
                <a:spcPct val="0"/>
              </a:spcBef>
            </a:pPr>
            <a:r>
              <a:rPr lang="en-US" sz="1200" dirty="0">
                <a:solidFill>
                  <a:srgbClr val="000000"/>
                </a:solidFill>
                <a:ea typeface="ＭＳ Ｐゴシック" pitchFamily="34" charset="-128"/>
              </a:rPr>
              <a:t>+1 212 669 6426</a:t>
            </a:r>
          </a:p>
          <a:p>
            <a:pPr eaLnBrk="0" hangingPunct="0">
              <a:spcBef>
                <a:spcPct val="0"/>
              </a:spcBef>
            </a:pPr>
            <a:r>
              <a:rPr lang="en-US" sz="1200" dirty="0">
                <a:solidFill>
                  <a:srgbClr val="000000"/>
                </a:solidFill>
                <a:ea typeface="ＭＳ Ｐゴシック" pitchFamily="34" charset="-128"/>
              </a:rPr>
              <a:t>+1 917 916 6027 (mobile)</a:t>
            </a:r>
          </a:p>
          <a:p>
            <a:pPr eaLnBrk="0" hangingPunct="0">
              <a:spcBef>
                <a:spcPct val="0"/>
              </a:spcBef>
            </a:pPr>
            <a:r>
              <a:rPr lang="en-US" sz="1200" dirty="0">
                <a:solidFill>
                  <a:srgbClr val="000000"/>
                </a:solidFill>
                <a:ea typeface="ＭＳ Ｐゴシック" pitchFamily="34" charset="-128"/>
              </a:rPr>
              <a:t>rod.jones@stoxx.com</a:t>
            </a:r>
          </a:p>
        </p:txBody>
      </p:sp>
      <p:sp>
        <p:nvSpPr>
          <p:cNvPr id="18444" name="Rectangle 489"/>
          <p:cNvSpPr>
            <a:spLocks noChangeArrowheads="1"/>
          </p:cNvSpPr>
          <p:nvPr/>
        </p:nvSpPr>
        <p:spPr bwMode="auto">
          <a:xfrm>
            <a:off x="6973888" y="2876550"/>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47" name="Rectangle 489"/>
          <p:cNvSpPr>
            <a:spLocks noChangeArrowheads="1"/>
          </p:cNvSpPr>
          <p:nvPr/>
        </p:nvSpPr>
        <p:spPr bwMode="auto">
          <a:xfrm>
            <a:off x="7245350" y="4643442"/>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570" name="Rectangle 2"/>
          <p:cNvSpPr>
            <a:spLocks noChangeArrowheads="1"/>
          </p:cNvSpPr>
          <p:nvPr/>
        </p:nvSpPr>
        <p:spPr bwMode="auto">
          <a:xfrm>
            <a:off x="368300"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mericas</a:t>
            </a:r>
            <a:endParaRPr lang="en-US" sz="1400" b="1" dirty="0">
              <a:solidFill>
                <a:srgbClr val="FFFFFF"/>
              </a:solidFill>
              <a:ea typeface="ＭＳ Ｐゴシック" pitchFamily="34" charset="-128"/>
            </a:endParaRPr>
          </a:p>
        </p:txBody>
      </p:sp>
      <p:sp>
        <p:nvSpPr>
          <p:cNvPr id="571" name="Rectangle 2"/>
          <p:cNvSpPr>
            <a:spLocks noChangeArrowheads="1"/>
          </p:cNvSpPr>
          <p:nvPr/>
        </p:nvSpPr>
        <p:spPr bwMode="auto">
          <a:xfrm>
            <a:off x="3511477" y="3117710"/>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EMEA</a:t>
            </a:r>
            <a:endParaRPr lang="en-US" sz="1400" b="1" dirty="0">
              <a:solidFill>
                <a:srgbClr val="FFFFFF"/>
              </a:solidFill>
              <a:ea typeface="ＭＳ Ｐゴシック" pitchFamily="34" charset="-128"/>
            </a:endParaRPr>
          </a:p>
        </p:txBody>
      </p:sp>
      <p:sp>
        <p:nvSpPr>
          <p:cNvPr id="572" name="Rectangle 2"/>
          <p:cNvSpPr>
            <a:spLocks noChangeArrowheads="1"/>
          </p:cNvSpPr>
          <p:nvPr/>
        </p:nvSpPr>
        <p:spPr bwMode="auto">
          <a:xfrm>
            <a:off x="6643827"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sia/Pacific </a:t>
            </a:r>
            <a:endParaRPr lang="en-US" sz="1400" b="1" dirty="0">
              <a:solidFill>
                <a:srgbClr val="FFFFFF"/>
              </a:solidFill>
              <a:ea typeface="ＭＳ Ｐゴシック" pitchFamily="34" charset="-128"/>
            </a:endParaRPr>
          </a:p>
        </p:txBody>
      </p:sp>
      <p:sp>
        <p:nvSpPr>
          <p:cNvPr id="576" name="Rectangle 569"/>
          <p:cNvSpPr>
            <a:spLocks noChangeArrowheads="1"/>
          </p:cNvSpPr>
          <p:nvPr/>
        </p:nvSpPr>
        <p:spPr bwMode="auto">
          <a:xfrm>
            <a:off x="6626532" y="3535223"/>
            <a:ext cx="3279468"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smtClean="0">
                <a:solidFill>
                  <a:srgbClr val="000000"/>
                </a:solidFill>
                <a:ea typeface="ＭＳ Ｐゴシック" pitchFamily="34" charset="-128"/>
              </a:rPr>
              <a:t>Shirley Low, </a:t>
            </a:r>
            <a:r>
              <a:rPr lang="ja-JP" altLang="en-US" sz="1200" b="1" dirty="0" smtClean="0">
                <a:solidFill>
                  <a:srgbClr val="000000"/>
                </a:solidFill>
              </a:rPr>
              <a:t>刘</a:t>
            </a:r>
            <a:r>
              <a:rPr lang="ja-JP" altLang="en-US" sz="1200" b="1" dirty="0">
                <a:solidFill>
                  <a:srgbClr val="000000"/>
                </a:solidFill>
              </a:rPr>
              <a:t>洧琁</a:t>
            </a:r>
            <a:r>
              <a:rPr lang="en-US" altLang="ja-JP" sz="1200" b="1" dirty="0" smtClean="0">
                <a:solidFill>
                  <a:srgbClr val="000000"/>
                </a:solidFill>
              </a:rPr>
              <a:t>, </a:t>
            </a:r>
            <a:r>
              <a:rPr lang="en-US" sz="1200" b="1" dirty="0" smtClean="0">
                <a:solidFill>
                  <a:srgbClr val="000000"/>
                </a:solidFill>
                <a:ea typeface="ＭＳ Ｐゴシック" pitchFamily="34" charset="-128"/>
              </a:rPr>
              <a:t>CFA, CAIA, FRM </a:t>
            </a:r>
          </a:p>
          <a:p>
            <a:pPr defTabSz="623888" eaLnBrk="0" hangingPunct="0">
              <a:spcBef>
                <a:spcPct val="0"/>
              </a:spcBef>
            </a:pPr>
            <a:r>
              <a:rPr lang="en-US" sz="1200" dirty="0" smtClean="0">
                <a:solidFill>
                  <a:prstClr val="black"/>
                </a:solidFill>
              </a:rPr>
              <a:t>Head</a:t>
            </a:r>
            <a:r>
              <a:rPr lang="en-GB" sz="1200" dirty="0" smtClean="0">
                <a:solidFill>
                  <a:prstClr val="black"/>
                </a:solidFill>
              </a:rPr>
              <a:t> </a:t>
            </a:r>
            <a:r>
              <a:rPr lang="en-US" sz="1200" dirty="0" smtClean="0">
                <a:solidFill>
                  <a:prstClr val="black"/>
                </a:solidFill>
              </a:rPr>
              <a:t>of Asia/Pacific</a:t>
            </a:r>
          </a:p>
          <a:p>
            <a:pPr defTabSz="623888" eaLnBrk="0" hangingPunct="0">
              <a:spcBef>
                <a:spcPct val="0"/>
              </a:spcBef>
            </a:pPr>
            <a:r>
              <a:rPr lang="en-US" sz="1200" dirty="0" smtClean="0">
                <a:solidFill>
                  <a:prstClr val="black"/>
                </a:solidFill>
              </a:rPr>
              <a:t>+</a:t>
            </a:r>
            <a:r>
              <a:rPr lang="en-US" sz="1200" dirty="0">
                <a:solidFill>
                  <a:prstClr val="black"/>
                </a:solidFill>
              </a:rPr>
              <a:t>41 58 399 4938</a:t>
            </a:r>
          </a:p>
          <a:p>
            <a:pPr defTabSz="623888" eaLnBrk="0" hangingPunct="0">
              <a:spcBef>
                <a:spcPct val="0"/>
              </a:spcBef>
            </a:pPr>
            <a:r>
              <a:rPr lang="en-US" sz="1200" dirty="0">
                <a:solidFill>
                  <a:prstClr val="black"/>
                </a:solidFill>
              </a:rPr>
              <a:t>+41 79 746 9519 (mobile)</a:t>
            </a:r>
            <a:endParaRPr lang="en-GB" sz="1200" dirty="0">
              <a:solidFill>
                <a:prstClr val="black"/>
              </a:solidFill>
            </a:endParaRPr>
          </a:p>
          <a:p>
            <a:pPr defTabSz="623888" eaLnBrk="0" hangingPunct="0">
              <a:spcBef>
                <a:spcPct val="0"/>
              </a:spcBef>
            </a:pPr>
            <a:r>
              <a:rPr lang="en-US" sz="1200" dirty="0" smtClean="0">
                <a:solidFill>
                  <a:prstClr val="black"/>
                </a:solidFill>
              </a:rPr>
              <a:t>shirley.low@stoxx.com</a:t>
            </a:r>
            <a:endParaRPr lang="en-US" sz="1200" dirty="0">
              <a:solidFill>
                <a:prstClr val="black"/>
              </a:solidFill>
            </a:endParaRPr>
          </a:p>
        </p:txBody>
      </p:sp>
      <p:sp>
        <p:nvSpPr>
          <p:cNvPr id="562" name="Rectangle 2"/>
          <p:cNvSpPr>
            <a:spLocks noChangeArrowheads="1"/>
          </p:cNvSpPr>
          <p:nvPr/>
        </p:nvSpPr>
        <p:spPr bwMode="auto">
          <a:xfrm>
            <a:off x="3512808" y="1266458"/>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Global</a:t>
            </a:r>
            <a:endParaRPr lang="en-US" sz="1400" b="1" dirty="0">
              <a:solidFill>
                <a:srgbClr val="FFFFFF"/>
              </a:solidFill>
              <a:ea typeface="ＭＳ Ｐゴシック" pitchFamily="34" charset="-128"/>
            </a:endParaRPr>
          </a:p>
        </p:txBody>
      </p:sp>
      <p:sp>
        <p:nvSpPr>
          <p:cNvPr id="563" name="Rectangle 569"/>
          <p:cNvSpPr>
            <a:spLocks noChangeArrowheads="1"/>
          </p:cNvSpPr>
          <p:nvPr/>
        </p:nvSpPr>
        <p:spPr bwMode="auto">
          <a:xfrm>
            <a:off x="3496906" y="1691922"/>
            <a:ext cx="2879999"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de-CH" sz="1200" b="1" dirty="0">
                <a:solidFill>
                  <a:prstClr val="black"/>
                </a:solidFill>
              </a:rPr>
              <a:t>Matteo Andreetto </a:t>
            </a:r>
            <a:endParaRPr lang="de-CH" sz="1200" b="1" dirty="0" smtClean="0">
              <a:solidFill>
                <a:prstClr val="black"/>
              </a:solidFill>
            </a:endParaRPr>
          </a:p>
          <a:p>
            <a:pPr eaLnBrk="0" hangingPunct="0">
              <a:spcBef>
                <a:spcPct val="0"/>
              </a:spcBef>
            </a:pPr>
            <a:r>
              <a:rPr lang="de-CH" sz="1200" dirty="0" smtClean="0">
                <a:solidFill>
                  <a:prstClr val="black"/>
                </a:solidFill>
                <a:ea typeface="ＭＳ Ｐゴシック" pitchFamily="34" charset="-128"/>
              </a:rPr>
              <a:t>Global Head </a:t>
            </a:r>
            <a:r>
              <a:rPr lang="de-CH" sz="1200" dirty="0" err="1" smtClean="0">
                <a:solidFill>
                  <a:prstClr val="black"/>
                </a:solidFill>
                <a:ea typeface="ＭＳ Ｐゴシック" pitchFamily="34" charset="-128"/>
              </a:rPr>
              <a:t>of</a:t>
            </a:r>
            <a:r>
              <a:rPr lang="de-CH" sz="1200" dirty="0" smtClean="0">
                <a:solidFill>
                  <a:prstClr val="black"/>
                </a:solidFill>
                <a:ea typeface="ＭＳ Ｐゴシック" pitchFamily="34" charset="-128"/>
              </a:rPr>
              <a:t> </a:t>
            </a:r>
            <a:r>
              <a:rPr lang="de-CH" sz="1200" dirty="0" err="1" smtClean="0">
                <a:solidFill>
                  <a:prstClr val="black"/>
                </a:solidFill>
                <a:ea typeface="ＭＳ Ｐゴシック" pitchFamily="34" charset="-128"/>
              </a:rPr>
              <a:t>Sales</a:t>
            </a:r>
            <a:endParaRPr lang="en-US" sz="1200" dirty="0" smtClean="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207 862 7676</a:t>
            </a:r>
            <a:endParaRPr lang="en-US" sz="1200" dirty="0" smtClean="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7843 065489 (mobile</a:t>
            </a:r>
            <a:r>
              <a:rPr lang="en-US" sz="1200" dirty="0" smtClean="0">
                <a:solidFill>
                  <a:srgbClr val="000000"/>
                </a:solidFill>
                <a:ea typeface="ＭＳ Ｐゴシック" pitchFamily="34" charset="-128"/>
              </a:rPr>
              <a:t>)</a:t>
            </a:r>
          </a:p>
          <a:p>
            <a:pPr eaLnBrk="0" hangingPunct="0">
              <a:spcBef>
                <a:spcPct val="0"/>
              </a:spcBef>
            </a:pPr>
            <a:r>
              <a:rPr lang="en-US" sz="1200" dirty="0">
                <a:solidFill>
                  <a:srgbClr val="000000"/>
                </a:solidFill>
                <a:ea typeface="ＭＳ Ｐゴシック" pitchFamily="34" charset="-128"/>
              </a:rPr>
              <a:t>m</a:t>
            </a:r>
            <a:r>
              <a:rPr lang="en-US" sz="1200" dirty="0" smtClean="0">
                <a:solidFill>
                  <a:srgbClr val="000000"/>
                </a:solidFill>
                <a:ea typeface="ＭＳ Ｐゴシック" pitchFamily="34" charset="-128"/>
              </a:rPr>
              <a:t>atteo.andreetto@stoxx.com</a:t>
            </a:r>
            <a:endParaRPr lang="en-US" sz="1200" dirty="0">
              <a:solidFill>
                <a:srgbClr val="000000"/>
              </a:solidFill>
              <a:ea typeface="ＭＳ Ｐゴシック" pitchFamily="34" charset="-128"/>
            </a:endParaRPr>
          </a:p>
        </p:txBody>
      </p:sp>
      <p:sp>
        <p:nvSpPr>
          <p:cNvPr id="564" name="Rectangle 569"/>
          <p:cNvSpPr>
            <a:spLocks noChangeArrowheads="1"/>
          </p:cNvSpPr>
          <p:nvPr/>
        </p:nvSpPr>
        <p:spPr bwMode="auto">
          <a:xfrm>
            <a:off x="3596680" y="3535223"/>
            <a:ext cx="2709593" cy="923330"/>
          </a:xfrm>
          <a:prstGeom prst="rect">
            <a:avLst/>
          </a:prstGeom>
          <a:noFill/>
          <a:ln w="9525" algn="ctr">
            <a:noFill/>
            <a:miter lim="800000"/>
            <a:headEnd/>
            <a:tailEnd/>
          </a:ln>
        </p:spPr>
        <p:txBody>
          <a:bodyPr wrap="square" lIns="324000" tIns="0" rIns="0" bIns="0" anchor="t" anchorCtr="0">
            <a:spAutoFit/>
          </a:bodyPr>
          <a:lstStyle/>
          <a:p>
            <a:pPr eaLnBrk="0" hangingPunct="0">
              <a:spcBef>
                <a:spcPct val="0"/>
              </a:spcBef>
            </a:pPr>
            <a:r>
              <a:rPr lang="en-US" sz="1200" b="1" dirty="0">
                <a:solidFill>
                  <a:prstClr val="black"/>
                </a:solidFill>
              </a:rPr>
              <a:t>Roberto </a:t>
            </a:r>
            <a:r>
              <a:rPr lang="en-US" sz="1200" b="1" dirty="0" smtClean="0">
                <a:solidFill>
                  <a:prstClr val="black"/>
                </a:solidFill>
              </a:rPr>
              <a:t>Lazzarotto</a:t>
            </a:r>
          </a:p>
          <a:p>
            <a:pPr eaLnBrk="0" hangingPunct="0">
              <a:spcBef>
                <a:spcPct val="0"/>
              </a:spcBef>
            </a:pPr>
            <a:r>
              <a:rPr lang="en-US" sz="1200" dirty="0" smtClean="0">
                <a:solidFill>
                  <a:srgbClr val="000000"/>
                </a:solidFill>
                <a:ea typeface="ＭＳ Ｐゴシック" pitchFamily="34" charset="-128"/>
              </a:rPr>
              <a:t>Head </a:t>
            </a:r>
            <a:r>
              <a:rPr lang="en-US" sz="1200" dirty="0">
                <a:solidFill>
                  <a:srgbClr val="000000"/>
                </a:solidFill>
                <a:ea typeface="ＭＳ Ｐゴシック" pitchFamily="34" charset="-128"/>
              </a:rPr>
              <a:t>of EMEA</a:t>
            </a:r>
          </a:p>
          <a:p>
            <a:pPr eaLnBrk="0" hangingPunct="0">
              <a:spcBef>
                <a:spcPct val="0"/>
              </a:spcBef>
            </a:pPr>
            <a:r>
              <a:rPr lang="en-US" sz="1200" dirty="0">
                <a:solidFill>
                  <a:srgbClr val="000000"/>
                </a:solidFill>
                <a:ea typeface="ＭＳ Ｐゴシック" pitchFamily="34" charset="-128"/>
              </a:rPr>
              <a:t>+41 58 399 4467</a:t>
            </a:r>
          </a:p>
          <a:p>
            <a:pPr eaLnBrk="0" hangingPunct="0">
              <a:spcBef>
                <a:spcPct val="0"/>
              </a:spcBef>
            </a:pPr>
            <a:r>
              <a:rPr lang="en-US" sz="1200" dirty="0">
                <a:solidFill>
                  <a:srgbClr val="000000"/>
                </a:solidFill>
                <a:ea typeface="ＭＳ Ｐゴシック" pitchFamily="34" charset="-128"/>
              </a:rPr>
              <a:t>+41 79 438 6061 (mobile)</a:t>
            </a:r>
          </a:p>
          <a:p>
            <a:pPr eaLnBrk="0" hangingPunct="0">
              <a:spcBef>
                <a:spcPct val="0"/>
              </a:spcBef>
            </a:pPr>
            <a:r>
              <a:rPr lang="en-US" sz="1200" dirty="0">
                <a:solidFill>
                  <a:prstClr val="black"/>
                </a:solidFill>
              </a:rPr>
              <a:t>r</a:t>
            </a:r>
            <a:r>
              <a:rPr lang="en-US" sz="1200" dirty="0" smtClean="0">
                <a:solidFill>
                  <a:prstClr val="black"/>
                </a:solidFill>
              </a:rPr>
              <a:t>oberto.lazzarotto</a:t>
            </a:r>
            <a:r>
              <a:rPr lang="en-US" sz="1200" dirty="0" smtClean="0">
                <a:solidFill>
                  <a:srgbClr val="000000"/>
                </a:solidFill>
                <a:ea typeface="ＭＳ Ｐゴシック" pitchFamily="34" charset="-128"/>
              </a:rPr>
              <a:t>@stoxx.com</a:t>
            </a:r>
            <a:endParaRPr lang="en-US" sz="1200" dirty="0">
              <a:solidFill>
                <a:srgbClr val="000000"/>
              </a:solidFill>
              <a:ea typeface="ＭＳ Ｐゴシック" pitchFamily="34" charset="-128"/>
            </a:endParaRPr>
          </a:p>
        </p:txBody>
      </p:sp>
    </p:spTree>
    <p:extLst>
      <p:ext uri="{BB962C8B-B14F-4D97-AF65-F5344CB8AC3E}">
        <p14:creationId xmlns:p14="http://schemas.microsoft.com/office/powerpoint/2010/main" val="16867858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heme/theme1.xml><?xml version="1.0" encoding="utf-8"?>
<a:theme xmlns:a="http://schemas.openxmlformats.org/drawingml/2006/main" name="STOXXEmbeddedTheme">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2.xml><?xml version="1.0" encoding="utf-8"?>
<a:theme xmlns:a="http://schemas.openxmlformats.org/drawingml/2006/main" name="Template STOXX Presentations 2.0.">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3.xml><?xml version="1.0" encoding="utf-8"?>
<a:theme xmlns:a="http://schemas.openxmlformats.org/drawingml/2006/main" name="STOXX_ESG_ProductSlides">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19FA374B5EA294992F10F5C99299EDE" ma:contentTypeVersion="10" ma:contentTypeDescription="Create a new document." ma:contentTypeScope="" ma:versionID="2e752d3eda2957bdfa3dd4fd594b18b9">
  <xsd:schema xmlns:xsd="http://www.w3.org/2001/XMLSchema" xmlns:xs="http://www.w3.org/2001/XMLSchema" xmlns:p="http://schemas.microsoft.com/office/2006/metadata/properties" xmlns:ns2="9b4f3d91-490c-48c0-8b9d-8c1d30e23c71" xmlns:ns3="6dc1145f-2d82-4836-ac1f-806e4087b940" targetNamespace="http://schemas.microsoft.com/office/2006/metadata/properties" ma:root="true" ma:fieldsID="7cb906f2d1fce7da25df757e39c22130" ns2:_="" ns3:_="">
    <xsd:import namespace="9b4f3d91-490c-48c0-8b9d-8c1d30e23c71"/>
    <xsd:import namespace="6dc1145f-2d82-4836-ac1f-806e4087b94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4f3d91-490c-48c0-8b9d-8c1d30e23c7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6137c6fb-76d8-4766-a84f-7e98b86fa9e3}" ma:internalName="TaxCatchAll" ma:showField="CatchAllData" ma:web="9b4f3d91-490c-48c0-8b9d-8c1d30e23c7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dc1145f-2d82-4836-ac1f-806e4087b94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9ac77e2-9ba5-44c9-8641-963c09a092df"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dc1145f-2d82-4836-ac1f-806e4087b940">
      <Terms xmlns="http://schemas.microsoft.com/office/infopath/2007/PartnerControls"/>
    </lcf76f155ced4ddcb4097134ff3c332f>
    <TaxCatchAll xmlns="9b4f3d91-490c-48c0-8b9d-8c1d30e23c71" xsi:nil="true"/>
  </documentManagement>
</p:properties>
</file>

<file path=customXml/itemProps1.xml><?xml version="1.0" encoding="utf-8"?>
<ds:datastoreItem xmlns:ds="http://schemas.openxmlformats.org/officeDocument/2006/customXml" ds:itemID="{FAD8A26B-02F8-4FB8-87D6-ABC002796952}"/>
</file>

<file path=customXml/itemProps2.xml><?xml version="1.0" encoding="utf-8"?>
<ds:datastoreItem xmlns:ds="http://schemas.openxmlformats.org/officeDocument/2006/customXml" ds:itemID="{A070DC62-6D50-41A3-8ABA-71BE2A1F3DB6}"/>
</file>

<file path=customXml/itemProps3.xml><?xml version="1.0" encoding="utf-8"?>
<ds:datastoreItem xmlns:ds="http://schemas.openxmlformats.org/officeDocument/2006/customXml" ds:itemID="{06431987-68A1-4D40-B02D-81A2C96E564C}"/>
</file>

<file path=docProps/app.xml><?xml version="1.0" encoding="utf-8"?>
<Properties xmlns="http://schemas.openxmlformats.org/officeDocument/2006/extended-properties" xmlns:vt="http://schemas.openxmlformats.org/officeDocument/2006/docPropsVTypes">
  <Template>STOXXPresentations2.0</Template>
  <TotalTime>0</TotalTime>
  <Words>1403</Words>
  <Application>Microsoft Office PowerPoint</Application>
  <PresentationFormat>A4 Paper (210x297 mm)</PresentationFormat>
  <Paragraphs>225</Paragraphs>
  <Slides>11</Slides>
  <Notes>5</Notes>
  <HiddenSlides>0</HiddenSlides>
  <MMClips>0</MMClips>
  <ScaleCrop>false</ScaleCrop>
  <HeadingPairs>
    <vt:vector size="4" baseType="variant">
      <vt:variant>
        <vt:lpstr>Theme</vt:lpstr>
      </vt:variant>
      <vt:variant>
        <vt:i4>3</vt:i4>
      </vt:variant>
      <vt:variant>
        <vt:lpstr>Slide Titles</vt:lpstr>
      </vt:variant>
      <vt:variant>
        <vt:i4>11</vt:i4>
      </vt:variant>
    </vt:vector>
  </HeadingPairs>
  <TitlesOfParts>
    <vt:vector size="14" baseType="lpstr">
      <vt:lpstr>STOXXEmbeddedTheme</vt:lpstr>
      <vt:lpstr>Template STOXX Presentations 2.0.</vt:lpstr>
      <vt:lpstr>STOXX_ESG_ProductSlides</vt:lpstr>
      <vt:lpstr>STOXX® GLOBAL SELECT DIVIDEND 100 INDEX </vt:lpstr>
      <vt:lpstr>Agenda</vt:lpstr>
      <vt:lpstr>Investment case</vt:lpstr>
      <vt:lpstr>Methodology: STOXX Global Select Dividend Index combines the three regional STOXX Select Dividend indices for the regions North America, Europe and Asia/Pacific</vt:lpstr>
      <vt:lpstr>Risk and return overview</vt:lpstr>
      <vt:lpstr>Index fundamental characteristics and key figures</vt:lpstr>
      <vt:lpstr>Industry and country allocation</vt:lpstr>
      <vt:lpstr>Top 10 components by weight</vt:lpstr>
      <vt:lpstr>STOXX sales contacts</vt:lpstr>
      <vt:lpstr>References</vt:lpstr>
      <vt:lpstr>Disclaimer</vt:lpstr>
    </vt:vector>
  </TitlesOfParts>
  <Company>SIX</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OXX®  XXX INDEX (ALL CAPS)</dc:title>
  <dc:creator>Granell, Antonio</dc:creator>
  <cp:lastModifiedBy>Granell, Antonio</cp:lastModifiedBy>
  <cp:revision>262</cp:revision>
  <dcterms:created xsi:type="dcterms:W3CDTF">2014-05-26T13:36:56Z</dcterms:created>
  <dcterms:modified xsi:type="dcterms:W3CDTF">2015-01-19T16:23: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9FA374B5EA294992F10F5C99299EDE</vt:lpwstr>
  </property>
</Properties>
</file>